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theme/theme7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712" r:id="rId2"/>
    <p:sldMasterId id="2147483673" r:id="rId3"/>
    <p:sldMasterId id="2147483676" r:id="rId4"/>
    <p:sldMasterId id="2147483678" r:id="rId5"/>
    <p:sldMasterId id="2147483680" r:id="rId6"/>
    <p:sldMasterId id="2147483732" r:id="rId7"/>
    <p:sldMasterId id="2147483735" r:id="rId8"/>
  </p:sldMasterIdLst>
  <p:notesMasterIdLst>
    <p:notesMasterId r:id="rId16"/>
  </p:notesMasterIdLst>
  <p:sldIdLst>
    <p:sldId id="2076137298" r:id="rId9"/>
    <p:sldId id="272" r:id="rId10"/>
    <p:sldId id="11034" r:id="rId11"/>
    <p:sldId id="11075" r:id="rId12"/>
    <p:sldId id="2076137359" r:id="rId13"/>
    <p:sldId id="2076137360" r:id="rId14"/>
    <p:sldId id="10449" r:id="rId1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B00"/>
    <a:srgbClr val="FF3154"/>
    <a:srgbClr val="4BDD33"/>
    <a:srgbClr val="FF8B1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3" autoAdjust="0"/>
    <p:restoredTop sz="80530" autoAdjust="0"/>
  </p:normalViewPr>
  <p:slideViewPr>
    <p:cSldViewPr snapToGrid="0">
      <p:cViewPr varScale="1">
        <p:scale>
          <a:sx n="68" d="100"/>
          <a:sy n="68" d="100"/>
        </p:scale>
        <p:origin x="10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nzalez Herrero, Alfredo (Nokia - MX/Naucalpan de Juarez)" userId="8598da90-6150-48bc-8252-7c29024c277e" providerId="ADAL" clId="{6A47D852-8EAF-42B0-B61A-1D2B65733DEE}"/>
    <pc:docChg chg="custSel modSld">
      <pc:chgData name="Gonzalez Herrero, Alfredo (Nokia - MX/Naucalpan de Juarez)" userId="8598da90-6150-48bc-8252-7c29024c277e" providerId="ADAL" clId="{6A47D852-8EAF-42B0-B61A-1D2B65733DEE}" dt="2021-12-08T03:31:10.149" v="8" actId="1035"/>
      <pc:docMkLst>
        <pc:docMk/>
      </pc:docMkLst>
      <pc:sldChg chg="modSp mod">
        <pc:chgData name="Gonzalez Herrero, Alfredo (Nokia - MX/Naucalpan de Juarez)" userId="8598da90-6150-48bc-8252-7c29024c277e" providerId="ADAL" clId="{6A47D852-8EAF-42B0-B61A-1D2B65733DEE}" dt="2021-12-08T03:31:10.149" v="8" actId="1035"/>
        <pc:sldMkLst>
          <pc:docMk/>
          <pc:sldMk cId="194258123" sldId="2076137298"/>
        </pc:sldMkLst>
        <pc:spChg chg="mod">
          <ac:chgData name="Gonzalez Herrero, Alfredo (Nokia - MX/Naucalpan de Juarez)" userId="8598da90-6150-48bc-8252-7c29024c277e" providerId="ADAL" clId="{6A47D852-8EAF-42B0-B61A-1D2B65733DEE}" dt="2021-12-08T03:31:10.149" v="8" actId="1035"/>
          <ac:spMkLst>
            <pc:docMk/>
            <pc:sldMk cId="194258123" sldId="2076137298"/>
            <ac:spMk id="2" creationId="{673AE4A4-F521-4B46-BB77-BDFFF6278B02}"/>
          </ac:spMkLst>
        </pc:spChg>
        <pc:spChg chg="mod">
          <ac:chgData name="Gonzalez Herrero, Alfredo (Nokia - MX/Naucalpan de Juarez)" userId="8598da90-6150-48bc-8252-7c29024c277e" providerId="ADAL" clId="{6A47D852-8EAF-42B0-B61A-1D2B65733DEE}" dt="2021-12-08T03:31:02.608" v="6" actId="27636"/>
          <ac:spMkLst>
            <pc:docMk/>
            <pc:sldMk cId="194258123" sldId="2076137298"/>
            <ac:spMk id="3" creationId="{A4E748F3-52F3-4227-86AD-9C50826A626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CA" dirty="0">
              <a:ea typeface="ヒラギノ角ゴ Pro W3" charset="0"/>
              <a:cs typeface="ヒラギノ角ゴ Pro W3" charset="0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455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455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089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231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089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_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E85245-6EF4-4401-89A5-4E7398F482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54AD9-06FB-4C15-A48D-5001BBC6FF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CB4E99-5D9B-49EB-A80D-C2366451A6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027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580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ECFD7E7-C99B-41A9-961B-7416AD80F9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baseline="0" dirty="0">
              <a:solidFill>
                <a:schemeClr val="bg1"/>
              </a:solidFill>
              <a:latin typeface="Nokia Pure Headline Light" panose="020B0304040602060303" pitchFamily="34" charset="0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  <a:cs typeface="Arial" panose="020B0604020202020204" pitchFamily="34" charset="0"/>
              </a:rPr>
              <a:t> </a:t>
            </a:r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6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745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F1F1482-0156-42AA-9A3F-B90262C698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solidFill>
                <a:schemeClr val="accent4"/>
              </a:solidFill>
              <a:latin typeface="Nokia Pure Headline Light" panose="020B0304040602060303" pitchFamily="34" charset="0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18121" y="537791"/>
            <a:ext cx="8227649" cy="301625"/>
          </a:xfrm>
        </p:spPr>
        <p:txBody>
          <a:bodyPr anchor="ctr"/>
          <a:lstStyle>
            <a:lvl1pPr marL="0" indent="0">
              <a:buFont typeface="Arial"/>
              <a:buNone/>
              <a:defRPr sz="1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910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3_Gray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799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43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Blue 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Gray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4863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 Gray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&lt;Document ID: change ID in footer or remove&gt; &lt;Change information classification in footer&gt;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1B19DBE0-DA98-4370-BC75-4FF6AC9D78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A494EDCC-F720-4299-9E85-D3B402E61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1495758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 Gray single 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2E6FA3-ED47-4E0C-B044-550E170D1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DF5019E6-43D8-47A7-857D-CBBEC50194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6037230C-3393-4624-AAC9-5A1E3FB39E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3074ACA-19C4-4FAB-AA2B-29AAD04B90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4149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 Gray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47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16920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B111BD-0274-4B45-A94F-46DB7963AD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&lt;Document ID: change ID in footer or remove&gt; &lt;Change information classification in footer&gt;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FF5186-6F03-4D1A-BFE8-BB656F03098E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7D629F-D3F7-4D27-AED1-FF2BF68EA92C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05B2DF-7C0E-4C26-8DA0-D8B536006B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384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 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6429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 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8576049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 Blue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7625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 Blue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159A76-98DF-40D7-AAA6-3C6EFC62A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bg1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749A47C-F045-4720-B44F-ABE91F832C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0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bg1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42">
            <a:extLst>
              <a:ext uri="{FF2B5EF4-FFF2-40B4-BE49-F238E27FC236}">
                <a16:creationId xmlns:a16="http://schemas.microsoft.com/office/drawing/2014/main" id="{84798BF3-AC17-43DB-9543-A1154429A1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1" name="Text Placeholder 42">
            <a:extLst>
              <a:ext uri="{FF2B5EF4-FFF2-40B4-BE49-F238E27FC236}">
                <a16:creationId xmlns:a16="http://schemas.microsoft.com/office/drawing/2014/main" id="{A3E6F846-F43A-474F-AF8A-489219A597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101574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 Blu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DE51B3D-110F-4884-81C0-0C6A2D17A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48031C6-8898-401E-BAC3-BF0FF9C780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5539244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Blu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9272C944-84CC-4AB8-82D5-9695E2FD53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050D1CE3-F30D-40A8-93F6-C618AFBE27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074841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842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159A76-98DF-40D7-AAA6-3C6EFC62A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+mn-lt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749A47C-F045-4720-B44F-ABE91F832C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0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+mn-lt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42">
            <a:extLst>
              <a:ext uri="{FF2B5EF4-FFF2-40B4-BE49-F238E27FC236}">
                <a16:creationId xmlns:a16="http://schemas.microsoft.com/office/drawing/2014/main" id="{84798BF3-AC17-43DB-9543-A1154429A1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1" name="Text Placeholder 42">
            <a:extLst>
              <a:ext uri="{FF2B5EF4-FFF2-40B4-BE49-F238E27FC236}">
                <a16:creationId xmlns:a16="http://schemas.microsoft.com/office/drawing/2014/main" id="{A3E6F846-F43A-474F-AF8A-489219A597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388695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DE51B3D-110F-4884-81C0-0C6A2D17A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48031C6-8898-401E-BAC3-BF0FF9C780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126415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9272C944-84CC-4AB8-82D5-9695E2FD53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050D1CE3-F30D-40A8-93F6-C618AFBE27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223460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7036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White IN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502" y="3060000"/>
            <a:ext cx="8291898" cy="1576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41332EC-6B80-4828-AE81-B63F414EEB6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A079B4-2296-4AF6-9A4A-00A11E57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67C7B23A-628E-4222-8747-0355D7919A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899998"/>
            <a:ext cx="8308800" cy="198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5400" kern="1200" baseline="0" dirty="0" smtClean="0">
                <a:solidFill>
                  <a:schemeClr val="tx1"/>
                </a:solidFill>
                <a:latin typeface="Nokia Pure Headline Ultra Light" panose="020B0204020202020204" pitchFamily="34" charset="0"/>
                <a:ea typeface="+mn-ea"/>
                <a:cs typeface="+mn-cs"/>
              </a:defRPr>
            </a:lvl1pPr>
          </a:lstStyle>
          <a:p>
            <a:r>
              <a:rPr lang="en-GB" dirty="0"/>
              <a:t>What is the key message, idea or takeaway</a:t>
            </a:r>
          </a:p>
        </p:txBody>
      </p:sp>
    </p:spTree>
    <p:extLst>
      <p:ext uri="{BB962C8B-B14F-4D97-AF65-F5344CB8AC3E}">
        <p14:creationId xmlns:p14="http://schemas.microsoft.com/office/powerpoint/2010/main" val="1486873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Blue EXTERNAL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54AD9-06FB-4C15-A48D-5001BBC6FF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DDC49-8DAE-42EA-847C-6ED7E3A1DD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D74C045-B71C-49BC-BDF9-715E2529C9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502" y="3060000"/>
            <a:ext cx="8291898" cy="1576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81C46984-1EDE-42C1-9FE5-08AC8EEB0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899998"/>
            <a:ext cx="8308800" cy="198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5400" kern="1200" baseline="0" dirty="0" smtClean="0">
                <a:solidFill>
                  <a:schemeClr val="bg1"/>
                </a:solidFill>
                <a:latin typeface="Nokia Pure Headline Ultra Light" panose="020B0204020202020204" pitchFamily="34" charset="0"/>
                <a:ea typeface="+mn-ea"/>
                <a:cs typeface="+mn-cs"/>
              </a:defRPr>
            </a:lvl1pPr>
          </a:lstStyle>
          <a:p>
            <a:r>
              <a:rPr lang="en-GB" dirty="0"/>
              <a:t>What is the key message, idea or takeaway</a:t>
            </a:r>
          </a:p>
        </p:txBody>
      </p:sp>
    </p:spTree>
    <p:extLst>
      <p:ext uri="{BB962C8B-B14F-4D97-AF65-F5344CB8AC3E}">
        <p14:creationId xmlns:p14="http://schemas.microsoft.com/office/powerpoint/2010/main" val="578186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26" r:id="rId2"/>
    <p:sldLayoutId id="2147483730" r:id="rId3"/>
    <p:sldLayoutId id="2147483727" r:id="rId4"/>
    <p:sldLayoutId id="2147483664" r:id="rId5"/>
    <p:sldLayoutId id="2147483665" r:id="rId6"/>
    <p:sldLayoutId id="2147483742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AC1947E-906A-46AD-9413-1921F00F19AB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CA059-29E1-450A-A218-D27AB73F8070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0" name="Footer Placeholder 14">
            <a:extLst>
              <a:ext uri="{FF2B5EF4-FFF2-40B4-BE49-F238E27FC236}">
                <a16:creationId xmlns:a16="http://schemas.microsoft.com/office/drawing/2014/main" id="{80DAFA2C-A5B7-47BD-9867-3032BEE127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73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EA08E70-E40A-4C76-ADD7-CA63C9574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52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45" r:id="rId2"/>
    <p:sldLayoutId id="2147483747" r:id="rId3"/>
    <p:sldLayoutId id="2147483748" r:id="rId4"/>
    <p:sldLayoutId id="2147483749" r:id="rId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76398D-C6B9-4EAD-A887-41ECEA7F30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180" y="2031750"/>
            <a:ext cx="256564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16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C1C3A2-73EF-4E4E-97C2-1C446243E8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180" y="2031750"/>
            <a:ext cx="256564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8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E74C75-1C44-4A6F-9F21-72B5E3ACC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38F1B2-3B70-46D3-B6FC-0199A17FB7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8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29" r:id="rId2"/>
    <p:sldLayoutId id="2147483682" r:id="rId3"/>
    <p:sldLayoutId id="2147483684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E74C75-1C44-4A6F-9F21-72B5E3ACC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38F1B2-3B70-46D3-B6FC-0199A17FB7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844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94E613-9F09-4BCA-8FA1-3CEB91BF55D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318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761B9A-6899-4DD4-BD29-C3A34F3814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3AE4A4-F521-4B46-BB77-BDFFF6278B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00" y="881146"/>
            <a:ext cx="8359200" cy="1980000"/>
          </a:xfrm>
        </p:spPr>
        <p:txBody>
          <a:bodyPr/>
          <a:lstStyle/>
          <a:p>
            <a:r>
              <a:rPr lang="en-US" sz="5400" dirty="0"/>
              <a:t>Train to Ground broadband communications for urban rail and metr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E748F3-52F3-4227-86AD-9C50826A62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205112"/>
            <a:ext cx="8308800" cy="1431687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en-US" sz="2600" dirty="0"/>
              <a:t>Sustainable Urban Transport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r>
              <a:rPr lang="en-US" dirty="0">
                <a:solidFill>
                  <a:schemeClr val="bg1"/>
                </a:solidFill>
              </a:rPr>
              <a:t>alfredo.gonzalez_herrero@nokia.co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Transportation Latin America Head of Sales</a:t>
            </a:r>
          </a:p>
          <a:p>
            <a:pPr lvl="0"/>
            <a:r>
              <a:rPr lang="en-US" dirty="0"/>
              <a:t>Lima, December 9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10639E-2F45-CC4B-836C-712D4D09FA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BABD1F8-51C4-C348-A258-2C66060FB432}"/>
              </a:ext>
            </a:extLst>
          </p:cNvPr>
          <p:cNvSpPr txBox="1"/>
          <p:nvPr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E2C1412-17EA-944A-91BB-5CECD5070F78}"/>
              </a:ext>
            </a:extLst>
          </p:cNvPr>
          <p:cNvSpPr txBox="1">
            <a:spLocks/>
          </p:cNvSpPr>
          <p:nvPr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45D3D-131A-47D1-B100-B33219007AD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58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EEF949-55E4-4B28-B042-26A30C60B9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Key challenges for urban railway operators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615F2C-6A53-416A-8E34-FDECDB039C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abling safe, on-time and connected journeys</a:t>
            </a:r>
            <a:endParaRPr lang="en-IN" dirty="0"/>
          </a:p>
        </p:txBody>
      </p:sp>
      <p:sp>
        <p:nvSpPr>
          <p:cNvPr id="9" name="Freeform 81">
            <a:extLst>
              <a:ext uri="{FF2B5EF4-FFF2-40B4-BE49-F238E27FC236}">
                <a16:creationId xmlns:a16="http://schemas.microsoft.com/office/drawing/2014/main" id="{27418A8D-F1F6-40E4-A15C-B04C08B77265}"/>
              </a:ext>
            </a:extLst>
          </p:cNvPr>
          <p:cNvSpPr>
            <a:spLocks/>
          </p:cNvSpPr>
          <p:nvPr/>
        </p:nvSpPr>
        <p:spPr bwMode="auto">
          <a:xfrm>
            <a:off x="4029604" y="2497780"/>
            <a:ext cx="849801" cy="1493794"/>
          </a:xfrm>
          <a:custGeom>
            <a:avLst/>
            <a:gdLst>
              <a:gd name="T0" fmla="*/ 384 w 384"/>
              <a:gd name="T1" fmla="*/ 0 h 675"/>
              <a:gd name="T2" fmla="*/ 301 w 384"/>
              <a:gd name="T3" fmla="*/ 273 h 675"/>
              <a:gd name="T4" fmla="*/ 200 w 384"/>
              <a:gd name="T5" fmla="*/ 667 h 675"/>
              <a:gd name="T6" fmla="*/ 91 w 384"/>
              <a:gd name="T7" fmla="*/ 359 h 675"/>
              <a:gd name="T8" fmla="*/ 0 w 384"/>
              <a:gd name="T9" fmla="*/ 17 h 675"/>
              <a:gd name="T10" fmla="*/ 0 w 384"/>
              <a:gd name="T11" fmla="*/ 17 h 675"/>
              <a:gd name="T12" fmla="*/ 88 w 384"/>
              <a:gd name="T13" fmla="*/ 359 h 675"/>
              <a:gd name="T14" fmla="*/ 200 w 384"/>
              <a:gd name="T15" fmla="*/ 675 h 675"/>
              <a:gd name="T16" fmla="*/ 303 w 384"/>
              <a:gd name="T17" fmla="*/ 273 h 675"/>
              <a:gd name="T18" fmla="*/ 384 w 384"/>
              <a:gd name="T19" fmla="*/ 2 h 675"/>
              <a:gd name="T20" fmla="*/ 384 w 384"/>
              <a:gd name="T21" fmla="*/ 0 h 675"/>
              <a:gd name="T22" fmla="*/ 384 w 384"/>
              <a:gd name="T23" fmla="*/ 0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" h="675">
                <a:moveTo>
                  <a:pt x="384" y="0"/>
                </a:moveTo>
                <a:lnTo>
                  <a:pt x="301" y="273"/>
                </a:lnTo>
                <a:lnTo>
                  <a:pt x="200" y="667"/>
                </a:lnTo>
                <a:lnTo>
                  <a:pt x="91" y="359"/>
                </a:lnTo>
                <a:lnTo>
                  <a:pt x="0" y="17"/>
                </a:lnTo>
                <a:lnTo>
                  <a:pt x="0" y="17"/>
                </a:lnTo>
                <a:lnTo>
                  <a:pt x="88" y="359"/>
                </a:lnTo>
                <a:lnTo>
                  <a:pt x="200" y="675"/>
                </a:lnTo>
                <a:lnTo>
                  <a:pt x="303" y="273"/>
                </a:lnTo>
                <a:lnTo>
                  <a:pt x="384" y="2"/>
                </a:lnTo>
                <a:lnTo>
                  <a:pt x="384" y="0"/>
                </a:lnTo>
                <a:lnTo>
                  <a:pt x="384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" name="Freeform 82">
            <a:extLst>
              <a:ext uri="{FF2B5EF4-FFF2-40B4-BE49-F238E27FC236}">
                <a16:creationId xmlns:a16="http://schemas.microsoft.com/office/drawing/2014/main" id="{EFF25F61-05E5-4F6C-A8F8-FE97CBEDC0DE}"/>
              </a:ext>
            </a:extLst>
          </p:cNvPr>
          <p:cNvSpPr>
            <a:spLocks/>
          </p:cNvSpPr>
          <p:nvPr/>
        </p:nvSpPr>
        <p:spPr bwMode="auto">
          <a:xfrm>
            <a:off x="4454504" y="2714657"/>
            <a:ext cx="33196" cy="1192822"/>
          </a:xfrm>
          <a:custGeom>
            <a:avLst/>
            <a:gdLst>
              <a:gd name="T0" fmla="*/ 0 w 15"/>
              <a:gd name="T1" fmla="*/ 0 h 539"/>
              <a:gd name="T2" fmla="*/ 13 w 15"/>
              <a:gd name="T3" fmla="*/ 539 h 539"/>
              <a:gd name="T4" fmla="*/ 15 w 15"/>
              <a:gd name="T5" fmla="*/ 539 h 539"/>
              <a:gd name="T6" fmla="*/ 2 w 15"/>
              <a:gd name="T7" fmla="*/ 0 h 539"/>
              <a:gd name="T8" fmla="*/ 0 w 15"/>
              <a:gd name="T9" fmla="*/ 0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539">
                <a:moveTo>
                  <a:pt x="0" y="0"/>
                </a:moveTo>
                <a:lnTo>
                  <a:pt x="13" y="539"/>
                </a:lnTo>
                <a:lnTo>
                  <a:pt x="15" y="539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" name="Freeform 83">
            <a:extLst>
              <a:ext uri="{FF2B5EF4-FFF2-40B4-BE49-F238E27FC236}">
                <a16:creationId xmlns:a16="http://schemas.microsoft.com/office/drawing/2014/main" id="{EB936B39-3BEE-4937-981A-C3BB2611898B}"/>
              </a:ext>
            </a:extLst>
          </p:cNvPr>
          <p:cNvSpPr>
            <a:spLocks/>
          </p:cNvSpPr>
          <p:nvPr/>
        </p:nvSpPr>
        <p:spPr bwMode="auto">
          <a:xfrm>
            <a:off x="4454504" y="2714657"/>
            <a:ext cx="33196" cy="1192822"/>
          </a:xfrm>
          <a:custGeom>
            <a:avLst/>
            <a:gdLst>
              <a:gd name="T0" fmla="*/ 0 w 15"/>
              <a:gd name="T1" fmla="*/ 0 h 539"/>
              <a:gd name="T2" fmla="*/ 13 w 15"/>
              <a:gd name="T3" fmla="*/ 539 h 539"/>
              <a:gd name="T4" fmla="*/ 15 w 15"/>
              <a:gd name="T5" fmla="*/ 539 h 539"/>
              <a:gd name="T6" fmla="*/ 2 w 15"/>
              <a:gd name="T7" fmla="*/ 0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" h="539">
                <a:moveTo>
                  <a:pt x="0" y="0"/>
                </a:moveTo>
                <a:lnTo>
                  <a:pt x="13" y="539"/>
                </a:lnTo>
                <a:lnTo>
                  <a:pt x="15" y="539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" name="Freeform 84">
            <a:extLst>
              <a:ext uri="{FF2B5EF4-FFF2-40B4-BE49-F238E27FC236}">
                <a16:creationId xmlns:a16="http://schemas.microsoft.com/office/drawing/2014/main" id="{EFD85A43-86C1-417D-B41A-396ECDBC744D}"/>
              </a:ext>
            </a:extLst>
          </p:cNvPr>
          <p:cNvSpPr>
            <a:spLocks/>
          </p:cNvSpPr>
          <p:nvPr/>
        </p:nvSpPr>
        <p:spPr bwMode="auto">
          <a:xfrm>
            <a:off x="4695724" y="2630562"/>
            <a:ext cx="967092" cy="650630"/>
          </a:xfrm>
          <a:custGeom>
            <a:avLst/>
            <a:gdLst>
              <a:gd name="T0" fmla="*/ 435 w 437"/>
              <a:gd name="T1" fmla="*/ 0 h 294"/>
              <a:gd name="T2" fmla="*/ 298 w 437"/>
              <a:gd name="T3" fmla="*/ 291 h 294"/>
              <a:gd name="T4" fmla="*/ 0 w 437"/>
              <a:gd name="T5" fmla="*/ 213 h 294"/>
              <a:gd name="T6" fmla="*/ 0 w 437"/>
              <a:gd name="T7" fmla="*/ 215 h 294"/>
              <a:gd name="T8" fmla="*/ 301 w 437"/>
              <a:gd name="T9" fmla="*/ 294 h 294"/>
              <a:gd name="T10" fmla="*/ 437 w 437"/>
              <a:gd name="T11" fmla="*/ 3 h 294"/>
              <a:gd name="T12" fmla="*/ 435 w 437"/>
              <a:gd name="T13" fmla="*/ 0 h 294"/>
              <a:gd name="T14" fmla="*/ 435 w 437"/>
              <a:gd name="T15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7" h="294">
                <a:moveTo>
                  <a:pt x="435" y="0"/>
                </a:moveTo>
                <a:lnTo>
                  <a:pt x="298" y="291"/>
                </a:lnTo>
                <a:lnTo>
                  <a:pt x="0" y="213"/>
                </a:lnTo>
                <a:lnTo>
                  <a:pt x="0" y="215"/>
                </a:lnTo>
                <a:lnTo>
                  <a:pt x="301" y="294"/>
                </a:lnTo>
                <a:lnTo>
                  <a:pt x="437" y="3"/>
                </a:lnTo>
                <a:lnTo>
                  <a:pt x="435" y="0"/>
                </a:lnTo>
                <a:lnTo>
                  <a:pt x="435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3" name="Freeform 85">
            <a:extLst>
              <a:ext uri="{FF2B5EF4-FFF2-40B4-BE49-F238E27FC236}">
                <a16:creationId xmlns:a16="http://schemas.microsoft.com/office/drawing/2014/main" id="{A1F5C0EA-47B5-46AA-BBA1-A1ABF154E14E}"/>
              </a:ext>
            </a:extLst>
          </p:cNvPr>
          <p:cNvSpPr>
            <a:spLocks/>
          </p:cNvSpPr>
          <p:nvPr/>
        </p:nvSpPr>
        <p:spPr bwMode="auto">
          <a:xfrm>
            <a:off x="1712569" y="2497780"/>
            <a:ext cx="5714026" cy="1476090"/>
          </a:xfrm>
          <a:custGeom>
            <a:avLst/>
            <a:gdLst>
              <a:gd name="T0" fmla="*/ 526 w 2582"/>
              <a:gd name="T1" fmla="*/ 480 h 667"/>
              <a:gd name="T2" fmla="*/ 794 w 2582"/>
              <a:gd name="T3" fmla="*/ 387 h 667"/>
              <a:gd name="T4" fmla="*/ 1138 w 2582"/>
              <a:gd name="T5" fmla="*/ 361 h 667"/>
              <a:gd name="T6" fmla="*/ 1348 w 2582"/>
              <a:gd name="T7" fmla="*/ 275 h 667"/>
              <a:gd name="T8" fmla="*/ 1646 w 2582"/>
              <a:gd name="T9" fmla="*/ 356 h 667"/>
              <a:gd name="T10" fmla="*/ 1838 w 2582"/>
              <a:gd name="T11" fmla="*/ 495 h 667"/>
              <a:gd name="T12" fmla="*/ 2018 w 2582"/>
              <a:gd name="T13" fmla="*/ 523 h 667"/>
              <a:gd name="T14" fmla="*/ 2364 w 2582"/>
              <a:gd name="T15" fmla="*/ 622 h 667"/>
              <a:gd name="T16" fmla="*/ 2498 w 2582"/>
              <a:gd name="T17" fmla="*/ 417 h 667"/>
              <a:gd name="T18" fmla="*/ 2301 w 2582"/>
              <a:gd name="T19" fmla="*/ 273 h 667"/>
              <a:gd name="T20" fmla="*/ 2035 w 2582"/>
              <a:gd name="T21" fmla="*/ 111 h 667"/>
              <a:gd name="T22" fmla="*/ 1785 w 2582"/>
              <a:gd name="T23" fmla="*/ 60 h 667"/>
              <a:gd name="T24" fmla="*/ 1431 w 2582"/>
              <a:gd name="T25" fmla="*/ 0 h 667"/>
              <a:gd name="T26" fmla="*/ 1047 w 2582"/>
              <a:gd name="T27" fmla="*/ 15 h 667"/>
              <a:gd name="T28" fmla="*/ 705 w 2582"/>
              <a:gd name="T29" fmla="*/ 45 h 667"/>
              <a:gd name="T30" fmla="*/ 397 w 2582"/>
              <a:gd name="T31" fmla="*/ 174 h 667"/>
              <a:gd name="T32" fmla="*/ 136 w 2582"/>
              <a:gd name="T33" fmla="*/ 318 h 667"/>
              <a:gd name="T34" fmla="*/ 2 w 2582"/>
              <a:gd name="T35" fmla="*/ 619 h 667"/>
              <a:gd name="T36" fmla="*/ 329 w 2582"/>
              <a:gd name="T37" fmla="*/ 409 h 667"/>
              <a:gd name="T38" fmla="*/ 604 w 2582"/>
              <a:gd name="T39" fmla="*/ 253 h 667"/>
              <a:gd name="T40" fmla="*/ 923 w 2582"/>
              <a:gd name="T41" fmla="*/ 174 h 667"/>
              <a:gd name="T42" fmla="*/ 1239 w 2582"/>
              <a:gd name="T43" fmla="*/ 101 h 667"/>
              <a:gd name="T44" fmla="*/ 1540 w 2582"/>
              <a:gd name="T45" fmla="*/ 141 h 667"/>
              <a:gd name="T46" fmla="*/ 1831 w 2582"/>
              <a:gd name="T47" fmla="*/ 258 h 667"/>
              <a:gd name="T48" fmla="*/ 2099 w 2582"/>
              <a:gd name="T49" fmla="*/ 270 h 667"/>
              <a:gd name="T50" fmla="*/ 2324 w 2582"/>
              <a:gd name="T51" fmla="*/ 437 h 667"/>
              <a:gd name="T52" fmla="*/ 2579 w 2582"/>
              <a:gd name="T53" fmla="*/ 665 h 667"/>
              <a:gd name="T54" fmla="*/ 2326 w 2582"/>
              <a:gd name="T55" fmla="*/ 435 h 667"/>
              <a:gd name="T56" fmla="*/ 2101 w 2582"/>
              <a:gd name="T57" fmla="*/ 265 h 667"/>
              <a:gd name="T58" fmla="*/ 1833 w 2582"/>
              <a:gd name="T59" fmla="*/ 253 h 667"/>
              <a:gd name="T60" fmla="*/ 1542 w 2582"/>
              <a:gd name="T61" fmla="*/ 139 h 667"/>
              <a:gd name="T62" fmla="*/ 1239 w 2582"/>
              <a:gd name="T63" fmla="*/ 96 h 667"/>
              <a:gd name="T64" fmla="*/ 923 w 2582"/>
              <a:gd name="T65" fmla="*/ 169 h 667"/>
              <a:gd name="T66" fmla="*/ 604 w 2582"/>
              <a:gd name="T67" fmla="*/ 250 h 667"/>
              <a:gd name="T68" fmla="*/ 399 w 2582"/>
              <a:gd name="T69" fmla="*/ 174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82" h="667">
                <a:moveTo>
                  <a:pt x="397" y="177"/>
                </a:moveTo>
                <a:lnTo>
                  <a:pt x="526" y="480"/>
                </a:lnTo>
                <a:lnTo>
                  <a:pt x="604" y="253"/>
                </a:lnTo>
                <a:lnTo>
                  <a:pt x="794" y="387"/>
                </a:lnTo>
                <a:lnTo>
                  <a:pt x="923" y="174"/>
                </a:lnTo>
                <a:lnTo>
                  <a:pt x="1138" y="361"/>
                </a:lnTo>
                <a:lnTo>
                  <a:pt x="1239" y="101"/>
                </a:lnTo>
                <a:lnTo>
                  <a:pt x="1348" y="275"/>
                </a:lnTo>
                <a:lnTo>
                  <a:pt x="1540" y="141"/>
                </a:lnTo>
                <a:lnTo>
                  <a:pt x="1646" y="356"/>
                </a:lnTo>
                <a:lnTo>
                  <a:pt x="1831" y="258"/>
                </a:lnTo>
                <a:lnTo>
                  <a:pt x="1838" y="495"/>
                </a:lnTo>
                <a:lnTo>
                  <a:pt x="2099" y="273"/>
                </a:lnTo>
                <a:lnTo>
                  <a:pt x="2018" y="523"/>
                </a:lnTo>
                <a:lnTo>
                  <a:pt x="2324" y="440"/>
                </a:lnTo>
                <a:lnTo>
                  <a:pt x="2364" y="622"/>
                </a:lnTo>
                <a:lnTo>
                  <a:pt x="2582" y="667"/>
                </a:lnTo>
                <a:lnTo>
                  <a:pt x="2498" y="417"/>
                </a:lnTo>
                <a:lnTo>
                  <a:pt x="2326" y="437"/>
                </a:lnTo>
                <a:lnTo>
                  <a:pt x="2301" y="273"/>
                </a:lnTo>
                <a:lnTo>
                  <a:pt x="2101" y="268"/>
                </a:lnTo>
                <a:lnTo>
                  <a:pt x="2035" y="111"/>
                </a:lnTo>
                <a:lnTo>
                  <a:pt x="1833" y="253"/>
                </a:lnTo>
                <a:lnTo>
                  <a:pt x="1785" y="60"/>
                </a:lnTo>
                <a:lnTo>
                  <a:pt x="1542" y="139"/>
                </a:lnTo>
                <a:lnTo>
                  <a:pt x="1431" y="0"/>
                </a:lnTo>
                <a:lnTo>
                  <a:pt x="1239" y="98"/>
                </a:lnTo>
                <a:lnTo>
                  <a:pt x="1047" y="15"/>
                </a:lnTo>
                <a:lnTo>
                  <a:pt x="923" y="172"/>
                </a:lnTo>
                <a:lnTo>
                  <a:pt x="705" y="45"/>
                </a:lnTo>
                <a:lnTo>
                  <a:pt x="604" y="250"/>
                </a:lnTo>
                <a:lnTo>
                  <a:pt x="397" y="174"/>
                </a:lnTo>
                <a:lnTo>
                  <a:pt x="326" y="407"/>
                </a:lnTo>
                <a:lnTo>
                  <a:pt x="136" y="318"/>
                </a:lnTo>
                <a:lnTo>
                  <a:pt x="0" y="617"/>
                </a:lnTo>
                <a:lnTo>
                  <a:pt x="2" y="619"/>
                </a:lnTo>
                <a:lnTo>
                  <a:pt x="136" y="321"/>
                </a:lnTo>
                <a:lnTo>
                  <a:pt x="329" y="409"/>
                </a:lnTo>
                <a:lnTo>
                  <a:pt x="399" y="177"/>
                </a:lnTo>
                <a:lnTo>
                  <a:pt x="604" y="253"/>
                </a:lnTo>
                <a:lnTo>
                  <a:pt x="708" y="50"/>
                </a:lnTo>
                <a:lnTo>
                  <a:pt x="923" y="174"/>
                </a:lnTo>
                <a:lnTo>
                  <a:pt x="1047" y="17"/>
                </a:lnTo>
                <a:lnTo>
                  <a:pt x="1239" y="101"/>
                </a:lnTo>
                <a:lnTo>
                  <a:pt x="1431" y="2"/>
                </a:lnTo>
                <a:lnTo>
                  <a:pt x="1540" y="141"/>
                </a:lnTo>
                <a:lnTo>
                  <a:pt x="1783" y="63"/>
                </a:lnTo>
                <a:lnTo>
                  <a:pt x="1831" y="258"/>
                </a:lnTo>
                <a:lnTo>
                  <a:pt x="2033" y="116"/>
                </a:lnTo>
                <a:lnTo>
                  <a:pt x="2099" y="270"/>
                </a:lnTo>
                <a:lnTo>
                  <a:pt x="2298" y="275"/>
                </a:lnTo>
                <a:lnTo>
                  <a:pt x="2324" y="437"/>
                </a:lnTo>
                <a:lnTo>
                  <a:pt x="2496" y="417"/>
                </a:lnTo>
                <a:lnTo>
                  <a:pt x="2579" y="665"/>
                </a:lnTo>
                <a:lnTo>
                  <a:pt x="2367" y="619"/>
                </a:lnTo>
                <a:lnTo>
                  <a:pt x="2326" y="435"/>
                </a:lnTo>
                <a:lnTo>
                  <a:pt x="2023" y="518"/>
                </a:lnTo>
                <a:lnTo>
                  <a:pt x="2101" y="265"/>
                </a:lnTo>
                <a:lnTo>
                  <a:pt x="1841" y="490"/>
                </a:lnTo>
                <a:lnTo>
                  <a:pt x="1833" y="253"/>
                </a:lnTo>
                <a:lnTo>
                  <a:pt x="1649" y="351"/>
                </a:lnTo>
                <a:lnTo>
                  <a:pt x="1542" y="139"/>
                </a:lnTo>
                <a:lnTo>
                  <a:pt x="1348" y="270"/>
                </a:lnTo>
                <a:lnTo>
                  <a:pt x="1239" y="96"/>
                </a:lnTo>
                <a:lnTo>
                  <a:pt x="1135" y="356"/>
                </a:lnTo>
                <a:lnTo>
                  <a:pt x="923" y="169"/>
                </a:lnTo>
                <a:lnTo>
                  <a:pt x="791" y="384"/>
                </a:lnTo>
                <a:lnTo>
                  <a:pt x="604" y="250"/>
                </a:lnTo>
                <a:lnTo>
                  <a:pt x="526" y="473"/>
                </a:lnTo>
                <a:lnTo>
                  <a:pt x="399" y="174"/>
                </a:lnTo>
                <a:lnTo>
                  <a:pt x="397" y="177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4" name="Freeform 86">
            <a:extLst>
              <a:ext uri="{FF2B5EF4-FFF2-40B4-BE49-F238E27FC236}">
                <a16:creationId xmlns:a16="http://schemas.microsoft.com/office/drawing/2014/main" id="{135BB8EA-DD1F-426A-91C2-CCF811AD1475}"/>
              </a:ext>
            </a:extLst>
          </p:cNvPr>
          <p:cNvSpPr>
            <a:spLocks/>
          </p:cNvSpPr>
          <p:nvPr/>
        </p:nvSpPr>
        <p:spPr bwMode="auto">
          <a:xfrm>
            <a:off x="1712569" y="2497780"/>
            <a:ext cx="5714026" cy="1476090"/>
          </a:xfrm>
          <a:custGeom>
            <a:avLst/>
            <a:gdLst>
              <a:gd name="T0" fmla="*/ 526 w 2582"/>
              <a:gd name="T1" fmla="*/ 480 h 667"/>
              <a:gd name="T2" fmla="*/ 794 w 2582"/>
              <a:gd name="T3" fmla="*/ 387 h 667"/>
              <a:gd name="T4" fmla="*/ 1138 w 2582"/>
              <a:gd name="T5" fmla="*/ 361 h 667"/>
              <a:gd name="T6" fmla="*/ 1348 w 2582"/>
              <a:gd name="T7" fmla="*/ 275 h 667"/>
              <a:gd name="T8" fmla="*/ 1646 w 2582"/>
              <a:gd name="T9" fmla="*/ 356 h 667"/>
              <a:gd name="T10" fmla="*/ 1838 w 2582"/>
              <a:gd name="T11" fmla="*/ 495 h 667"/>
              <a:gd name="T12" fmla="*/ 2018 w 2582"/>
              <a:gd name="T13" fmla="*/ 523 h 667"/>
              <a:gd name="T14" fmla="*/ 2364 w 2582"/>
              <a:gd name="T15" fmla="*/ 622 h 667"/>
              <a:gd name="T16" fmla="*/ 2498 w 2582"/>
              <a:gd name="T17" fmla="*/ 417 h 667"/>
              <a:gd name="T18" fmla="*/ 2301 w 2582"/>
              <a:gd name="T19" fmla="*/ 273 h 667"/>
              <a:gd name="T20" fmla="*/ 2035 w 2582"/>
              <a:gd name="T21" fmla="*/ 111 h 667"/>
              <a:gd name="T22" fmla="*/ 1785 w 2582"/>
              <a:gd name="T23" fmla="*/ 60 h 667"/>
              <a:gd name="T24" fmla="*/ 1431 w 2582"/>
              <a:gd name="T25" fmla="*/ 0 h 667"/>
              <a:gd name="T26" fmla="*/ 1047 w 2582"/>
              <a:gd name="T27" fmla="*/ 15 h 667"/>
              <a:gd name="T28" fmla="*/ 705 w 2582"/>
              <a:gd name="T29" fmla="*/ 45 h 667"/>
              <a:gd name="T30" fmla="*/ 397 w 2582"/>
              <a:gd name="T31" fmla="*/ 174 h 667"/>
              <a:gd name="T32" fmla="*/ 136 w 2582"/>
              <a:gd name="T33" fmla="*/ 318 h 667"/>
              <a:gd name="T34" fmla="*/ 2 w 2582"/>
              <a:gd name="T35" fmla="*/ 619 h 667"/>
              <a:gd name="T36" fmla="*/ 329 w 2582"/>
              <a:gd name="T37" fmla="*/ 409 h 667"/>
              <a:gd name="T38" fmla="*/ 604 w 2582"/>
              <a:gd name="T39" fmla="*/ 253 h 667"/>
              <a:gd name="T40" fmla="*/ 923 w 2582"/>
              <a:gd name="T41" fmla="*/ 174 h 667"/>
              <a:gd name="T42" fmla="*/ 1239 w 2582"/>
              <a:gd name="T43" fmla="*/ 101 h 667"/>
              <a:gd name="T44" fmla="*/ 1540 w 2582"/>
              <a:gd name="T45" fmla="*/ 141 h 667"/>
              <a:gd name="T46" fmla="*/ 1831 w 2582"/>
              <a:gd name="T47" fmla="*/ 258 h 667"/>
              <a:gd name="T48" fmla="*/ 2099 w 2582"/>
              <a:gd name="T49" fmla="*/ 270 h 667"/>
              <a:gd name="T50" fmla="*/ 2324 w 2582"/>
              <a:gd name="T51" fmla="*/ 437 h 667"/>
              <a:gd name="T52" fmla="*/ 2579 w 2582"/>
              <a:gd name="T53" fmla="*/ 665 h 667"/>
              <a:gd name="T54" fmla="*/ 2326 w 2582"/>
              <a:gd name="T55" fmla="*/ 435 h 667"/>
              <a:gd name="T56" fmla="*/ 2101 w 2582"/>
              <a:gd name="T57" fmla="*/ 265 h 667"/>
              <a:gd name="T58" fmla="*/ 1833 w 2582"/>
              <a:gd name="T59" fmla="*/ 253 h 667"/>
              <a:gd name="T60" fmla="*/ 1542 w 2582"/>
              <a:gd name="T61" fmla="*/ 139 h 667"/>
              <a:gd name="T62" fmla="*/ 1239 w 2582"/>
              <a:gd name="T63" fmla="*/ 96 h 667"/>
              <a:gd name="T64" fmla="*/ 923 w 2582"/>
              <a:gd name="T65" fmla="*/ 169 h 667"/>
              <a:gd name="T66" fmla="*/ 604 w 2582"/>
              <a:gd name="T67" fmla="*/ 250 h 667"/>
              <a:gd name="T68" fmla="*/ 399 w 2582"/>
              <a:gd name="T69" fmla="*/ 174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82" h="667">
                <a:moveTo>
                  <a:pt x="397" y="177"/>
                </a:moveTo>
                <a:lnTo>
                  <a:pt x="526" y="480"/>
                </a:lnTo>
                <a:lnTo>
                  <a:pt x="604" y="253"/>
                </a:lnTo>
                <a:lnTo>
                  <a:pt x="794" y="387"/>
                </a:lnTo>
                <a:lnTo>
                  <a:pt x="923" y="174"/>
                </a:lnTo>
                <a:lnTo>
                  <a:pt x="1138" y="361"/>
                </a:lnTo>
                <a:lnTo>
                  <a:pt x="1239" y="101"/>
                </a:lnTo>
                <a:lnTo>
                  <a:pt x="1348" y="275"/>
                </a:lnTo>
                <a:lnTo>
                  <a:pt x="1540" y="141"/>
                </a:lnTo>
                <a:lnTo>
                  <a:pt x="1646" y="356"/>
                </a:lnTo>
                <a:lnTo>
                  <a:pt x="1831" y="258"/>
                </a:lnTo>
                <a:lnTo>
                  <a:pt x="1838" y="495"/>
                </a:lnTo>
                <a:lnTo>
                  <a:pt x="2099" y="273"/>
                </a:lnTo>
                <a:lnTo>
                  <a:pt x="2018" y="523"/>
                </a:lnTo>
                <a:lnTo>
                  <a:pt x="2324" y="440"/>
                </a:lnTo>
                <a:lnTo>
                  <a:pt x="2364" y="622"/>
                </a:lnTo>
                <a:lnTo>
                  <a:pt x="2582" y="667"/>
                </a:lnTo>
                <a:lnTo>
                  <a:pt x="2498" y="417"/>
                </a:lnTo>
                <a:lnTo>
                  <a:pt x="2326" y="437"/>
                </a:lnTo>
                <a:lnTo>
                  <a:pt x="2301" y="273"/>
                </a:lnTo>
                <a:lnTo>
                  <a:pt x="2101" y="268"/>
                </a:lnTo>
                <a:lnTo>
                  <a:pt x="2035" y="111"/>
                </a:lnTo>
                <a:lnTo>
                  <a:pt x="1833" y="253"/>
                </a:lnTo>
                <a:lnTo>
                  <a:pt x="1785" y="60"/>
                </a:lnTo>
                <a:lnTo>
                  <a:pt x="1542" y="139"/>
                </a:lnTo>
                <a:lnTo>
                  <a:pt x="1431" y="0"/>
                </a:lnTo>
                <a:lnTo>
                  <a:pt x="1239" y="98"/>
                </a:lnTo>
                <a:lnTo>
                  <a:pt x="1047" y="15"/>
                </a:lnTo>
                <a:lnTo>
                  <a:pt x="923" y="172"/>
                </a:lnTo>
                <a:lnTo>
                  <a:pt x="705" y="45"/>
                </a:lnTo>
                <a:lnTo>
                  <a:pt x="604" y="250"/>
                </a:lnTo>
                <a:lnTo>
                  <a:pt x="397" y="174"/>
                </a:lnTo>
                <a:lnTo>
                  <a:pt x="326" y="407"/>
                </a:lnTo>
                <a:lnTo>
                  <a:pt x="136" y="318"/>
                </a:lnTo>
                <a:lnTo>
                  <a:pt x="0" y="617"/>
                </a:lnTo>
                <a:lnTo>
                  <a:pt x="2" y="619"/>
                </a:lnTo>
                <a:lnTo>
                  <a:pt x="136" y="321"/>
                </a:lnTo>
                <a:lnTo>
                  <a:pt x="329" y="409"/>
                </a:lnTo>
                <a:lnTo>
                  <a:pt x="399" y="177"/>
                </a:lnTo>
                <a:lnTo>
                  <a:pt x="604" y="253"/>
                </a:lnTo>
                <a:lnTo>
                  <a:pt x="708" y="50"/>
                </a:lnTo>
                <a:lnTo>
                  <a:pt x="923" y="174"/>
                </a:lnTo>
                <a:lnTo>
                  <a:pt x="1047" y="17"/>
                </a:lnTo>
                <a:lnTo>
                  <a:pt x="1239" y="101"/>
                </a:lnTo>
                <a:lnTo>
                  <a:pt x="1431" y="2"/>
                </a:lnTo>
                <a:lnTo>
                  <a:pt x="1540" y="141"/>
                </a:lnTo>
                <a:lnTo>
                  <a:pt x="1783" y="63"/>
                </a:lnTo>
                <a:lnTo>
                  <a:pt x="1831" y="258"/>
                </a:lnTo>
                <a:lnTo>
                  <a:pt x="2033" y="116"/>
                </a:lnTo>
                <a:lnTo>
                  <a:pt x="2099" y="270"/>
                </a:lnTo>
                <a:lnTo>
                  <a:pt x="2298" y="275"/>
                </a:lnTo>
                <a:lnTo>
                  <a:pt x="2324" y="437"/>
                </a:lnTo>
                <a:lnTo>
                  <a:pt x="2496" y="417"/>
                </a:lnTo>
                <a:lnTo>
                  <a:pt x="2579" y="665"/>
                </a:lnTo>
                <a:lnTo>
                  <a:pt x="2367" y="619"/>
                </a:lnTo>
                <a:lnTo>
                  <a:pt x="2326" y="435"/>
                </a:lnTo>
                <a:lnTo>
                  <a:pt x="2023" y="518"/>
                </a:lnTo>
                <a:lnTo>
                  <a:pt x="2101" y="265"/>
                </a:lnTo>
                <a:lnTo>
                  <a:pt x="1841" y="490"/>
                </a:lnTo>
                <a:lnTo>
                  <a:pt x="1833" y="253"/>
                </a:lnTo>
                <a:lnTo>
                  <a:pt x="1649" y="351"/>
                </a:lnTo>
                <a:lnTo>
                  <a:pt x="1542" y="139"/>
                </a:lnTo>
                <a:lnTo>
                  <a:pt x="1348" y="270"/>
                </a:lnTo>
                <a:lnTo>
                  <a:pt x="1239" y="96"/>
                </a:lnTo>
                <a:lnTo>
                  <a:pt x="1135" y="356"/>
                </a:lnTo>
                <a:lnTo>
                  <a:pt x="923" y="169"/>
                </a:lnTo>
                <a:lnTo>
                  <a:pt x="791" y="384"/>
                </a:lnTo>
                <a:lnTo>
                  <a:pt x="604" y="250"/>
                </a:lnTo>
                <a:lnTo>
                  <a:pt x="526" y="473"/>
                </a:lnTo>
                <a:lnTo>
                  <a:pt x="399" y="174"/>
                </a:lnTo>
                <a:lnTo>
                  <a:pt x="397" y="17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5" name="Freeform 87">
            <a:extLst>
              <a:ext uri="{FF2B5EF4-FFF2-40B4-BE49-F238E27FC236}">
                <a16:creationId xmlns:a16="http://schemas.microsoft.com/office/drawing/2014/main" id="{D12D6DAA-1438-45EC-B103-26CF6144C726}"/>
              </a:ext>
            </a:extLst>
          </p:cNvPr>
          <p:cNvSpPr>
            <a:spLocks/>
          </p:cNvSpPr>
          <p:nvPr/>
        </p:nvSpPr>
        <p:spPr bwMode="auto">
          <a:xfrm>
            <a:off x="3272750" y="2604006"/>
            <a:ext cx="958240" cy="1263639"/>
          </a:xfrm>
          <a:custGeom>
            <a:avLst/>
            <a:gdLst>
              <a:gd name="T0" fmla="*/ 0 w 433"/>
              <a:gd name="T1" fmla="*/ 0 h 571"/>
              <a:gd name="T2" fmla="*/ 86 w 433"/>
              <a:gd name="T3" fmla="*/ 339 h 571"/>
              <a:gd name="T4" fmla="*/ 430 w 433"/>
              <a:gd name="T5" fmla="*/ 311 h 571"/>
              <a:gd name="T6" fmla="*/ 301 w 433"/>
              <a:gd name="T7" fmla="*/ 564 h 571"/>
              <a:gd name="T8" fmla="*/ 218 w 433"/>
              <a:gd name="T9" fmla="*/ 124 h 571"/>
              <a:gd name="T10" fmla="*/ 215 w 433"/>
              <a:gd name="T11" fmla="*/ 124 h 571"/>
              <a:gd name="T12" fmla="*/ 299 w 433"/>
              <a:gd name="T13" fmla="*/ 571 h 571"/>
              <a:gd name="T14" fmla="*/ 433 w 433"/>
              <a:gd name="T15" fmla="*/ 308 h 571"/>
              <a:gd name="T16" fmla="*/ 89 w 433"/>
              <a:gd name="T17" fmla="*/ 336 h 571"/>
              <a:gd name="T18" fmla="*/ 3 w 433"/>
              <a:gd name="T19" fmla="*/ 0 h 571"/>
              <a:gd name="T20" fmla="*/ 0 w 433"/>
              <a:gd name="T21" fmla="*/ 0 h 571"/>
              <a:gd name="T22" fmla="*/ 0 w 433"/>
              <a:gd name="T23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3" h="571">
                <a:moveTo>
                  <a:pt x="0" y="0"/>
                </a:moveTo>
                <a:lnTo>
                  <a:pt x="86" y="339"/>
                </a:lnTo>
                <a:lnTo>
                  <a:pt x="430" y="311"/>
                </a:lnTo>
                <a:lnTo>
                  <a:pt x="301" y="564"/>
                </a:lnTo>
                <a:lnTo>
                  <a:pt x="218" y="124"/>
                </a:lnTo>
                <a:lnTo>
                  <a:pt x="215" y="124"/>
                </a:lnTo>
                <a:lnTo>
                  <a:pt x="299" y="571"/>
                </a:lnTo>
                <a:lnTo>
                  <a:pt x="433" y="308"/>
                </a:lnTo>
                <a:lnTo>
                  <a:pt x="89" y="336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6" name="Freeform 88">
            <a:extLst>
              <a:ext uri="{FF2B5EF4-FFF2-40B4-BE49-F238E27FC236}">
                <a16:creationId xmlns:a16="http://schemas.microsoft.com/office/drawing/2014/main" id="{A51F92C0-0DE3-4F86-B402-436D1D771399}"/>
              </a:ext>
            </a:extLst>
          </p:cNvPr>
          <p:cNvSpPr>
            <a:spLocks/>
          </p:cNvSpPr>
          <p:nvPr/>
        </p:nvSpPr>
        <p:spPr bwMode="auto">
          <a:xfrm>
            <a:off x="2876619" y="3347583"/>
            <a:ext cx="637351" cy="756855"/>
          </a:xfrm>
          <a:custGeom>
            <a:avLst/>
            <a:gdLst>
              <a:gd name="T0" fmla="*/ 179 w 288"/>
              <a:gd name="T1" fmla="*/ 321 h 342"/>
              <a:gd name="T2" fmla="*/ 2 w 288"/>
              <a:gd name="T3" fmla="*/ 94 h 342"/>
              <a:gd name="T4" fmla="*/ 265 w 288"/>
              <a:gd name="T5" fmla="*/ 3 h 342"/>
              <a:gd name="T6" fmla="*/ 286 w 288"/>
              <a:gd name="T7" fmla="*/ 342 h 342"/>
              <a:gd name="T8" fmla="*/ 288 w 288"/>
              <a:gd name="T9" fmla="*/ 342 h 342"/>
              <a:gd name="T10" fmla="*/ 268 w 288"/>
              <a:gd name="T11" fmla="*/ 0 h 342"/>
              <a:gd name="T12" fmla="*/ 0 w 288"/>
              <a:gd name="T13" fmla="*/ 91 h 342"/>
              <a:gd name="T14" fmla="*/ 179 w 288"/>
              <a:gd name="T15" fmla="*/ 324 h 342"/>
              <a:gd name="T16" fmla="*/ 179 w 288"/>
              <a:gd name="T17" fmla="*/ 321 h 342"/>
              <a:gd name="T18" fmla="*/ 179 w 288"/>
              <a:gd name="T19" fmla="*/ 321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8" h="342">
                <a:moveTo>
                  <a:pt x="179" y="321"/>
                </a:moveTo>
                <a:lnTo>
                  <a:pt x="2" y="94"/>
                </a:lnTo>
                <a:lnTo>
                  <a:pt x="265" y="3"/>
                </a:lnTo>
                <a:lnTo>
                  <a:pt x="286" y="342"/>
                </a:lnTo>
                <a:lnTo>
                  <a:pt x="288" y="342"/>
                </a:lnTo>
                <a:lnTo>
                  <a:pt x="268" y="0"/>
                </a:lnTo>
                <a:lnTo>
                  <a:pt x="0" y="91"/>
                </a:lnTo>
                <a:lnTo>
                  <a:pt x="179" y="324"/>
                </a:lnTo>
                <a:lnTo>
                  <a:pt x="179" y="321"/>
                </a:lnTo>
                <a:lnTo>
                  <a:pt x="179" y="321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7" name="Freeform 89">
            <a:extLst>
              <a:ext uri="{FF2B5EF4-FFF2-40B4-BE49-F238E27FC236}">
                <a16:creationId xmlns:a16="http://schemas.microsoft.com/office/drawing/2014/main" id="{676899E8-95CF-47AB-AA14-06B5AD0867D8}"/>
              </a:ext>
            </a:extLst>
          </p:cNvPr>
          <p:cNvSpPr>
            <a:spLocks/>
          </p:cNvSpPr>
          <p:nvPr/>
        </p:nvSpPr>
        <p:spPr bwMode="auto">
          <a:xfrm>
            <a:off x="3463070" y="3347583"/>
            <a:ext cx="475801" cy="834312"/>
          </a:xfrm>
          <a:custGeom>
            <a:avLst/>
            <a:gdLst>
              <a:gd name="T0" fmla="*/ 0 w 215"/>
              <a:gd name="T1" fmla="*/ 3 h 377"/>
              <a:gd name="T2" fmla="*/ 213 w 215"/>
              <a:gd name="T3" fmla="*/ 230 h 377"/>
              <a:gd name="T4" fmla="*/ 8 w 215"/>
              <a:gd name="T5" fmla="*/ 374 h 377"/>
              <a:gd name="T6" fmla="*/ 10 w 215"/>
              <a:gd name="T7" fmla="*/ 377 h 377"/>
              <a:gd name="T8" fmla="*/ 215 w 215"/>
              <a:gd name="T9" fmla="*/ 230 h 377"/>
              <a:gd name="T10" fmla="*/ 3 w 215"/>
              <a:gd name="T11" fmla="*/ 0 h 377"/>
              <a:gd name="T12" fmla="*/ 0 w 215"/>
              <a:gd name="T13" fmla="*/ 3 h 377"/>
              <a:gd name="T14" fmla="*/ 0 w 215"/>
              <a:gd name="T15" fmla="*/ 3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5" h="377">
                <a:moveTo>
                  <a:pt x="0" y="3"/>
                </a:moveTo>
                <a:lnTo>
                  <a:pt x="213" y="230"/>
                </a:lnTo>
                <a:lnTo>
                  <a:pt x="8" y="374"/>
                </a:lnTo>
                <a:lnTo>
                  <a:pt x="10" y="377"/>
                </a:lnTo>
                <a:lnTo>
                  <a:pt x="215" y="230"/>
                </a:lnTo>
                <a:lnTo>
                  <a:pt x="3" y="0"/>
                </a:lnTo>
                <a:lnTo>
                  <a:pt x="0" y="3"/>
                </a:lnTo>
                <a:lnTo>
                  <a:pt x="0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8" name="Freeform 90">
            <a:extLst>
              <a:ext uri="{FF2B5EF4-FFF2-40B4-BE49-F238E27FC236}">
                <a16:creationId xmlns:a16="http://schemas.microsoft.com/office/drawing/2014/main" id="{42496D6A-3A11-442E-A1D5-AAFD4EE3931A}"/>
              </a:ext>
            </a:extLst>
          </p:cNvPr>
          <p:cNvSpPr>
            <a:spLocks/>
          </p:cNvSpPr>
          <p:nvPr/>
        </p:nvSpPr>
        <p:spPr bwMode="auto">
          <a:xfrm>
            <a:off x="4695724" y="3062101"/>
            <a:ext cx="1073317" cy="940537"/>
          </a:xfrm>
          <a:custGeom>
            <a:avLst/>
            <a:gdLst>
              <a:gd name="T0" fmla="*/ 483 w 485"/>
              <a:gd name="T1" fmla="*/ 0 h 425"/>
              <a:gd name="T2" fmla="*/ 338 w 485"/>
              <a:gd name="T3" fmla="*/ 263 h 425"/>
              <a:gd name="T4" fmla="*/ 301 w 485"/>
              <a:gd name="T5" fmla="*/ 96 h 425"/>
              <a:gd name="T6" fmla="*/ 76 w 485"/>
              <a:gd name="T7" fmla="*/ 420 h 425"/>
              <a:gd name="T8" fmla="*/ 2 w 485"/>
              <a:gd name="T9" fmla="*/ 18 h 425"/>
              <a:gd name="T10" fmla="*/ 0 w 485"/>
              <a:gd name="T11" fmla="*/ 18 h 425"/>
              <a:gd name="T12" fmla="*/ 73 w 485"/>
              <a:gd name="T13" fmla="*/ 425 h 425"/>
              <a:gd name="T14" fmla="*/ 298 w 485"/>
              <a:gd name="T15" fmla="*/ 101 h 425"/>
              <a:gd name="T16" fmla="*/ 336 w 485"/>
              <a:gd name="T17" fmla="*/ 271 h 425"/>
              <a:gd name="T18" fmla="*/ 485 w 485"/>
              <a:gd name="T19" fmla="*/ 0 h 425"/>
              <a:gd name="T20" fmla="*/ 483 w 485"/>
              <a:gd name="T21" fmla="*/ 0 h 425"/>
              <a:gd name="T22" fmla="*/ 483 w 485"/>
              <a:gd name="T23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5" h="425">
                <a:moveTo>
                  <a:pt x="483" y="0"/>
                </a:moveTo>
                <a:lnTo>
                  <a:pt x="338" y="263"/>
                </a:lnTo>
                <a:lnTo>
                  <a:pt x="301" y="96"/>
                </a:lnTo>
                <a:lnTo>
                  <a:pt x="76" y="420"/>
                </a:lnTo>
                <a:lnTo>
                  <a:pt x="2" y="18"/>
                </a:lnTo>
                <a:lnTo>
                  <a:pt x="0" y="18"/>
                </a:lnTo>
                <a:lnTo>
                  <a:pt x="73" y="425"/>
                </a:lnTo>
                <a:lnTo>
                  <a:pt x="298" y="101"/>
                </a:lnTo>
                <a:lnTo>
                  <a:pt x="336" y="271"/>
                </a:lnTo>
                <a:lnTo>
                  <a:pt x="485" y="0"/>
                </a:lnTo>
                <a:lnTo>
                  <a:pt x="483" y="0"/>
                </a:lnTo>
                <a:lnTo>
                  <a:pt x="483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9" name="Freeform 91">
            <a:extLst>
              <a:ext uri="{FF2B5EF4-FFF2-40B4-BE49-F238E27FC236}">
                <a16:creationId xmlns:a16="http://schemas.microsoft.com/office/drawing/2014/main" id="{0328C137-7D99-407B-ACDA-97F68444F0B4}"/>
              </a:ext>
            </a:extLst>
          </p:cNvPr>
          <p:cNvSpPr>
            <a:spLocks/>
          </p:cNvSpPr>
          <p:nvPr/>
        </p:nvSpPr>
        <p:spPr bwMode="auto">
          <a:xfrm>
            <a:off x="4956861" y="3101936"/>
            <a:ext cx="1847875" cy="1248147"/>
          </a:xfrm>
          <a:custGeom>
            <a:avLst/>
            <a:gdLst>
              <a:gd name="T0" fmla="*/ 219 w 330"/>
              <a:gd name="T1" fmla="*/ 98 h 223"/>
              <a:gd name="T2" fmla="*/ 189 w 330"/>
              <a:gd name="T3" fmla="*/ 159 h 223"/>
              <a:gd name="T4" fmla="*/ 161 w 330"/>
              <a:gd name="T5" fmla="*/ 216 h 223"/>
              <a:gd name="T6" fmla="*/ 159 w 330"/>
              <a:gd name="T7" fmla="*/ 222 h 223"/>
              <a:gd name="T8" fmla="*/ 159 w 330"/>
              <a:gd name="T9" fmla="*/ 222 h 223"/>
              <a:gd name="T10" fmla="*/ 159 w 330"/>
              <a:gd name="T11" fmla="*/ 222 h 223"/>
              <a:gd name="T12" fmla="*/ 159 w 330"/>
              <a:gd name="T13" fmla="*/ 223 h 223"/>
              <a:gd name="T14" fmla="*/ 159 w 330"/>
              <a:gd name="T15" fmla="*/ 223 h 223"/>
              <a:gd name="T16" fmla="*/ 159 w 330"/>
              <a:gd name="T17" fmla="*/ 222 h 223"/>
              <a:gd name="T18" fmla="*/ 159 w 330"/>
              <a:gd name="T19" fmla="*/ 222 h 223"/>
              <a:gd name="T20" fmla="*/ 159 w 330"/>
              <a:gd name="T21" fmla="*/ 222 h 223"/>
              <a:gd name="T22" fmla="*/ 159 w 330"/>
              <a:gd name="T23" fmla="*/ 223 h 223"/>
              <a:gd name="T24" fmla="*/ 159 w 330"/>
              <a:gd name="T25" fmla="*/ 222 h 223"/>
              <a:gd name="T26" fmla="*/ 159 w 330"/>
              <a:gd name="T27" fmla="*/ 222 h 223"/>
              <a:gd name="T28" fmla="*/ 159 w 330"/>
              <a:gd name="T29" fmla="*/ 222 h 223"/>
              <a:gd name="T30" fmla="*/ 157 w 330"/>
              <a:gd name="T31" fmla="*/ 196 h 223"/>
              <a:gd name="T32" fmla="*/ 149 w 330"/>
              <a:gd name="T33" fmla="*/ 98 h 223"/>
              <a:gd name="T34" fmla="*/ 148 w 330"/>
              <a:gd name="T35" fmla="*/ 87 h 223"/>
              <a:gd name="T36" fmla="*/ 86 w 330"/>
              <a:gd name="T37" fmla="*/ 98 h 223"/>
              <a:gd name="T38" fmla="*/ 0 w 330"/>
              <a:gd name="T39" fmla="*/ 141 h 223"/>
              <a:gd name="T40" fmla="*/ 148 w 330"/>
              <a:gd name="T41" fmla="*/ 87 h 223"/>
              <a:gd name="T42" fmla="*/ 147 w 330"/>
              <a:gd name="T43" fmla="*/ 87 h 223"/>
              <a:gd name="T44" fmla="*/ 156 w 330"/>
              <a:gd name="T45" fmla="*/ 201 h 223"/>
              <a:gd name="T46" fmla="*/ 158 w 330"/>
              <a:gd name="T47" fmla="*/ 221 h 223"/>
              <a:gd name="T48" fmla="*/ 158 w 330"/>
              <a:gd name="T49" fmla="*/ 223 h 223"/>
              <a:gd name="T50" fmla="*/ 159 w 330"/>
              <a:gd name="T51" fmla="*/ 223 h 223"/>
              <a:gd name="T52" fmla="*/ 159 w 330"/>
              <a:gd name="T53" fmla="*/ 223 h 223"/>
              <a:gd name="T54" fmla="*/ 159 w 330"/>
              <a:gd name="T55" fmla="*/ 223 h 223"/>
              <a:gd name="T56" fmla="*/ 191 w 330"/>
              <a:gd name="T57" fmla="*/ 157 h 223"/>
              <a:gd name="T58" fmla="*/ 217 w 330"/>
              <a:gd name="T59" fmla="*/ 103 h 223"/>
              <a:gd name="T60" fmla="*/ 219 w 330"/>
              <a:gd name="T61" fmla="*/ 98 h 223"/>
              <a:gd name="T62" fmla="*/ 330 w 330"/>
              <a:gd name="T63" fmla="*/ 1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30" h="223">
                <a:moveTo>
                  <a:pt x="329" y="0"/>
                </a:moveTo>
                <a:cubicBezTo>
                  <a:pt x="219" y="98"/>
                  <a:pt x="219" y="98"/>
                  <a:pt x="219" y="98"/>
                </a:cubicBezTo>
                <a:cubicBezTo>
                  <a:pt x="219" y="98"/>
                  <a:pt x="219" y="98"/>
                  <a:pt x="219" y="98"/>
                </a:cubicBezTo>
                <a:cubicBezTo>
                  <a:pt x="219" y="98"/>
                  <a:pt x="204" y="128"/>
                  <a:pt x="189" y="159"/>
                </a:cubicBezTo>
                <a:cubicBezTo>
                  <a:pt x="181" y="174"/>
                  <a:pt x="174" y="190"/>
                  <a:pt x="168" y="202"/>
                </a:cubicBezTo>
                <a:cubicBezTo>
                  <a:pt x="165" y="208"/>
                  <a:pt x="163" y="213"/>
                  <a:pt x="161" y="216"/>
                </a:cubicBezTo>
                <a:cubicBezTo>
                  <a:pt x="161" y="218"/>
                  <a:pt x="160" y="219"/>
                  <a:pt x="159" y="221"/>
                </a:cubicBezTo>
                <a:cubicBezTo>
                  <a:pt x="159" y="221"/>
                  <a:pt x="159" y="221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22"/>
                  <a:pt x="159" y="222"/>
                  <a:pt x="159" y="222"/>
                </a:cubicBezTo>
                <a:cubicBezTo>
                  <a:pt x="159" y="219"/>
                  <a:pt x="158" y="209"/>
                  <a:pt x="157" y="196"/>
                </a:cubicBezTo>
                <a:cubicBezTo>
                  <a:pt x="155" y="176"/>
                  <a:pt x="153" y="149"/>
                  <a:pt x="151" y="127"/>
                </a:cubicBezTo>
                <a:cubicBezTo>
                  <a:pt x="150" y="115"/>
                  <a:pt x="150" y="105"/>
                  <a:pt x="149" y="98"/>
                </a:cubicBezTo>
                <a:cubicBezTo>
                  <a:pt x="149" y="95"/>
                  <a:pt x="149" y="92"/>
                  <a:pt x="149" y="90"/>
                </a:cubicBezTo>
                <a:cubicBezTo>
                  <a:pt x="148" y="88"/>
                  <a:pt x="148" y="87"/>
                  <a:pt x="148" y="87"/>
                </a:cubicBezTo>
                <a:cubicBezTo>
                  <a:pt x="148" y="86"/>
                  <a:pt x="148" y="86"/>
                  <a:pt x="148" y="86"/>
                </a:cubicBezTo>
                <a:cubicBezTo>
                  <a:pt x="86" y="98"/>
                  <a:pt x="86" y="98"/>
                  <a:pt x="86" y="98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41"/>
                  <a:pt x="0" y="141"/>
                  <a:pt x="0" y="141"/>
                </a:cubicBezTo>
                <a:cubicBezTo>
                  <a:pt x="87" y="99"/>
                  <a:pt x="87" y="99"/>
                  <a:pt x="87" y="99"/>
                </a:cubicBezTo>
                <a:cubicBezTo>
                  <a:pt x="148" y="87"/>
                  <a:pt x="148" y="87"/>
                  <a:pt x="148" y="87"/>
                </a:cubicBezTo>
                <a:cubicBezTo>
                  <a:pt x="148" y="87"/>
                  <a:pt x="148" y="87"/>
                  <a:pt x="148" y="87"/>
                </a:cubicBezTo>
                <a:cubicBezTo>
                  <a:pt x="147" y="87"/>
                  <a:pt x="147" y="87"/>
                  <a:pt x="147" y="87"/>
                </a:cubicBezTo>
                <a:cubicBezTo>
                  <a:pt x="147" y="87"/>
                  <a:pt x="150" y="121"/>
                  <a:pt x="153" y="155"/>
                </a:cubicBezTo>
                <a:cubicBezTo>
                  <a:pt x="154" y="172"/>
                  <a:pt x="155" y="189"/>
                  <a:pt x="156" y="201"/>
                </a:cubicBezTo>
                <a:cubicBezTo>
                  <a:pt x="157" y="208"/>
                  <a:pt x="157" y="213"/>
                  <a:pt x="158" y="217"/>
                </a:cubicBezTo>
                <a:cubicBezTo>
                  <a:pt x="158" y="219"/>
                  <a:pt x="158" y="220"/>
                  <a:pt x="158" y="221"/>
                </a:cubicBezTo>
                <a:cubicBezTo>
                  <a:pt x="158" y="222"/>
                  <a:pt x="158" y="222"/>
                  <a:pt x="158" y="222"/>
                </a:cubicBezTo>
                <a:cubicBezTo>
                  <a:pt x="158" y="222"/>
                  <a:pt x="158" y="223"/>
                  <a:pt x="158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3"/>
                  <a:pt x="159" y="223"/>
                </a:cubicBezTo>
                <a:cubicBezTo>
                  <a:pt x="159" y="223"/>
                  <a:pt x="159" y="222"/>
                  <a:pt x="160" y="222"/>
                </a:cubicBezTo>
                <a:cubicBezTo>
                  <a:pt x="162" y="217"/>
                  <a:pt x="177" y="186"/>
                  <a:pt x="191" y="157"/>
                </a:cubicBezTo>
                <a:cubicBezTo>
                  <a:pt x="198" y="142"/>
                  <a:pt x="205" y="127"/>
                  <a:pt x="211" y="116"/>
                </a:cubicBezTo>
                <a:cubicBezTo>
                  <a:pt x="213" y="111"/>
                  <a:pt x="215" y="106"/>
                  <a:pt x="217" y="103"/>
                </a:cubicBezTo>
                <a:cubicBezTo>
                  <a:pt x="218" y="100"/>
                  <a:pt x="219" y="98"/>
                  <a:pt x="219" y="98"/>
                </a:cubicBezTo>
                <a:cubicBezTo>
                  <a:pt x="219" y="98"/>
                  <a:pt x="219" y="98"/>
                  <a:pt x="219" y="98"/>
                </a:cubicBezTo>
                <a:cubicBezTo>
                  <a:pt x="219" y="98"/>
                  <a:pt x="219" y="98"/>
                  <a:pt x="219" y="98"/>
                </a:cubicBezTo>
                <a:cubicBezTo>
                  <a:pt x="330" y="1"/>
                  <a:pt x="330" y="1"/>
                  <a:pt x="330" y="1"/>
                </a:cubicBezTo>
                <a:cubicBezTo>
                  <a:pt x="329" y="0"/>
                  <a:pt x="329" y="0"/>
                  <a:pt x="329" y="0"/>
                </a:cubicBezTo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0" name="Freeform 92">
            <a:extLst>
              <a:ext uri="{FF2B5EF4-FFF2-40B4-BE49-F238E27FC236}">
                <a16:creationId xmlns:a16="http://schemas.microsoft.com/office/drawing/2014/main" id="{7E42C458-3969-46B5-BA2C-067E6755E5F8}"/>
              </a:ext>
            </a:extLst>
          </p:cNvPr>
          <p:cNvSpPr>
            <a:spLocks/>
          </p:cNvSpPr>
          <p:nvPr/>
        </p:nvSpPr>
        <p:spPr bwMode="auto">
          <a:xfrm>
            <a:off x="5780106" y="2747852"/>
            <a:ext cx="1170690" cy="1631001"/>
          </a:xfrm>
          <a:custGeom>
            <a:avLst/>
            <a:gdLst>
              <a:gd name="T0" fmla="*/ 195 w 529"/>
              <a:gd name="T1" fmla="*/ 0 h 737"/>
              <a:gd name="T2" fmla="*/ 0 w 529"/>
              <a:gd name="T3" fmla="*/ 380 h 737"/>
              <a:gd name="T4" fmla="*/ 182 w 529"/>
              <a:gd name="T5" fmla="*/ 408 h 737"/>
              <a:gd name="T6" fmla="*/ 526 w 529"/>
              <a:gd name="T7" fmla="*/ 506 h 737"/>
              <a:gd name="T8" fmla="*/ 268 w 529"/>
              <a:gd name="T9" fmla="*/ 734 h 737"/>
              <a:gd name="T10" fmla="*/ 271 w 529"/>
              <a:gd name="T11" fmla="*/ 737 h 737"/>
              <a:gd name="T12" fmla="*/ 529 w 529"/>
              <a:gd name="T13" fmla="*/ 506 h 737"/>
              <a:gd name="T14" fmla="*/ 182 w 529"/>
              <a:gd name="T15" fmla="*/ 405 h 737"/>
              <a:gd name="T16" fmla="*/ 5 w 529"/>
              <a:gd name="T17" fmla="*/ 377 h 737"/>
              <a:gd name="T18" fmla="*/ 197 w 529"/>
              <a:gd name="T19" fmla="*/ 0 h 737"/>
              <a:gd name="T20" fmla="*/ 195 w 529"/>
              <a:gd name="T21" fmla="*/ 0 h 737"/>
              <a:gd name="T22" fmla="*/ 195 w 529"/>
              <a:gd name="T23" fmla="*/ 0 h 7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29" h="737">
                <a:moveTo>
                  <a:pt x="195" y="0"/>
                </a:moveTo>
                <a:lnTo>
                  <a:pt x="0" y="380"/>
                </a:lnTo>
                <a:lnTo>
                  <a:pt x="182" y="408"/>
                </a:lnTo>
                <a:lnTo>
                  <a:pt x="526" y="506"/>
                </a:lnTo>
                <a:lnTo>
                  <a:pt x="268" y="734"/>
                </a:lnTo>
                <a:lnTo>
                  <a:pt x="271" y="737"/>
                </a:lnTo>
                <a:lnTo>
                  <a:pt x="529" y="506"/>
                </a:lnTo>
                <a:lnTo>
                  <a:pt x="182" y="405"/>
                </a:lnTo>
                <a:lnTo>
                  <a:pt x="5" y="377"/>
                </a:lnTo>
                <a:lnTo>
                  <a:pt x="197" y="0"/>
                </a:lnTo>
                <a:lnTo>
                  <a:pt x="195" y="0"/>
                </a:lnTo>
                <a:lnTo>
                  <a:pt x="195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1" name="Freeform 93">
            <a:extLst>
              <a:ext uri="{FF2B5EF4-FFF2-40B4-BE49-F238E27FC236}">
                <a16:creationId xmlns:a16="http://schemas.microsoft.com/office/drawing/2014/main" id="{C8326BDA-658B-4D39-BCCE-321AE91A9241}"/>
              </a:ext>
            </a:extLst>
          </p:cNvPr>
          <p:cNvSpPr>
            <a:spLocks/>
          </p:cNvSpPr>
          <p:nvPr/>
        </p:nvSpPr>
        <p:spPr bwMode="auto">
          <a:xfrm>
            <a:off x="6182876" y="3464872"/>
            <a:ext cx="677185" cy="918407"/>
          </a:xfrm>
          <a:custGeom>
            <a:avLst/>
            <a:gdLst>
              <a:gd name="T0" fmla="*/ 304 w 306"/>
              <a:gd name="T1" fmla="*/ 0 h 415"/>
              <a:gd name="T2" fmla="*/ 89 w 306"/>
              <a:gd name="T3" fmla="*/ 410 h 415"/>
              <a:gd name="T4" fmla="*/ 0 w 306"/>
              <a:gd name="T5" fmla="*/ 84 h 415"/>
              <a:gd name="T6" fmla="*/ 0 w 306"/>
              <a:gd name="T7" fmla="*/ 84 h 415"/>
              <a:gd name="T8" fmla="*/ 89 w 306"/>
              <a:gd name="T9" fmla="*/ 415 h 415"/>
              <a:gd name="T10" fmla="*/ 306 w 306"/>
              <a:gd name="T11" fmla="*/ 0 h 415"/>
              <a:gd name="T12" fmla="*/ 304 w 306"/>
              <a:gd name="T13" fmla="*/ 0 h 415"/>
              <a:gd name="T14" fmla="*/ 304 w 306"/>
              <a:gd name="T15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6" h="415">
                <a:moveTo>
                  <a:pt x="304" y="0"/>
                </a:moveTo>
                <a:lnTo>
                  <a:pt x="89" y="410"/>
                </a:lnTo>
                <a:lnTo>
                  <a:pt x="0" y="84"/>
                </a:lnTo>
                <a:lnTo>
                  <a:pt x="0" y="84"/>
                </a:lnTo>
                <a:lnTo>
                  <a:pt x="89" y="415"/>
                </a:lnTo>
                <a:lnTo>
                  <a:pt x="306" y="0"/>
                </a:lnTo>
                <a:lnTo>
                  <a:pt x="304" y="0"/>
                </a:lnTo>
                <a:lnTo>
                  <a:pt x="304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2" name="Freeform 94">
            <a:extLst>
              <a:ext uri="{FF2B5EF4-FFF2-40B4-BE49-F238E27FC236}">
                <a16:creationId xmlns:a16="http://schemas.microsoft.com/office/drawing/2014/main" id="{216A23E5-1B54-4E3F-BACD-65960792E543}"/>
              </a:ext>
            </a:extLst>
          </p:cNvPr>
          <p:cNvSpPr>
            <a:spLocks/>
          </p:cNvSpPr>
          <p:nvPr/>
        </p:nvSpPr>
        <p:spPr bwMode="auto">
          <a:xfrm>
            <a:off x="6944156" y="3867643"/>
            <a:ext cx="79669" cy="442605"/>
          </a:xfrm>
          <a:custGeom>
            <a:avLst/>
            <a:gdLst>
              <a:gd name="T0" fmla="*/ 0 w 36"/>
              <a:gd name="T1" fmla="*/ 0 h 200"/>
              <a:gd name="T2" fmla="*/ 33 w 36"/>
              <a:gd name="T3" fmla="*/ 200 h 200"/>
              <a:gd name="T4" fmla="*/ 36 w 36"/>
              <a:gd name="T5" fmla="*/ 198 h 200"/>
              <a:gd name="T6" fmla="*/ 3 w 36"/>
              <a:gd name="T7" fmla="*/ 0 h 200"/>
              <a:gd name="T8" fmla="*/ 0 w 36"/>
              <a:gd name="T9" fmla="*/ 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200">
                <a:moveTo>
                  <a:pt x="0" y="0"/>
                </a:moveTo>
                <a:lnTo>
                  <a:pt x="33" y="200"/>
                </a:lnTo>
                <a:lnTo>
                  <a:pt x="36" y="198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3" name="Freeform 95">
            <a:extLst>
              <a:ext uri="{FF2B5EF4-FFF2-40B4-BE49-F238E27FC236}">
                <a16:creationId xmlns:a16="http://schemas.microsoft.com/office/drawing/2014/main" id="{1771457D-5EF1-4FD8-9A20-8FA72DD3B0D2}"/>
              </a:ext>
            </a:extLst>
          </p:cNvPr>
          <p:cNvSpPr>
            <a:spLocks/>
          </p:cNvSpPr>
          <p:nvPr/>
        </p:nvSpPr>
        <p:spPr bwMode="auto">
          <a:xfrm>
            <a:off x="6944156" y="3867643"/>
            <a:ext cx="79669" cy="442605"/>
          </a:xfrm>
          <a:custGeom>
            <a:avLst/>
            <a:gdLst>
              <a:gd name="T0" fmla="*/ 0 w 36"/>
              <a:gd name="T1" fmla="*/ 0 h 200"/>
              <a:gd name="T2" fmla="*/ 33 w 36"/>
              <a:gd name="T3" fmla="*/ 200 h 200"/>
              <a:gd name="T4" fmla="*/ 36 w 36"/>
              <a:gd name="T5" fmla="*/ 198 h 200"/>
              <a:gd name="T6" fmla="*/ 3 w 36"/>
              <a:gd name="T7" fmla="*/ 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" h="200">
                <a:moveTo>
                  <a:pt x="0" y="0"/>
                </a:moveTo>
                <a:lnTo>
                  <a:pt x="33" y="200"/>
                </a:lnTo>
                <a:lnTo>
                  <a:pt x="36" y="198"/>
                </a:lnTo>
                <a:lnTo>
                  <a:pt x="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4" name="Freeform 96">
            <a:extLst>
              <a:ext uri="{FF2B5EF4-FFF2-40B4-BE49-F238E27FC236}">
                <a16:creationId xmlns:a16="http://schemas.microsoft.com/office/drawing/2014/main" id="{31427466-7441-43AA-8166-5112508A2916}"/>
              </a:ext>
            </a:extLst>
          </p:cNvPr>
          <p:cNvSpPr>
            <a:spLocks/>
          </p:cNvSpPr>
          <p:nvPr/>
        </p:nvSpPr>
        <p:spPr bwMode="auto">
          <a:xfrm>
            <a:off x="2009114" y="3201523"/>
            <a:ext cx="889635" cy="1137496"/>
          </a:xfrm>
          <a:custGeom>
            <a:avLst/>
            <a:gdLst>
              <a:gd name="T0" fmla="*/ 0 w 402"/>
              <a:gd name="T1" fmla="*/ 3 h 514"/>
              <a:gd name="T2" fmla="*/ 207 w 402"/>
              <a:gd name="T3" fmla="*/ 392 h 514"/>
              <a:gd name="T4" fmla="*/ 210 w 402"/>
              <a:gd name="T5" fmla="*/ 392 h 514"/>
              <a:gd name="T6" fmla="*/ 195 w 402"/>
              <a:gd name="T7" fmla="*/ 91 h 514"/>
              <a:gd name="T8" fmla="*/ 392 w 402"/>
              <a:gd name="T9" fmla="*/ 160 h 514"/>
              <a:gd name="T10" fmla="*/ 399 w 402"/>
              <a:gd name="T11" fmla="*/ 514 h 514"/>
              <a:gd name="T12" fmla="*/ 402 w 402"/>
              <a:gd name="T13" fmla="*/ 514 h 514"/>
              <a:gd name="T14" fmla="*/ 394 w 402"/>
              <a:gd name="T15" fmla="*/ 157 h 514"/>
              <a:gd name="T16" fmla="*/ 192 w 402"/>
              <a:gd name="T17" fmla="*/ 89 h 514"/>
              <a:gd name="T18" fmla="*/ 207 w 402"/>
              <a:gd name="T19" fmla="*/ 387 h 514"/>
              <a:gd name="T20" fmla="*/ 2 w 402"/>
              <a:gd name="T21" fmla="*/ 0 h 514"/>
              <a:gd name="T22" fmla="*/ 0 w 402"/>
              <a:gd name="T23" fmla="*/ 3 h 514"/>
              <a:gd name="T24" fmla="*/ 0 w 402"/>
              <a:gd name="T25" fmla="*/ 3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2" h="514">
                <a:moveTo>
                  <a:pt x="0" y="3"/>
                </a:moveTo>
                <a:lnTo>
                  <a:pt x="207" y="392"/>
                </a:lnTo>
                <a:lnTo>
                  <a:pt x="210" y="392"/>
                </a:lnTo>
                <a:lnTo>
                  <a:pt x="195" y="91"/>
                </a:lnTo>
                <a:lnTo>
                  <a:pt x="392" y="160"/>
                </a:lnTo>
                <a:lnTo>
                  <a:pt x="399" y="514"/>
                </a:lnTo>
                <a:lnTo>
                  <a:pt x="402" y="514"/>
                </a:lnTo>
                <a:lnTo>
                  <a:pt x="394" y="157"/>
                </a:lnTo>
                <a:lnTo>
                  <a:pt x="192" y="89"/>
                </a:lnTo>
                <a:lnTo>
                  <a:pt x="207" y="387"/>
                </a:lnTo>
                <a:lnTo>
                  <a:pt x="2" y="0"/>
                </a:lnTo>
                <a:lnTo>
                  <a:pt x="0" y="3"/>
                </a:lnTo>
                <a:lnTo>
                  <a:pt x="0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5" name="Oval 97">
            <a:extLst>
              <a:ext uri="{FF2B5EF4-FFF2-40B4-BE49-F238E27FC236}">
                <a16:creationId xmlns:a16="http://schemas.microsoft.com/office/drawing/2014/main" id="{4717025A-D766-4A05-A517-1CF53B8494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6409" y="2497780"/>
            <a:ext cx="66391" cy="7303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6" name="Freeform 98">
            <a:extLst>
              <a:ext uri="{FF2B5EF4-FFF2-40B4-BE49-F238E27FC236}">
                <a16:creationId xmlns:a16="http://schemas.microsoft.com/office/drawing/2014/main" id="{2739EE70-8D89-455E-AF6D-4753B7AABAE4}"/>
              </a:ext>
            </a:extLst>
          </p:cNvPr>
          <p:cNvSpPr>
            <a:spLocks/>
          </p:cNvSpPr>
          <p:nvPr/>
        </p:nvSpPr>
        <p:spPr bwMode="auto">
          <a:xfrm>
            <a:off x="3989769" y="2497780"/>
            <a:ext cx="77457" cy="73031"/>
          </a:xfrm>
          <a:custGeom>
            <a:avLst/>
            <a:gdLst>
              <a:gd name="T0" fmla="*/ 13 w 14"/>
              <a:gd name="T1" fmla="*/ 7 h 13"/>
              <a:gd name="T2" fmla="*/ 13 w 14"/>
              <a:gd name="T3" fmla="*/ 7 h 13"/>
              <a:gd name="T4" fmla="*/ 11 w 14"/>
              <a:gd name="T5" fmla="*/ 11 h 13"/>
              <a:gd name="T6" fmla="*/ 7 w 14"/>
              <a:gd name="T7" fmla="*/ 12 h 13"/>
              <a:gd name="T8" fmla="*/ 3 w 14"/>
              <a:gd name="T9" fmla="*/ 11 h 13"/>
              <a:gd name="T10" fmla="*/ 1 w 14"/>
              <a:gd name="T11" fmla="*/ 7 h 13"/>
              <a:gd name="T12" fmla="*/ 3 w 14"/>
              <a:gd name="T13" fmla="*/ 3 h 13"/>
              <a:gd name="T14" fmla="*/ 7 w 14"/>
              <a:gd name="T15" fmla="*/ 1 h 13"/>
              <a:gd name="T16" fmla="*/ 11 w 14"/>
              <a:gd name="T17" fmla="*/ 3 h 13"/>
              <a:gd name="T18" fmla="*/ 13 w 14"/>
              <a:gd name="T19" fmla="*/ 7 h 13"/>
              <a:gd name="T20" fmla="*/ 13 w 14"/>
              <a:gd name="T21" fmla="*/ 7 h 13"/>
              <a:gd name="T22" fmla="*/ 14 w 14"/>
              <a:gd name="T23" fmla="*/ 7 h 13"/>
              <a:gd name="T24" fmla="*/ 7 w 14"/>
              <a:gd name="T25" fmla="*/ 0 h 13"/>
              <a:gd name="T26" fmla="*/ 0 w 14"/>
              <a:gd name="T27" fmla="*/ 7 h 13"/>
              <a:gd name="T28" fmla="*/ 7 w 14"/>
              <a:gd name="T29" fmla="*/ 13 h 13"/>
              <a:gd name="T30" fmla="*/ 14 w 14"/>
              <a:gd name="T31" fmla="*/ 7 h 13"/>
              <a:gd name="T32" fmla="*/ 13 w 14"/>
              <a:gd name="T33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" h="13">
                <a:moveTo>
                  <a:pt x="13" y="7"/>
                </a:moveTo>
                <a:cubicBezTo>
                  <a:pt x="13" y="7"/>
                  <a:pt x="13" y="7"/>
                  <a:pt x="13" y="7"/>
                </a:cubicBezTo>
                <a:cubicBezTo>
                  <a:pt x="13" y="8"/>
                  <a:pt x="12" y="10"/>
                  <a:pt x="11" y="11"/>
                </a:cubicBezTo>
                <a:cubicBezTo>
                  <a:pt x="10" y="12"/>
                  <a:pt x="9" y="12"/>
                  <a:pt x="7" y="12"/>
                </a:cubicBezTo>
                <a:cubicBezTo>
                  <a:pt x="5" y="12"/>
                  <a:pt x="4" y="12"/>
                  <a:pt x="3" y="11"/>
                </a:cubicBezTo>
                <a:cubicBezTo>
                  <a:pt x="2" y="10"/>
                  <a:pt x="1" y="8"/>
                  <a:pt x="1" y="7"/>
                </a:cubicBezTo>
                <a:cubicBezTo>
                  <a:pt x="1" y="5"/>
                  <a:pt x="2" y="4"/>
                  <a:pt x="3" y="3"/>
                </a:cubicBezTo>
                <a:cubicBezTo>
                  <a:pt x="4" y="2"/>
                  <a:pt x="5" y="1"/>
                  <a:pt x="7" y="1"/>
                </a:cubicBezTo>
                <a:cubicBezTo>
                  <a:pt x="9" y="1"/>
                  <a:pt x="10" y="2"/>
                  <a:pt x="11" y="3"/>
                </a:cubicBezTo>
                <a:cubicBezTo>
                  <a:pt x="12" y="4"/>
                  <a:pt x="13" y="5"/>
                  <a:pt x="13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3"/>
                  <a:pt x="11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3"/>
                  <a:pt x="7" y="13"/>
                </a:cubicBezTo>
                <a:cubicBezTo>
                  <a:pt x="11" y="13"/>
                  <a:pt x="14" y="10"/>
                  <a:pt x="14" y="7"/>
                </a:cubicBezTo>
                <a:lnTo>
                  <a:pt x="13" y="7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7" name="Oval 99">
            <a:extLst>
              <a:ext uri="{FF2B5EF4-FFF2-40B4-BE49-F238E27FC236}">
                <a16:creationId xmlns:a16="http://schemas.microsoft.com/office/drawing/2014/main" id="{13A1B4F9-2542-40BD-BAD8-42A4F2873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2981" y="2597366"/>
            <a:ext cx="73030" cy="7303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8" name="Freeform 100">
            <a:extLst>
              <a:ext uri="{FF2B5EF4-FFF2-40B4-BE49-F238E27FC236}">
                <a16:creationId xmlns:a16="http://schemas.microsoft.com/office/drawing/2014/main" id="{5772F2B6-3D88-4CFC-87CD-D4235F2B31D6}"/>
              </a:ext>
            </a:extLst>
          </p:cNvPr>
          <p:cNvSpPr>
            <a:spLocks/>
          </p:cNvSpPr>
          <p:nvPr/>
        </p:nvSpPr>
        <p:spPr bwMode="auto">
          <a:xfrm>
            <a:off x="5622981" y="2597366"/>
            <a:ext cx="73030" cy="73031"/>
          </a:xfrm>
          <a:custGeom>
            <a:avLst/>
            <a:gdLst>
              <a:gd name="T0" fmla="*/ 13 w 13"/>
              <a:gd name="T1" fmla="*/ 7 h 13"/>
              <a:gd name="T2" fmla="*/ 12 w 13"/>
              <a:gd name="T3" fmla="*/ 7 h 13"/>
              <a:gd name="T4" fmla="*/ 11 w 13"/>
              <a:gd name="T5" fmla="*/ 11 h 13"/>
              <a:gd name="T6" fmla="*/ 7 w 13"/>
              <a:gd name="T7" fmla="*/ 12 h 13"/>
              <a:gd name="T8" fmla="*/ 3 w 13"/>
              <a:gd name="T9" fmla="*/ 11 h 13"/>
              <a:gd name="T10" fmla="*/ 1 w 13"/>
              <a:gd name="T11" fmla="*/ 7 h 13"/>
              <a:gd name="T12" fmla="*/ 3 w 13"/>
              <a:gd name="T13" fmla="*/ 3 h 13"/>
              <a:gd name="T14" fmla="*/ 7 w 13"/>
              <a:gd name="T15" fmla="*/ 1 h 13"/>
              <a:gd name="T16" fmla="*/ 11 w 13"/>
              <a:gd name="T17" fmla="*/ 3 h 13"/>
              <a:gd name="T18" fmla="*/ 12 w 13"/>
              <a:gd name="T19" fmla="*/ 7 h 13"/>
              <a:gd name="T20" fmla="*/ 13 w 13"/>
              <a:gd name="T21" fmla="*/ 7 h 13"/>
              <a:gd name="T22" fmla="*/ 13 w 13"/>
              <a:gd name="T23" fmla="*/ 7 h 13"/>
              <a:gd name="T24" fmla="*/ 7 w 13"/>
              <a:gd name="T25" fmla="*/ 0 h 13"/>
              <a:gd name="T26" fmla="*/ 0 w 13"/>
              <a:gd name="T27" fmla="*/ 7 h 13"/>
              <a:gd name="T28" fmla="*/ 7 w 13"/>
              <a:gd name="T29" fmla="*/ 13 h 13"/>
              <a:gd name="T30" fmla="*/ 13 w 13"/>
              <a:gd name="T31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7"/>
                </a:moveTo>
                <a:cubicBezTo>
                  <a:pt x="12" y="7"/>
                  <a:pt x="12" y="7"/>
                  <a:pt x="12" y="7"/>
                </a:cubicBezTo>
                <a:cubicBezTo>
                  <a:pt x="12" y="8"/>
                  <a:pt x="12" y="10"/>
                  <a:pt x="11" y="11"/>
                </a:cubicBezTo>
                <a:cubicBezTo>
                  <a:pt x="10" y="12"/>
                  <a:pt x="8" y="12"/>
                  <a:pt x="7" y="12"/>
                </a:cubicBezTo>
                <a:cubicBezTo>
                  <a:pt x="5" y="12"/>
                  <a:pt x="4" y="12"/>
                  <a:pt x="3" y="11"/>
                </a:cubicBezTo>
                <a:cubicBezTo>
                  <a:pt x="1" y="10"/>
                  <a:pt x="1" y="8"/>
                  <a:pt x="1" y="7"/>
                </a:cubicBezTo>
                <a:cubicBezTo>
                  <a:pt x="1" y="5"/>
                  <a:pt x="1" y="4"/>
                  <a:pt x="3" y="3"/>
                </a:cubicBezTo>
                <a:cubicBezTo>
                  <a:pt x="4" y="1"/>
                  <a:pt x="5" y="1"/>
                  <a:pt x="7" y="1"/>
                </a:cubicBezTo>
                <a:cubicBezTo>
                  <a:pt x="8" y="1"/>
                  <a:pt x="10" y="1"/>
                  <a:pt x="11" y="3"/>
                </a:cubicBezTo>
                <a:cubicBezTo>
                  <a:pt x="12" y="4"/>
                  <a:pt x="12" y="5"/>
                  <a:pt x="12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7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9" name="Oval 101">
            <a:extLst>
              <a:ext uri="{FF2B5EF4-FFF2-40B4-BE49-F238E27FC236}">
                <a16:creationId xmlns:a16="http://schemas.microsoft.com/office/drawing/2014/main" id="{CD2CB4E9-1C52-49B0-BD32-D2153CD86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9206" y="3028907"/>
            <a:ext cx="68604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0" name="Freeform 102">
            <a:extLst>
              <a:ext uri="{FF2B5EF4-FFF2-40B4-BE49-F238E27FC236}">
                <a16:creationId xmlns:a16="http://schemas.microsoft.com/office/drawing/2014/main" id="{FEBCBED9-54F8-4DFA-8BE2-84EFC75B822D}"/>
              </a:ext>
            </a:extLst>
          </p:cNvPr>
          <p:cNvSpPr>
            <a:spLocks/>
          </p:cNvSpPr>
          <p:nvPr/>
        </p:nvSpPr>
        <p:spPr bwMode="auto">
          <a:xfrm>
            <a:off x="5729206" y="3022267"/>
            <a:ext cx="73030" cy="79669"/>
          </a:xfrm>
          <a:custGeom>
            <a:avLst/>
            <a:gdLst>
              <a:gd name="T0" fmla="*/ 12 w 13"/>
              <a:gd name="T1" fmla="*/ 7 h 14"/>
              <a:gd name="T2" fmla="*/ 12 w 13"/>
              <a:gd name="T3" fmla="*/ 7 h 14"/>
              <a:gd name="T4" fmla="*/ 10 w 13"/>
              <a:gd name="T5" fmla="*/ 11 h 14"/>
              <a:gd name="T6" fmla="*/ 6 w 13"/>
              <a:gd name="T7" fmla="*/ 13 h 14"/>
              <a:gd name="T8" fmla="*/ 2 w 13"/>
              <a:gd name="T9" fmla="*/ 11 h 14"/>
              <a:gd name="T10" fmla="*/ 1 w 13"/>
              <a:gd name="T11" fmla="*/ 7 h 14"/>
              <a:gd name="T12" fmla="*/ 2 w 13"/>
              <a:gd name="T13" fmla="*/ 3 h 14"/>
              <a:gd name="T14" fmla="*/ 6 w 13"/>
              <a:gd name="T15" fmla="*/ 1 h 14"/>
              <a:gd name="T16" fmla="*/ 10 w 13"/>
              <a:gd name="T17" fmla="*/ 3 h 14"/>
              <a:gd name="T18" fmla="*/ 12 w 13"/>
              <a:gd name="T19" fmla="*/ 7 h 14"/>
              <a:gd name="T20" fmla="*/ 12 w 13"/>
              <a:gd name="T21" fmla="*/ 7 h 14"/>
              <a:gd name="T22" fmla="*/ 13 w 13"/>
              <a:gd name="T23" fmla="*/ 7 h 14"/>
              <a:gd name="T24" fmla="*/ 6 w 13"/>
              <a:gd name="T25" fmla="*/ 0 h 14"/>
              <a:gd name="T26" fmla="*/ 0 w 13"/>
              <a:gd name="T27" fmla="*/ 7 h 14"/>
              <a:gd name="T28" fmla="*/ 6 w 13"/>
              <a:gd name="T29" fmla="*/ 14 h 14"/>
              <a:gd name="T30" fmla="*/ 13 w 13"/>
              <a:gd name="T31" fmla="*/ 7 h 14"/>
              <a:gd name="T32" fmla="*/ 12 w 13"/>
              <a:gd name="T33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" h="14">
                <a:moveTo>
                  <a:pt x="12" y="7"/>
                </a:moveTo>
                <a:cubicBezTo>
                  <a:pt x="12" y="7"/>
                  <a:pt x="12" y="7"/>
                  <a:pt x="12" y="7"/>
                </a:cubicBezTo>
                <a:cubicBezTo>
                  <a:pt x="12" y="9"/>
                  <a:pt x="11" y="10"/>
                  <a:pt x="10" y="11"/>
                </a:cubicBezTo>
                <a:cubicBezTo>
                  <a:pt x="9" y="12"/>
                  <a:pt x="8" y="13"/>
                  <a:pt x="6" y="13"/>
                </a:cubicBezTo>
                <a:cubicBezTo>
                  <a:pt x="5" y="13"/>
                  <a:pt x="3" y="12"/>
                  <a:pt x="2" y="11"/>
                </a:cubicBezTo>
                <a:cubicBezTo>
                  <a:pt x="1" y="10"/>
                  <a:pt x="1" y="9"/>
                  <a:pt x="1" y="7"/>
                </a:cubicBezTo>
                <a:cubicBezTo>
                  <a:pt x="1" y="5"/>
                  <a:pt x="1" y="4"/>
                  <a:pt x="2" y="3"/>
                </a:cubicBezTo>
                <a:cubicBezTo>
                  <a:pt x="3" y="2"/>
                  <a:pt x="5" y="1"/>
                  <a:pt x="6" y="1"/>
                </a:cubicBezTo>
                <a:cubicBezTo>
                  <a:pt x="8" y="1"/>
                  <a:pt x="9" y="2"/>
                  <a:pt x="10" y="3"/>
                </a:cubicBezTo>
                <a:cubicBezTo>
                  <a:pt x="11" y="4"/>
                  <a:pt x="12" y="5"/>
                  <a:pt x="12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3"/>
                  <a:pt x="10" y="0"/>
                  <a:pt x="6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1"/>
                  <a:pt x="3" y="14"/>
                  <a:pt x="6" y="14"/>
                </a:cubicBezTo>
                <a:cubicBezTo>
                  <a:pt x="10" y="14"/>
                  <a:pt x="13" y="11"/>
                  <a:pt x="13" y="7"/>
                </a:cubicBezTo>
                <a:lnTo>
                  <a:pt x="12" y="7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1" name="Oval 103">
            <a:extLst>
              <a:ext uri="{FF2B5EF4-FFF2-40B4-BE49-F238E27FC236}">
                <a16:creationId xmlns:a16="http://schemas.microsoft.com/office/drawing/2014/main" id="{F317373C-84E2-424C-AF3F-3D4EA0A65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8495" y="2783260"/>
            <a:ext cx="55326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2" name="Freeform 104">
            <a:extLst>
              <a:ext uri="{FF2B5EF4-FFF2-40B4-BE49-F238E27FC236}">
                <a16:creationId xmlns:a16="http://schemas.microsoft.com/office/drawing/2014/main" id="{B284F802-04C9-41A8-84D0-70B922725C0D}"/>
              </a:ext>
            </a:extLst>
          </p:cNvPr>
          <p:cNvSpPr>
            <a:spLocks/>
          </p:cNvSpPr>
          <p:nvPr/>
        </p:nvSpPr>
        <p:spPr bwMode="auto">
          <a:xfrm>
            <a:off x="5091855" y="2776622"/>
            <a:ext cx="61965" cy="61965"/>
          </a:xfrm>
          <a:custGeom>
            <a:avLst/>
            <a:gdLst>
              <a:gd name="T0" fmla="*/ 11 w 11"/>
              <a:gd name="T1" fmla="*/ 6 h 11"/>
              <a:gd name="T2" fmla="*/ 10 w 11"/>
              <a:gd name="T3" fmla="*/ 6 h 11"/>
              <a:gd name="T4" fmla="*/ 6 w 11"/>
              <a:gd name="T5" fmla="*/ 10 h 11"/>
              <a:gd name="T6" fmla="*/ 1 w 11"/>
              <a:gd name="T7" fmla="*/ 6 h 11"/>
              <a:gd name="T8" fmla="*/ 6 w 11"/>
              <a:gd name="T9" fmla="*/ 1 h 11"/>
              <a:gd name="T10" fmla="*/ 10 w 11"/>
              <a:gd name="T11" fmla="*/ 6 h 11"/>
              <a:gd name="T12" fmla="*/ 11 w 11"/>
              <a:gd name="T13" fmla="*/ 6 h 11"/>
              <a:gd name="T14" fmla="*/ 11 w 11"/>
              <a:gd name="T15" fmla="*/ 6 h 11"/>
              <a:gd name="T16" fmla="*/ 6 w 11"/>
              <a:gd name="T17" fmla="*/ 0 h 11"/>
              <a:gd name="T18" fmla="*/ 0 w 11"/>
              <a:gd name="T19" fmla="*/ 6 h 11"/>
              <a:gd name="T20" fmla="*/ 6 w 11"/>
              <a:gd name="T21" fmla="*/ 11 h 11"/>
              <a:gd name="T22" fmla="*/ 11 w 11"/>
              <a:gd name="T23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" h="11">
                <a:moveTo>
                  <a:pt x="11" y="6"/>
                </a:moveTo>
                <a:cubicBezTo>
                  <a:pt x="10" y="6"/>
                  <a:pt x="10" y="6"/>
                  <a:pt x="10" y="6"/>
                </a:cubicBezTo>
                <a:cubicBezTo>
                  <a:pt x="10" y="8"/>
                  <a:pt x="8" y="10"/>
                  <a:pt x="6" y="10"/>
                </a:cubicBezTo>
                <a:cubicBezTo>
                  <a:pt x="3" y="10"/>
                  <a:pt x="1" y="8"/>
                  <a:pt x="1" y="6"/>
                </a:cubicBezTo>
                <a:cubicBezTo>
                  <a:pt x="1" y="3"/>
                  <a:pt x="3" y="1"/>
                  <a:pt x="6" y="1"/>
                </a:cubicBezTo>
                <a:cubicBezTo>
                  <a:pt x="8" y="1"/>
                  <a:pt x="10" y="3"/>
                  <a:pt x="10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3"/>
                  <a:pt x="9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9"/>
                  <a:pt x="3" y="11"/>
                  <a:pt x="6" y="11"/>
                </a:cubicBezTo>
                <a:cubicBezTo>
                  <a:pt x="9" y="11"/>
                  <a:pt x="11" y="9"/>
                  <a:pt x="11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3" name="Oval 105">
            <a:extLst>
              <a:ext uri="{FF2B5EF4-FFF2-40B4-BE49-F238E27FC236}">
                <a16:creationId xmlns:a16="http://schemas.microsoft.com/office/drawing/2014/main" id="{93C8100D-8033-4569-9BB2-F39505358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5736" y="2688101"/>
            <a:ext cx="57539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4" name="Freeform 106">
            <a:extLst>
              <a:ext uri="{FF2B5EF4-FFF2-40B4-BE49-F238E27FC236}">
                <a16:creationId xmlns:a16="http://schemas.microsoft.com/office/drawing/2014/main" id="{176EAD2C-0A39-4A08-B580-2E542BBA20E4}"/>
              </a:ext>
            </a:extLst>
          </p:cNvPr>
          <p:cNvSpPr>
            <a:spLocks/>
          </p:cNvSpPr>
          <p:nvPr/>
        </p:nvSpPr>
        <p:spPr bwMode="auto">
          <a:xfrm>
            <a:off x="4425736" y="2681461"/>
            <a:ext cx="61965" cy="61965"/>
          </a:xfrm>
          <a:custGeom>
            <a:avLst/>
            <a:gdLst>
              <a:gd name="T0" fmla="*/ 10 w 11"/>
              <a:gd name="T1" fmla="*/ 6 h 11"/>
              <a:gd name="T2" fmla="*/ 10 w 11"/>
              <a:gd name="T3" fmla="*/ 6 h 11"/>
              <a:gd name="T4" fmla="*/ 5 w 11"/>
              <a:gd name="T5" fmla="*/ 10 h 11"/>
              <a:gd name="T6" fmla="*/ 1 w 11"/>
              <a:gd name="T7" fmla="*/ 6 h 11"/>
              <a:gd name="T8" fmla="*/ 5 w 11"/>
              <a:gd name="T9" fmla="*/ 1 h 11"/>
              <a:gd name="T10" fmla="*/ 10 w 11"/>
              <a:gd name="T11" fmla="*/ 6 h 11"/>
              <a:gd name="T12" fmla="*/ 10 w 11"/>
              <a:gd name="T13" fmla="*/ 6 h 11"/>
              <a:gd name="T14" fmla="*/ 11 w 11"/>
              <a:gd name="T15" fmla="*/ 6 h 11"/>
              <a:gd name="T16" fmla="*/ 5 w 11"/>
              <a:gd name="T17" fmla="*/ 0 h 11"/>
              <a:gd name="T18" fmla="*/ 0 w 11"/>
              <a:gd name="T19" fmla="*/ 6 h 11"/>
              <a:gd name="T20" fmla="*/ 5 w 11"/>
              <a:gd name="T21" fmla="*/ 11 h 11"/>
              <a:gd name="T22" fmla="*/ 11 w 11"/>
              <a:gd name="T23" fmla="*/ 6 h 11"/>
              <a:gd name="T24" fmla="*/ 10 w 11"/>
              <a:gd name="T25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11">
                <a:moveTo>
                  <a:pt x="10" y="6"/>
                </a:moveTo>
                <a:cubicBezTo>
                  <a:pt x="10" y="6"/>
                  <a:pt x="10" y="6"/>
                  <a:pt x="10" y="6"/>
                </a:cubicBezTo>
                <a:cubicBezTo>
                  <a:pt x="10" y="8"/>
                  <a:pt x="8" y="10"/>
                  <a:pt x="5" y="10"/>
                </a:cubicBezTo>
                <a:cubicBezTo>
                  <a:pt x="3" y="10"/>
                  <a:pt x="1" y="8"/>
                  <a:pt x="1" y="6"/>
                </a:cubicBezTo>
                <a:cubicBezTo>
                  <a:pt x="1" y="3"/>
                  <a:pt x="3" y="1"/>
                  <a:pt x="5" y="1"/>
                </a:cubicBezTo>
                <a:cubicBezTo>
                  <a:pt x="8" y="1"/>
                  <a:pt x="10" y="3"/>
                  <a:pt x="10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3"/>
                  <a:pt x="8" y="0"/>
                  <a:pt x="5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9"/>
                  <a:pt x="2" y="11"/>
                  <a:pt x="5" y="11"/>
                </a:cubicBezTo>
                <a:cubicBezTo>
                  <a:pt x="8" y="11"/>
                  <a:pt x="11" y="9"/>
                  <a:pt x="11" y="6"/>
                </a:cubicBezTo>
                <a:lnTo>
                  <a:pt x="10" y="6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5" name="Oval 107">
            <a:extLst>
              <a:ext uri="{FF2B5EF4-FFF2-40B4-BE49-F238E27FC236}">
                <a16:creationId xmlns:a16="http://schemas.microsoft.com/office/drawing/2014/main" id="{2BD9D297-411A-4C08-9E62-75F5772EA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7976" y="3555607"/>
            <a:ext cx="55326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6" name="Freeform 108">
            <a:extLst>
              <a:ext uri="{FF2B5EF4-FFF2-40B4-BE49-F238E27FC236}">
                <a16:creationId xmlns:a16="http://schemas.microsoft.com/office/drawing/2014/main" id="{07617EEF-071C-4ABF-941B-E14036565278}"/>
              </a:ext>
            </a:extLst>
          </p:cNvPr>
          <p:cNvSpPr>
            <a:spLocks/>
          </p:cNvSpPr>
          <p:nvPr/>
        </p:nvSpPr>
        <p:spPr bwMode="auto">
          <a:xfrm>
            <a:off x="5757976" y="3548967"/>
            <a:ext cx="61965" cy="61965"/>
          </a:xfrm>
          <a:custGeom>
            <a:avLst/>
            <a:gdLst>
              <a:gd name="T0" fmla="*/ 10 w 11"/>
              <a:gd name="T1" fmla="*/ 6 h 11"/>
              <a:gd name="T2" fmla="*/ 10 w 11"/>
              <a:gd name="T3" fmla="*/ 6 h 11"/>
              <a:gd name="T4" fmla="*/ 5 w 11"/>
              <a:gd name="T5" fmla="*/ 10 h 11"/>
              <a:gd name="T6" fmla="*/ 1 w 11"/>
              <a:gd name="T7" fmla="*/ 6 h 11"/>
              <a:gd name="T8" fmla="*/ 5 w 11"/>
              <a:gd name="T9" fmla="*/ 1 h 11"/>
              <a:gd name="T10" fmla="*/ 10 w 11"/>
              <a:gd name="T11" fmla="*/ 6 h 11"/>
              <a:gd name="T12" fmla="*/ 10 w 11"/>
              <a:gd name="T13" fmla="*/ 6 h 11"/>
              <a:gd name="T14" fmla="*/ 11 w 11"/>
              <a:gd name="T15" fmla="*/ 6 h 11"/>
              <a:gd name="T16" fmla="*/ 5 w 11"/>
              <a:gd name="T17" fmla="*/ 0 h 11"/>
              <a:gd name="T18" fmla="*/ 0 w 11"/>
              <a:gd name="T19" fmla="*/ 6 h 11"/>
              <a:gd name="T20" fmla="*/ 5 w 11"/>
              <a:gd name="T21" fmla="*/ 11 h 11"/>
              <a:gd name="T22" fmla="*/ 11 w 11"/>
              <a:gd name="T23" fmla="*/ 6 h 11"/>
              <a:gd name="T24" fmla="*/ 10 w 11"/>
              <a:gd name="T25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11">
                <a:moveTo>
                  <a:pt x="10" y="6"/>
                </a:moveTo>
                <a:cubicBezTo>
                  <a:pt x="10" y="6"/>
                  <a:pt x="10" y="6"/>
                  <a:pt x="10" y="6"/>
                </a:cubicBezTo>
                <a:cubicBezTo>
                  <a:pt x="10" y="8"/>
                  <a:pt x="8" y="10"/>
                  <a:pt x="5" y="10"/>
                </a:cubicBezTo>
                <a:cubicBezTo>
                  <a:pt x="3" y="10"/>
                  <a:pt x="1" y="8"/>
                  <a:pt x="1" y="6"/>
                </a:cubicBezTo>
                <a:cubicBezTo>
                  <a:pt x="1" y="3"/>
                  <a:pt x="3" y="1"/>
                  <a:pt x="5" y="1"/>
                </a:cubicBezTo>
                <a:cubicBezTo>
                  <a:pt x="8" y="1"/>
                  <a:pt x="10" y="3"/>
                  <a:pt x="10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3"/>
                  <a:pt x="8" y="0"/>
                  <a:pt x="5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9"/>
                  <a:pt x="2" y="11"/>
                  <a:pt x="5" y="11"/>
                </a:cubicBezTo>
                <a:cubicBezTo>
                  <a:pt x="8" y="11"/>
                  <a:pt x="11" y="9"/>
                  <a:pt x="11" y="6"/>
                </a:cubicBezTo>
                <a:lnTo>
                  <a:pt x="10" y="6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7" name="Oval 109">
            <a:extLst>
              <a:ext uri="{FF2B5EF4-FFF2-40B4-BE49-F238E27FC236}">
                <a16:creationId xmlns:a16="http://schemas.microsoft.com/office/drawing/2014/main" id="{C9E27AC5-C0F0-4ECB-8247-D12E0488F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3505" y="3438316"/>
            <a:ext cx="55326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8" name="Freeform 110">
            <a:extLst>
              <a:ext uri="{FF2B5EF4-FFF2-40B4-BE49-F238E27FC236}">
                <a16:creationId xmlns:a16="http://schemas.microsoft.com/office/drawing/2014/main" id="{DF941A07-E254-4C23-9ACE-7D6279E91CE1}"/>
              </a:ext>
            </a:extLst>
          </p:cNvPr>
          <p:cNvSpPr>
            <a:spLocks/>
          </p:cNvSpPr>
          <p:nvPr/>
        </p:nvSpPr>
        <p:spPr bwMode="auto">
          <a:xfrm>
            <a:off x="6826865" y="3438316"/>
            <a:ext cx="61965" cy="55326"/>
          </a:xfrm>
          <a:custGeom>
            <a:avLst/>
            <a:gdLst>
              <a:gd name="T0" fmla="*/ 11 w 11"/>
              <a:gd name="T1" fmla="*/ 5 h 10"/>
              <a:gd name="T2" fmla="*/ 10 w 11"/>
              <a:gd name="T3" fmla="*/ 5 h 10"/>
              <a:gd name="T4" fmla="*/ 6 w 11"/>
              <a:gd name="T5" fmla="*/ 10 h 10"/>
              <a:gd name="T6" fmla="*/ 1 w 11"/>
              <a:gd name="T7" fmla="*/ 5 h 10"/>
              <a:gd name="T8" fmla="*/ 6 w 11"/>
              <a:gd name="T9" fmla="*/ 0 h 10"/>
              <a:gd name="T10" fmla="*/ 10 w 11"/>
              <a:gd name="T11" fmla="*/ 5 h 10"/>
              <a:gd name="T12" fmla="*/ 11 w 11"/>
              <a:gd name="T13" fmla="*/ 5 h 10"/>
              <a:gd name="T14" fmla="*/ 11 w 11"/>
              <a:gd name="T15" fmla="*/ 5 h 10"/>
              <a:gd name="T16" fmla="*/ 6 w 11"/>
              <a:gd name="T17" fmla="*/ 0 h 10"/>
              <a:gd name="T18" fmla="*/ 0 w 11"/>
              <a:gd name="T19" fmla="*/ 5 h 10"/>
              <a:gd name="T20" fmla="*/ 6 w 11"/>
              <a:gd name="T21" fmla="*/ 10 h 10"/>
              <a:gd name="T22" fmla="*/ 11 w 11"/>
              <a:gd name="T2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" h="10">
                <a:moveTo>
                  <a:pt x="11" y="5"/>
                </a:moveTo>
                <a:cubicBezTo>
                  <a:pt x="10" y="5"/>
                  <a:pt x="10" y="5"/>
                  <a:pt x="10" y="5"/>
                </a:cubicBezTo>
                <a:cubicBezTo>
                  <a:pt x="10" y="7"/>
                  <a:pt x="8" y="10"/>
                  <a:pt x="6" y="10"/>
                </a:cubicBezTo>
                <a:cubicBezTo>
                  <a:pt x="3" y="10"/>
                  <a:pt x="1" y="7"/>
                  <a:pt x="1" y="5"/>
                </a:cubicBezTo>
                <a:cubicBezTo>
                  <a:pt x="1" y="3"/>
                  <a:pt x="3" y="0"/>
                  <a:pt x="6" y="0"/>
                </a:cubicBezTo>
                <a:cubicBezTo>
                  <a:pt x="8" y="0"/>
                  <a:pt x="10" y="3"/>
                  <a:pt x="10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9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8"/>
                  <a:pt x="3" y="10"/>
                  <a:pt x="6" y="10"/>
                </a:cubicBezTo>
                <a:cubicBezTo>
                  <a:pt x="9" y="10"/>
                  <a:pt x="11" y="8"/>
                  <a:pt x="11" y="5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9" name="Oval 111">
            <a:extLst>
              <a:ext uri="{FF2B5EF4-FFF2-40B4-BE49-F238E27FC236}">
                <a16:creationId xmlns:a16="http://schemas.microsoft.com/office/drawing/2014/main" id="{A497E240-3698-492D-B11A-F5ECF6655E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8936" y="3062101"/>
            <a:ext cx="55326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0" name="Freeform 112">
            <a:extLst>
              <a:ext uri="{FF2B5EF4-FFF2-40B4-BE49-F238E27FC236}">
                <a16:creationId xmlns:a16="http://schemas.microsoft.com/office/drawing/2014/main" id="{DBA070B9-3B03-44F7-A65A-C356AFC4774C}"/>
              </a:ext>
            </a:extLst>
          </p:cNvPr>
          <p:cNvSpPr>
            <a:spLocks/>
          </p:cNvSpPr>
          <p:nvPr/>
        </p:nvSpPr>
        <p:spPr bwMode="auto">
          <a:xfrm>
            <a:off x="6328936" y="3057675"/>
            <a:ext cx="55326" cy="59752"/>
          </a:xfrm>
          <a:custGeom>
            <a:avLst/>
            <a:gdLst>
              <a:gd name="T0" fmla="*/ 10 w 10"/>
              <a:gd name="T1" fmla="*/ 6 h 11"/>
              <a:gd name="T2" fmla="*/ 10 w 10"/>
              <a:gd name="T3" fmla="*/ 6 h 11"/>
              <a:gd name="T4" fmla="*/ 5 w 10"/>
              <a:gd name="T5" fmla="*/ 10 h 11"/>
              <a:gd name="T6" fmla="*/ 0 w 10"/>
              <a:gd name="T7" fmla="*/ 6 h 11"/>
              <a:gd name="T8" fmla="*/ 5 w 10"/>
              <a:gd name="T9" fmla="*/ 1 h 11"/>
              <a:gd name="T10" fmla="*/ 10 w 10"/>
              <a:gd name="T11" fmla="*/ 6 h 11"/>
              <a:gd name="T12" fmla="*/ 10 w 10"/>
              <a:gd name="T13" fmla="*/ 6 h 11"/>
              <a:gd name="T14" fmla="*/ 10 w 10"/>
              <a:gd name="T15" fmla="*/ 6 h 11"/>
              <a:gd name="T16" fmla="*/ 5 w 10"/>
              <a:gd name="T17" fmla="*/ 0 h 11"/>
              <a:gd name="T18" fmla="*/ 0 w 10"/>
              <a:gd name="T19" fmla="*/ 6 h 11"/>
              <a:gd name="T20" fmla="*/ 5 w 10"/>
              <a:gd name="T21" fmla="*/ 11 h 11"/>
              <a:gd name="T22" fmla="*/ 10 w 10"/>
              <a:gd name="T23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1">
                <a:moveTo>
                  <a:pt x="10" y="6"/>
                </a:moveTo>
                <a:cubicBezTo>
                  <a:pt x="10" y="6"/>
                  <a:pt x="10" y="6"/>
                  <a:pt x="10" y="6"/>
                </a:cubicBezTo>
                <a:cubicBezTo>
                  <a:pt x="10" y="8"/>
                  <a:pt x="7" y="10"/>
                  <a:pt x="5" y="10"/>
                </a:cubicBezTo>
                <a:cubicBezTo>
                  <a:pt x="3" y="10"/>
                  <a:pt x="0" y="8"/>
                  <a:pt x="0" y="6"/>
                </a:cubicBezTo>
                <a:cubicBezTo>
                  <a:pt x="0" y="3"/>
                  <a:pt x="3" y="1"/>
                  <a:pt x="5" y="1"/>
                </a:cubicBezTo>
                <a:cubicBezTo>
                  <a:pt x="7" y="1"/>
                  <a:pt x="10" y="3"/>
                  <a:pt x="10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3"/>
                  <a:pt x="8" y="0"/>
                  <a:pt x="5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9"/>
                  <a:pt x="2" y="11"/>
                  <a:pt x="5" y="11"/>
                </a:cubicBezTo>
                <a:cubicBezTo>
                  <a:pt x="8" y="11"/>
                  <a:pt x="10" y="9"/>
                  <a:pt x="10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1" name="Oval 113">
            <a:extLst>
              <a:ext uri="{FF2B5EF4-FFF2-40B4-BE49-F238E27FC236}">
                <a16:creationId xmlns:a16="http://schemas.microsoft.com/office/drawing/2014/main" id="{E3D26206-B305-4DBE-A1CB-771D58A3E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7105" y="3033333"/>
            <a:ext cx="44260" cy="4647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2" name="Freeform 114">
            <a:extLst>
              <a:ext uri="{FF2B5EF4-FFF2-40B4-BE49-F238E27FC236}">
                <a16:creationId xmlns:a16="http://schemas.microsoft.com/office/drawing/2014/main" id="{D783E4BF-D75E-487B-BD87-C1F41F49B317}"/>
              </a:ext>
            </a:extLst>
          </p:cNvPr>
          <p:cNvSpPr>
            <a:spLocks/>
          </p:cNvSpPr>
          <p:nvPr/>
        </p:nvSpPr>
        <p:spPr bwMode="auto">
          <a:xfrm>
            <a:off x="3027105" y="3028907"/>
            <a:ext cx="50900" cy="50900"/>
          </a:xfrm>
          <a:custGeom>
            <a:avLst/>
            <a:gdLst>
              <a:gd name="T0" fmla="*/ 8 w 9"/>
              <a:gd name="T1" fmla="*/ 5 h 9"/>
              <a:gd name="T2" fmla="*/ 8 w 9"/>
              <a:gd name="T3" fmla="*/ 5 h 9"/>
              <a:gd name="T4" fmla="*/ 4 w 9"/>
              <a:gd name="T5" fmla="*/ 8 h 9"/>
              <a:gd name="T6" fmla="*/ 0 w 9"/>
              <a:gd name="T7" fmla="*/ 5 h 9"/>
              <a:gd name="T8" fmla="*/ 4 w 9"/>
              <a:gd name="T9" fmla="*/ 1 h 9"/>
              <a:gd name="T10" fmla="*/ 8 w 9"/>
              <a:gd name="T11" fmla="*/ 5 h 9"/>
              <a:gd name="T12" fmla="*/ 8 w 9"/>
              <a:gd name="T13" fmla="*/ 5 h 9"/>
              <a:gd name="T14" fmla="*/ 9 w 9"/>
              <a:gd name="T15" fmla="*/ 5 h 9"/>
              <a:gd name="T16" fmla="*/ 4 w 9"/>
              <a:gd name="T17" fmla="*/ 0 h 9"/>
              <a:gd name="T18" fmla="*/ 0 w 9"/>
              <a:gd name="T19" fmla="*/ 5 h 9"/>
              <a:gd name="T20" fmla="*/ 4 w 9"/>
              <a:gd name="T21" fmla="*/ 9 h 9"/>
              <a:gd name="T22" fmla="*/ 9 w 9"/>
              <a:gd name="T23" fmla="*/ 5 h 9"/>
              <a:gd name="T24" fmla="*/ 8 w 9"/>
              <a:gd name="T25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9">
                <a:moveTo>
                  <a:pt x="8" y="5"/>
                </a:moveTo>
                <a:cubicBezTo>
                  <a:pt x="8" y="5"/>
                  <a:pt x="8" y="5"/>
                  <a:pt x="8" y="5"/>
                </a:cubicBezTo>
                <a:cubicBezTo>
                  <a:pt x="8" y="7"/>
                  <a:pt x="6" y="8"/>
                  <a:pt x="4" y="8"/>
                </a:cubicBezTo>
                <a:cubicBezTo>
                  <a:pt x="2" y="8"/>
                  <a:pt x="0" y="7"/>
                  <a:pt x="0" y="5"/>
                </a:cubicBezTo>
                <a:cubicBezTo>
                  <a:pt x="0" y="3"/>
                  <a:pt x="2" y="1"/>
                  <a:pt x="4" y="1"/>
                </a:cubicBezTo>
                <a:cubicBezTo>
                  <a:pt x="6" y="1"/>
                  <a:pt x="8" y="3"/>
                  <a:pt x="8" y="5"/>
                </a:cubicBezTo>
                <a:cubicBezTo>
                  <a:pt x="8" y="5"/>
                  <a:pt x="8" y="5"/>
                  <a:pt x="8" y="5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9"/>
                  <a:pt x="4" y="9"/>
                </a:cubicBezTo>
                <a:cubicBezTo>
                  <a:pt x="7" y="9"/>
                  <a:pt x="9" y="7"/>
                  <a:pt x="9" y="5"/>
                </a:cubicBezTo>
                <a:lnTo>
                  <a:pt x="8" y="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3" name="Oval 115">
            <a:extLst>
              <a:ext uri="{FF2B5EF4-FFF2-40B4-BE49-F238E27FC236}">
                <a16:creationId xmlns:a16="http://schemas.microsoft.com/office/drawing/2014/main" id="{125A3DDB-BD78-4841-9934-7116245C2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540" y="3068741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4" name="Freeform 116">
            <a:extLst>
              <a:ext uri="{FF2B5EF4-FFF2-40B4-BE49-F238E27FC236}">
                <a16:creationId xmlns:a16="http://schemas.microsoft.com/office/drawing/2014/main" id="{BA84E115-9C0C-40C1-9D34-F57C965367C2}"/>
              </a:ext>
            </a:extLst>
          </p:cNvPr>
          <p:cNvSpPr>
            <a:spLocks/>
          </p:cNvSpPr>
          <p:nvPr/>
        </p:nvSpPr>
        <p:spPr bwMode="auto">
          <a:xfrm>
            <a:off x="6764901" y="3068741"/>
            <a:ext cx="73030" cy="73031"/>
          </a:xfrm>
          <a:custGeom>
            <a:avLst/>
            <a:gdLst>
              <a:gd name="T0" fmla="*/ 13 w 13"/>
              <a:gd name="T1" fmla="*/ 6 h 13"/>
              <a:gd name="T2" fmla="*/ 12 w 13"/>
              <a:gd name="T3" fmla="*/ 6 h 13"/>
              <a:gd name="T4" fmla="*/ 11 w 13"/>
              <a:gd name="T5" fmla="*/ 10 h 13"/>
              <a:gd name="T6" fmla="*/ 7 w 13"/>
              <a:gd name="T7" fmla="*/ 12 h 13"/>
              <a:gd name="T8" fmla="*/ 3 w 13"/>
              <a:gd name="T9" fmla="*/ 10 h 13"/>
              <a:gd name="T10" fmla="*/ 1 w 13"/>
              <a:gd name="T11" fmla="*/ 6 h 13"/>
              <a:gd name="T12" fmla="*/ 3 w 13"/>
              <a:gd name="T13" fmla="*/ 2 h 13"/>
              <a:gd name="T14" fmla="*/ 7 w 13"/>
              <a:gd name="T15" fmla="*/ 1 h 13"/>
              <a:gd name="T16" fmla="*/ 11 w 13"/>
              <a:gd name="T17" fmla="*/ 2 h 13"/>
              <a:gd name="T18" fmla="*/ 12 w 13"/>
              <a:gd name="T19" fmla="*/ 6 h 13"/>
              <a:gd name="T20" fmla="*/ 13 w 13"/>
              <a:gd name="T21" fmla="*/ 6 h 13"/>
              <a:gd name="T22" fmla="*/ 13 w 13"/>
              <a:gd name="T23" fmla="*/ 6 h 13"/>
              <a:gd name="T24" fmla="*/ 7 w 13"/>
              <a:gd name="T25" fmla="*/ 0 h 13"/>
              <a:gd name="T26" fmla="*/ 0 w 13"/>
              <a:gd name="T27" fmla="*/ 6 h 13"/>
              <a:gd name="T28" fmla="*/ 7 w 13"/>
              <a:gd name="T29" fmla="*/ 13 h 13"/>
              <a:gd name="T30" fmla="*/ 13 w 13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5"/>
                  <a:pt x="2" y="3"/>
                  <a:pt x="3" y="2"/>
                </a:cubicBezTo>
                <a:cubicBezTo>
                  <a:pt x="4" y="1"/>
                  <a:pt x="5" y="1"/>
                  <a:pt x="7" y="1"/>
                </a:cubicBezTo>
                <a:cubicBezTo>
                  <a:pt x="8" y="1"/>
                  <a:pt x="10" y="1"/>
                  <a:pt x="11" y="2"/>
                </a:cubicBezTo>
                <a:cubicBezTo>
                  <a:pt x="12" y="3"/>
                  <a:pt x="12" y="5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5" name="Oval 117">
            <a:extLst>
              <a:ext uri="{FF2B5EF4-FFF2-40B4-BE49-F238E27FC236}">
                <a16:creationId xmlns:a16="http://schemas.microsoft.com/office/drawing/2014/main" id="{5CADB74F-C768-43A6-9730-A5B676E21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1994" y="2843012"/>
            <a:ext cx="66391" cy="6860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6" name="Freeform 118">
            <a:extLst>
              <a:ext uri="{FF2B5EF4-FFF2-40B4-BE49-F238E27FC236}">
                <a16:creationId xmlns:a16="http://schemas.microsoft.com/office/drawing/2014/main" id="{37A354F2-16F1-4054-9E75-CFF7F19384D1}"/>
              </a:ext>
            </a:extLst>
          </p:cNvPr>
          <p:cNvSpPr>
            <a:spLocks/>
          </p:cNvSpPr>
          <p:nvPr/>
        </p:nvSpPr>
        <p:spPr bwMode="auto">
          <a:xfrm>
            <a:off x="3715354" y="2843012"/>
            <a:ext cx="73030" cy="73031"/>
          </a:xfrm>
          <a:custGeom>
            <a:avLst/>
            <a:gdLst>
              <a:gd name="T0" fmla="*/ 13 w 13"/>
              <a:gd name="T1" fmla="*/ 6 h 13"/>
              <a:gd name="T2" fmla="*/ 12 w 13"/>
              <a:gd name="T3" fmla="*/ 6 h 13"/>
              <a:gd name="T4" fmla="*/ 11 w 13"/>
              <a:gd name="T5" fmla="*/ 10 h 13"/>
              <a:gd name="T6" fmla="*/ 7 w 13"/>
              <a:gd name="T7" fmla="*/ 12 h 13"/>
              <a:gd name="T8" fmla="*/ 3 w 13"/>
              <a:gd name="T9" fmla="*/ 10 h 13"/>
              <a:gd name="T10" fmla="*/ 1 w 13"/>
              <a:gd name="T11" fmla="*/ 6 h 13"/>
              <a:gd name="T12" fmla="*/ 3 w 13"/>
              <a:gd name="T13" fmla="*/ 2 h 13"/>
              <a:gd name="T14" fmla="*/ 7 w 13"/>
              <a:gd name="T15" fmla="*/ 0 h 13"/>
              <a:gd name="T16" fmla="*/ 11 w 13"/>
              <a:gd name="T17" fmla="*/ 2 h 13"/>
              <a:gd name="T18" fmla="*/ 12 w 13"/>
              <a:gd name="T19" fmla="*/ 6 h 13"/>
              <a:gd name="T20" fmla="*/ 13 w 13"/>
              <a:gd name="T21" fmla="*/ 6 h 13"/>
              <a:gd name="T22" fmla="*/ 13 w 13"/>
              <a:gd name="T23" fmla="*/ 6 h 13"/>
              <a:gd name="T24" fmla="*/ 7 w 13"/>
              <a:gd name="T25" fmla="*/ 0 h 13"/>
              <a:gd name="T26" fmla="*/ 0 w 13"/>
              <a:gd name="T27" fmla="*/ 6 h 13"/>
              <a:gd name="T28" fmla="*/ 7 w 13"/>
              <a:gd name="T29" fmla="*/ 13 h 13"/>
              <a:gd name="T30" fmla="*/ 13 w 13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5"/>
                  <a:pt x="2" y="3"/>
                  <a:pt x="3" y="2"/>
                </a:cubicBezTo>
                <a:cubicBezTo>
                  <a:pt x="4" y="1"/>
                  <a:pt x="5" y="0"/>
                  <a:pt x="7" y="0"/>
                </a:cubicBezTo>
                <a:cubicBezTo>
                  <a:pt x="8" y="0"/>
                  <a:pt x="10" y="1"/>
                  <a:pt x="11" y="2"/>
                </a:cubicBezTo>
                <a:cubicBezTo>
                  <a:pt x="12" y="3"/>
                  <a:pt x="12" y="5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2"/>
                  <a:pt x="10" y="0"/>
                  <a:pt x="7" y="0"/>
                </a:cubicBezTo>
                <a:cubicBezTo>
                  <a:pt x="3" y="0"/>
                  <a:pt x="0" y="2"/>
                  <a:pt x="0" y="6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7" name="Oval 119">
            <a:extLst>
              <a:ext uri="{FF2B5EF4-FFF2-40B4-BE49-F238E27FC236}">
                <a16:creationId xmlns:a16="http://schemas.microsoft.com/office/drawing/2014/main" id="{83384359-887E-4993-AB3F-236E6A6F50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5449" y="3307748"/>
            <a:ext cx="88521" cy="9073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8" name="Freeform 120">
            <a:extLst>
              <a:ext uri="{FF2B5EF4-FFF2-40B4-BE49-F238E27FC236}">
                <a16:creationId xmlns:a16="http://schemas.microsoft.com/office/drawing/2014/main" id="{0FA2AF57-1A72-4B66-820C-A92F7CCCB64D}"/>
              </a:ext>
            </a:extLst>
          </p:cNvPr>
          <p:cNvSpPr>
            <a:spLocks/>
          </p:cNvSpPr>
          <p:nvPr/>
        </p:nvSpPr>
        <p:spPr bwMode="auto">
          <a:xfrm>
            <a:off x="3418809" y="3303322"/>
            <a:ext cx="95161" cy="95161"/>
          </a:xfrm>
          <a:custGeom>
            <a:avLst/>
            <a:gdLst>
              <a:gd name="T0" fmla="*/ 17 w 17"/>
              <a:gd name="T1" fmla="*/ 9 h 17"/>
              <a:gd name="T2" fmla="*/ 16 w 17"/>
              <a:gd name="T3" fmla="*/ 9 h 17"/>
              <a:gd name="T4" fmla="*/ 14 w 17"/>
              <a:gd name="T5" fmla="*/ 14 h 17"/>
              <a:gd name="T6" fmla="*/ 9 w 17"/>
              <a:gd name="T7" fmla="*/ 16 h 17"/>
              <a:gd name="T8" fmla="*/ 3 w 17"/>
              <a:gd name="T9" fmla="*/ 14 h 17"/>
              <a:gd name="T10" fmla="*/ 1 w 17"/>
              <a:gd name="T11" fmla="*/ 9 h 17"/>
              <a:gd name="T12" fmla="*/ 3 w 17"/>
              <a:gd name="T13" fmla="*/ 3 h 17"/>
              <a:gd name="T14" fmla="*/ 9 w 17"/>
              <a:gd name="T15" fmla="*/ 1 h 17"/>
              <a:gd name="T16" fmla="*/ 14 w 17"/>
              <a:gd name="T17" fmla="*/ 3 h 17"/>
              <a:gd name="T18" fmla="*/ 16 w 17"/>
              <a:gd name="T19" fmla="*/ 9 h 17"/>
              <a:gd name="T20" fmla="*/ 17 w 17"/>
              <a:gd name="T21" fmla="*/ 9 h 17"/>
              <a:gd name="T22" fmla="*/ 17 w 17"/>
              <a:gd name="T23" fmla="*/ 9 h 17"/>
              <a:gd name="T24" fmla="*/ 9 w 17"/>
              <a:gd name="T25" fmla="*/ 0 h 17"/>
              <a:gd name="T26" fmla="*/ 0 w 17"/>
              <a:gd name="T27" fmla="*/ 9 h 17"/>
              <a:gd name="T28" fmla="*/ 9 w 17"/>
              <a:gd name="T29" fmla="*/ 17 h 17"/>
              <a:gd name="T30" fmla="*/ 17 w 17"/>
              <a:gd name="T3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6" y="9"/>
                  <a:pt x="16" y="9"/>
                  <a:pt x="16" y="9"/>
                </a:cubicBezTo>
                <a:cubicBezTo>
                  <a:pt x="16" y="11"/>
                  <a:pt x="15" y="13"/>
                  <a:pt x="14" y="14"/>
                </a:cubicBezTo>
                <a:cubicBezTo>
                  <a:pt x="13" y="15"/>
                  <a:pt x="11" y="16"/>
                  <a:pt x="9" y="16"/>
                </a:cubicBezTo>
                <a:cubicBezTo>
                  <a:pt x="6" y="16"/>
                  <a:pt x="5" y="15"/>
                  <a:pt x="3" y="14"/>
                </a:cubicBezTo>
                <a:cubicBezTo>
                  <a:pt x="2" y="13"/>
                  <a:pt x="1" y="11"/>
                  <a:pt x="1" y="9"/>
                </a:cubicBezTo>
                <a:cubicBezTo>
                  <a:pt x="1" y="6"/>
                  <a:pt x="2" y="5"/>
                  <a:pt x="3" y="3"/>
                </a:cubicBezTo>
                <a:cubicBezTo>
                  <a:pt x="5" y="2"/>
                  <a:pt x="6" y="1"/>
                  <a:pt x="9" y="1"/>
                </a:cubicBezTo>
                <a:cubicBezTo>
                  <a:pt x="11" y="1"/>
                  <a:pt x="13" y="2"/>
                  <a:pt x="14" y="3"/>
                </a:cubicBezTo>
                <a:cubicBezTo>
                  <a:pt x="15" y="5"/>
                  <a:pt x="16" y="6"/>
                  <a:pt x="16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4"/>
                  <a:pt x="13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3"/>
                  <a:pt x="4" y="17"/>
                  <a:pt x="9" y="17"/>
                </a:cubicBezTo>
                <a:cubicBezTo>
                  <a:pt x="13" y="17"/>
                  <a:pt x="17" y="13"/>
                  <a:pt x="17" y="9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9" name="Freeform 121">
            <a:extLst>
              <a:ext uri="{FF2B5EF4-FFF2-40B4-BE49-F238E27FC236}">
                <a16:creationId xmlns:a16="http://schemas.microsoft.com/office/drawing/2014/main" id="{6B2F791F-4CB2-4B4D-B553-8AF00DAAD29E}"/>
              </a:ext>
            </a:extLst>
          </p:cNvPr>
          <p:cNvSpPr>
            <a:spLocks/>
          </p:cNvSpPr>
          <p:nvPr/>
        </p:nvSpPr>
        <p:spPr bwMode="auto">
          <a:xfrm>
            <a:off x="3436513" y="3318813"/>
            <a:ext cx="61965" cy="61965"/>
          </a:xfrm>
          <a:custGeom>
            <a:avLst/>
            <a:gdLst>
              <a:gd name="T0" fmla="*/ 10 w 11"/>
              <a:gd name="T1" fmla="*/ 6 h 11"/>
              <a:gd name="T2" fmla="*/ 10 w 11"/>
              <a:gd name="T3" fmla="*/ 6 h 11"/>
              <a:gd name="T4" fmla="*/ 6 w 11"/>
              <a:gd name="T5" fmla="*/ 10 h 11"/>
              <a:gd name="T6" fmla="*/ 1 w 11"/>
              <a:gd name="T7" fmla="*/ 6 h 11"/>
              <a:gd name="T8" fmla="*/ 6 w 11"/>
              <a:gd name="T9" fmla="*/ 1 h 11"/>
              <a:gd name="T10" fmla="*/ 10 w 11"/>
              <a:gd name="T11" fmla="*/ 6 h 11"/>
              <a:gd name="T12" fmla="*/ 10 w 11"/>
              <a:gd name="T13" fmla="*/ 6 h 11"/>
              <a:gd name="T14" fmla="*/ 11 w 11"/>
              <a:gd name="T15" fmla="*/ 6 h 11"/>
              <a:gd name="T16" fmla="*/ 6 w 11"/>
              <a:gd name="T17" fmla="*/ 0 h 11"/>
              <a:gd name="T18" fmla="*/ 0 w 11"/>
              <a:gd name="T19" fmla="*/ 6 h 11"/>
              <a:gd name="T20" fmla="*/ 6 w 11"/>
              <a:gd name="T21" fmla="*/ 11 h 11"/>
              <a:gd name="T22" fmla="*/ 11 w 11"/>
              <a:gd name="T23" fmla="*/ 6 h 11"/>
              <a:gd name="T24" fmla="*/ 10 w 11"/>
              <a:gd name="T25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11">
                <a:moveTo>
                  <a:pt x="10" y="6"/>
                </a:moveTo>
                <a:cubicBezTo>
                  <a:pt x="10" y="6"/>
                  <a:pt x="10" y="6"/>
                  <a:pt x="10" y="6"/>
                </a:cubicBezTo>
                <a:cubicBezTo>
                  <a:pt x="10" y="8"/>
                  <a:pt x="8" y="10"/>
                  <a:pt x="6" y="10"/>
                </a:cubicBezTo>
                <a:cubicBezTo>
                  <a:pt x="3" y="10"/>
                  <a:pt x="1" y="8"/>
                  <a:pt x="1" y="6"/>
                </a:cubicBezTo>
                <a:cubicBezTo>
                  <a:pt x="1" y="3"/>
                  <a:pt x="3" y="1"/>
                  <a:pt x="6" y="1"/>
                </a:cubicBezTo>
                <a:cubicBezTo>
                  <a:pt x="8" y="1"/>
                  <a:pt x="10" y="3"/>
                  <a:pt x="10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3"/>
                  <a:pt x="8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8"/>
                  <a:pt x="3" y="11"/>
                  <a:pt x="6" y="11"/>
                </a:cubicBezTo>
                <a:cubicBezTo>
                  <a:pt x="8" y="11"/>
                  <a:pt x="11" y="8"/>
                  <a:pt x="11" y="6"/>
                </a:cubicBezTo>
                <a:lnTo>
                  <a:pt x="10" y="6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0" name="Oval 122">
            <a:extLst>
              <a:ext uri="{FF2B5EF4-FFF2-40B4-BE49-F238E27FC236}">
                <a16:creationId xmlns:a16="http://schemas.microsoft.com/office/drawing/2014/main" id="{B6CED0A7-F4C2-425E-A9B3-AFEB5659C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322" y="3830022"/>
            <a:ext cx="90735" cy="8852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1" name="Freeform 123">
            <a:extLst>
              <a:ext uri="{FF2B5EF4-FFF2-40B4-BE49-F238E27FC236}">
                <a16:creationId xmlns:a16="http://schemas.microsoft.com/office/drawing/2014/main" id="{3454F9E6-8613-40C7-A497-84B0247C6949}"/>
              </a:ext>
            </a:extLst>
          </p:cNvPr>
          <p:cNvSpPr>
            <a:spLocks/>
          </p:cNvSpPr>
          <p:nvPr/>
        </p:nvSpPr>
        <p:spPr bwMode="auto">
          <a:xfrm>
            <a:off x="6899896" y="3823383"/>
            <a:ext cx="95161" cy="95161"/>
          </a:xfrm>
          <a:custGeom>
            <a:avLst/>
            <a:gdLst>
              <a:gd name="T0" fmla="*/ 17 w 17"/>
              <a:gd name="T1" fmla="*/ 9 h 17"/>
              <a:gd name="T2" fmla="*/ 16 w 17"/>
              <a:gd name="T3" fmla="*/ 9 h 17"/>
              <a:gd name="T4" fmla="*/ 14 w 17"/>
              <a:gd name="T5" fmla="*/ 14 h 17"/>
              <a:gd name="T6" fmla="*/ 9 w 17"/>
              <a:gd name="T7" fmla="*/ 16 h 17"/>
              <a:gd name="T8" fmla="*/ 3 w 17"/>
              <a:gd name="T9" fmla="*/ 14 h 17"/>
              <a:gd name="T10" fmla="*/ 1 w 17"/>
              <a:gd name="T11" fmla="*/ 9 h 17"/>
              <a:gd name="T12" fmla="*/ 3 w 17"/>
              <a:gd name="T13" fmla="*/ 3 h 17"/>
              <a:gd name="T14" fmla="*/ 9 w 17"/>
              <a:gd name="T15" fmla="*/ 1 h 17"/>
              <a:gd name="T16" fmla="*/ 14 w 17"/>
              <a:gd name="T17" fmla="*/ 3 h 17"/>
              <a:gd name="T18" fmla="*/ 16 w 17"/>
              <a:gd name="T19" fmla="*/ 9 h 17"/>
              <a:gd name="T20" fmla="*/ 17 w 17"/>
              <a:gd name="T21" fmla="*/ 9 h 17"/>
              <a:gd name="T22" fmla="*/ 17 w 17"/>
              <a:gd name="T23" fmla="*/ 9 h 17"/>
              <a:gd name="T24" fmla="*/ 9 w 17"/>
              <a:gd name="T25" fmla="*/ 0 h 17"/>
              <a:gd name="T26" fmla="*/ 0 w 17"/>
              <a:gd name="T27" fmla="*/ 9 h 17"/>
              <a:gd name="T28" fmla="*/ 9 w 17"/>
              <a:gd name="T29" fmla="*/ 17 h 17"/>
              <a:gd name="T30" fmla="*/ 17 w 17"/>
              <a:gd name="T3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6" y="9"/>
                  <a:pt x="16" y="9"/>
                  <a:pt x="16" y="9"/>
                </a:cubicBezTo>
                <a:cubicBezTo>
                  <a:pt x="16" y="11"/>
                  <a:pt x="15" y="13"/>
                  <a:pt x="14" y="14"/>
                </a:cubicBezTo>
                <a:cubicBezTo>
                  <a:pt x="13" y="15"/>
                  <a:pt x="11" y="16"/>
                  <a:pt x="9" y="16"/>
                </a:cubicBezTo>
                <a:cubicBezTo>
                  <a:pt x="7" y="16"/>
                  <a:pt x="5" y="15"/>
                  <a:pt x="3" y="14"/>
                </a:cubicBezTo>
                <a:cubicBezTo>
                  <a:pt x="2" y="13"/>
                  <a:pt x="1" y="11"/>
                  <a:pt x="1" y="9"/>
                </a:cubicBezTo>
                <a:cubicBezTo>
                  <a:pt x="1" y="7"/>
                  <a:pt x="2" y="5"/>
                  <a:pt x="3" y="3"/>
                </a:cubicBezTo>
                <a:cubicBezTo>
                  <a:pt x="5" y="2"/>
                  <a:pt x="7" y="1"/>
                  <a:pt x="9" y="1"/>
                </a:cubicBezTo>
                <a:cubicBezTo>
                  <a:pt x="11" y="1"/>
                  <a:pt x="13" y="2"/>
                  <a:pt x="14" y="3"/>
                </a:cubicBezTo>
                <a:cubicBezTo>
                  <a:pt x="15" y="5"/>
                  <a:pt x="16" y="7"/>
                  <a:pt x="16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4"/>
                  <a:pt x="13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3"/>
                  <a:pt x="4" y="17"/>
                  <a:pt x="9" y="17"/>
                </a:cubicBezTo>
                <a:cubicBezTo>
                  <a:pt x="13" y="17"/>
                  <a:pt x="17" y="13"/>
                  <a:pt x="17" y="9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2" name="Freeform 124">
            <a:extLst>
              <a:ext uri="{FF2B5EF4-FFF2-40B4-BE49-F238E27FC236}">
                <a16:creationId xmlns:a16="http://schemas.microsoft.com/office/drawing/2014/main" id="{046236FF-903B-4D26-A16B-8E2537289DC7}"/>
              </a:ext>
            </a:extLst>
          </p:cNvPr>
          <p:cNvSpPr>
            <a:spLocks/>
          </p:cNvSpPr>
          <p:nvPr/>
        </p:nvSpPr>
        <p:spPr bwMode="auto">
          <a:xfrm>
            <a:off x="6922026" y="3845513"/>
            <a:ext cx="55326" cy="57539"/>
          </a:xfrm>
          <a:custGeom>
            <a:avLst/>
            <a:gdLst>
              <a:gd name="T0" fmla="*/ 9 w 10"/>
              <a:gd name="T1" fmla="*/ 5 h 10"/>
              <a:gd name="T2" fmla="*/ 9 w 10"/>
              <a:gd name="T3" fmla="*/ 5 h 10"/>
              <a:gd name="T4" fmla="*/ 5 w 10"/>
              <a:gd name="T5" fmla="*/ 9 h 10"/>
              <a:gd name="T6" fmla="*/ 1 w 10"/>
              <a:gd name="T7" fmla="*/ 5 h 10"/>
              <a:gd name="T8" fmla="*/ 5 w 10"/>
              <a:gd name="T9" fmla="*/ 0 h 10"/>
              <a:gd name="T10" fmla="*/ 9 w 10"/>
              <a:gd name="T11" fmla="*/ 5 h 10"/>
              <a:gd name="T12" fmla="*/ 9 w 10"/>
              <a:gd name="T13" fmla="*/ 5 h 10"/>
              <a:gd name="T14" fmla="*/ 10 w 10"/>
              <a:gd name="T15" fmla="*/ 5 h 10"/>
              <a:gd name="T16" fmla="*/ 5 w 10"/>
              <a:gd name="T17" fmla="*/ 0 h 10"/>
              <a:gd name="T18" fmla="*/ 0 w 10"/>
              <a:gd name="T19" fmla="*/ 5 h 10"/>
              <a:gd name="T20" fmla="*/ 5 w 10"/>
              <a:gd name="T21" fmla="*/ 10 h 10"/>
              <a:gd name="T22" fmla="*/ 10 w 10"/>
              <a:gd name="T23" fmla="*/ 5 h 10"/>
              <a:gd name="T24" fmla="*/ 9 w 10"/>
              <a:gd name="T25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0">
                <a:moveTo>
                  <a:pt x="9" y="5"/>
                </a:moveTo>
                <a:cubicBezTo>
                  <a:pt x="9" y="5"/>
                  <a:pt x="9" y="5"/>
                  <a:pt x="9" y="5"/>
                </a:cubicBezTo>
                <a:cubicBezTo>
                  <a:pt x="9" y="7"/>
                  <a:pt x="7" y="9"/>
                  <a:pt x="5" y="9"/>
                </a:cubicBezTo>
                <a:cubicBezTo>
                  <a:pt x="2" y="9"/>
                  <a:pt x="1" y="7"/>
                  <a:pt x="1" y="5"/>
                </a:cubicBezTo>
                <a:cubicBezTo>
                  <a:pt x="1" y="2"/>
                  <a:pt x="2" y="0"/>
                  <a:pt x="5" y="0"/>
                </a:cubicBezTo>
                <a:cubicBezTo>
                  <a:pt x="7" y="0"/>
                  <a:pt x="9" y="2"/>
                  <a:pt x="9" y="5"/>
                </a:cubicBezTo>
                <a:cubicBezTo>
                  <a:pt x="9" y="5"/>
                  <a:pt x="9" y="5"/>
                  <a:pt x="9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2"/>
                  <a:pt x="8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10"/>
                  <a:pt x="5" y="10"/>
                </a:cubicBezTo>
                <a:cubicBezTo>
                  <a:pt x="8" y="10"/>
                  <a:pt x="10" y="7"/>
                  <a:pt x="10" y="5"/>
                </a:cubicBezTo>
                <a:lnTo>
                  <a:pt x="9" y="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3" name="Oval 125">
            <a:extLst>
              <a:ext uri="{FF2B5EF4-FFF2-40B4-BE49-F238E27FC236}">
                <a16:creationId xmlns:a16="http://schemas.microsoft.com/office/drawing/2014/main" id="{7DFCE727-320D-47EF-9298-1CB103A832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1976" y="3604294"/>
            <a:ext cx="90735" cy="9073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4" name="Freeform 126">
            <a:extLst>
              <a:ext uri="{FF2B5EF4-FFF2-40B4-BE49-F238E27FC236}">
                <a16:creationId xmlns:a16="http://schemas.microsoft.com/office/drawing/2014/main" id="{A6A4A424-54EF-4221-8346-A0DE2117E27E}"/>
              </a:ext>
            </a:extLst>
          </p:cNvPr>
          <p:cNvSpPr>
            <a:spLocks/>
          </p:cNvSpPr>
          <p:nvPr/>
        </p:nvSpPr>
        <p:spPr bwMode="auto">
          <a:xfrm>
            <a:off x="6127550" y="3604294"/>
            <a:ext cx="95161" cy="95161"/>
          </a:xfrm>
          <a:custGeom>
            <a:avLst/>
            <a:gdLst>
              <a:gd name="T0" fmla="*/ 17 w 17"/>
              <a:gd name="T1" fmla="*/ 8 h 17"/>
              <a:gd name="T2" fmla="*/ 16 w 17"/>
              <a:gd name="T3" fmla="*/ 8 h 17"/>
              <a:gd name="T4" fmla="*/ 14 w 17"/>
              <a:gd name="T5" fmla="*/ 14 h 17"/>
              <a:gd name="T6" fmla="*/ 9 w 17"/>
              <a:gd name="T7" fmla="*/ 16 h 17"/>
              <a:gd name="T8" fmla="*/ 3 w 17"/>
              <a:gd name="T9" fmla="*/ 14 h 17"/>
              <a:gd name="T10" fmla="*/ 1 w 17"/>
              <a:gd name="T11" fmla="*/ 8 h 17"/>
              <a:gd name="T12" fmla="*/ 3 w 17"/>
              <a:gd name="T13" fmla="*/ 3 h 17"/>
              <a:gd name="T14" fmla="*/ 9 w 17"/>
              <a:gd name="T15" fmla="*/ 1 h 17"/>
              <a:gd name="T16" fmla="*/ 14 w 17"/>
              <a:gd name="T17" fmla="*/ 3 h 17"/>
              <a:gd name="T18" fmla="*/ 16 w 17"/>
              <a:gd name="T19" fmla="*/ 8 h 17"/>
              <a:gd name="T20" fmla="*/ 17 w 17"/>
              <a:gd name="T21" fmla="*/ 8 h 17"/>
              <a:gd name="T22" fmla="*/ 17 w 17"/>
              <a:gd name="T23" fmla="*/ 8 h 17"/>
              <a:gd name="T24" fmla="*/ 9 w 17"/>
              <a:gd name="T25" fmla="*/ 0 h 17"/>
              <a:gd name="T26" fmla="*/ 0 w 17"/>
              <a:gd name="T27" fmla="*/ 8 h 17"/>
              <a:gd name="T28" fmla="*/ 9 w 17"/>
              <a:gd name="T29" fmla="*/ 17 h 17"/>
              <a:gd name="T30" fmla="*/ 17 w 17"/>
              <a:gd name="T31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" h="17">
                <a:moveTo>
                  <a:pt x="17" y="8"/>
                </a:moveTo>
                <a:cubicBezTo>
                  <a:pt x="16" y="8"/>
                  <a:pt x="16" y="8"/>
                  <a:pt x="16" y="8"/>
                </a:cubicBezTo>
                <a:cubicBezTo>
                  <a:pt x="16" y="10"/>
                  <a:pt x="15" y="12"/>
                  <a:pt x="14" y="14"/>
                </a:cubicBezTo>
                <a:cubicBezTo>
                  <a:pt x="13" y="15"/>
                  <a:pt x="11" y="16"/>
                  <a:pt x="9" y="16"/>
                </a:cubicBezTo>
                <a:cubicBezTo>
                  <a:pt x="7" y="16"/>
                  <a:pt x="5" y="15"/>
                  <a:pt x="3" y="14"/>
                </a:cubicBezTo>
                <a:cubicBezTo>
                  <a:pt x="2" y="12"/>
                  <a:pt x="1" y="10"/>
                  <a:pt x="1" y="8"/>
                </a:cubicBezTo>
                <a:cubicBezTo>
                  <a:pt x="1" y="6"/>
                  <a:pt x="2" y="4"/>
                  <a:pt x="3" y="3"/>
                </a:cubicBezTo>
                <a:cubicBezTo>
                  <a:pt x="5" y="2"/>
                  <a:pt x="7" y="1"/>
                  <a:pt x="9" y="1"/>
                </a:cubicBezTo>
                <a:cubicBezTo>
                  <a:pt x="11" y="1"/>
                  <a:pt x="13" y="2"/>
                  <a:pt x="14" y="3"/>
                </a:cubicBezTo>
                <a:cubicBezTo>
                  <a:pt x="15" y="4"/>
                  <a:pt x="16" y="6"/>
                  <a:pt x="16" y="8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4"/>
                  <a:pt x="13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13" y="17"/>
                  <a:pt x="17" y="13"/>
                  <a:pt x="17" y="8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5" name="Freeform 127">
            <a:extLst>
              <a:ext uri="{FF2B5EF4-FFF2-40B4-BE49-F238E27FC236}">
                <a16:creationId xmlns:a16="http://schemas.microsoft.com/office/drawing/2014/main" id="{5A39E3E1-243E-4A59-834C-9D0E9E82AB04}"/>
              </a:ext>
            </a:extLst>
          </p:cNvPr>
          <p:cNvSpPr>
            <a:spLocks/>
          </p:cNvSpPr>
          <p:nvPr/>
        </p:nvSpPr>
        <p:spPr bwMode="auto">
          <a:xfrm>
            <a:off x="6149680" y="3621998"/>
            <a:ext cx="55326" cy="55326"/>
          </a:xfrm>
          <a:custGeom>
            <a:avLst/>
            <a:gdLst>
              <a:gd name="T0" fmla="*/ 9 w 10"/>
              <a:gd name="T1" fmla="*/ 5 h 10"/>
              <a:gd name="T2" fmla="*/ 9 w 10"/>
              <a:gd name="T3" fmla="*/ 5 h 10"/>
              <a:gd name="T4" fmla="*/ 5 w 10"/>
              <a:gd name="T5" fmla="*/ 10 h 10"/>
              <a:gd name="T6" fmla="*/ 1 w 10"/>
              <a:gd name="T7" fmla="*/ 5 h 10"/>
              <a:gd name="T8" fmla="*/ 5 w 10"/>
              <a:gd name="T9" fmla="*/ 1 h 10"/>
              <a:gd name="T10" fmla="*/ 9 w 10"/>
              <a:gd name="T11" fmla="*/ 5 h 10"/>
              <a:gd name="T12" fmla="*/ 9 w 10"/>
              <a:gd name="T13" fmla="*/ 5 h 10"/>
              <a:gd name="T14" fmla="*/ 10 w 10"/>
              <a:gd name="T15" fmla="*/ 5 h 10"/>
              <a:gd name="T16" fmla="*/ 5 w 10"/>
              <a:gd name="T17" fmla="*/ 0 h 10"/>
              <a:gd name="T18" fmla="*/ 0 w 10"/>
              <a:gd name="T19" fmla="*/ 5 h 10"/>
              <a:gd name="T20" fmla="*/ 5 w 10"/>
              <a:gd name="T21" fmla="*/ 10 h 10"/>
              <a:gd name="T22" fmla="*/ 10 w 10"/>
              <a:gd name="T23" fmla="*/ 5 h 10"/>
              <a:gd name="T24" fmla="*/ 9 w 10"/>
              <a:gd name="T25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0">
                <a:moveTo>
                  <a:pt x="9" y="5"/>
                </a:moveTo>
                <a:cubicBezTo>
                  <a:pt x="9" y="5"/>
                  <a:pt x="9" y="5"/>
                  <a:pt x="9" y="5"/>
                </a:cubicBezTo>
                <a:cubicBezTo>
                  <a:pt x="9" y="8"/>
                  <a:pt x="7" y="10"/>
                  <a:pt x="5" y="10"/>
                </a:cubicBezTo>
                <a:cubicBezTo>
                  <a:pt x="2" y="10"/>
                  <a:pt x="1" y="8"/>
                  <a:pt x="1" y="5"/>
                </a:cubicBezTo>
                <a:cubicBezTo>
                  <a:pt x="1" y="3"/>
                  <a:pt x="2" y="1"/>
                  <a:pt x="5" y="1"/>
                </a:cubicBezTo>
                <a:cubicBezTo>
                  <a:pt x="7" y="1"/>
                  <a:pt x="9" y="3"/>
                  <a:pt x="9" y="5"/>
                </a:cubicBezTo>
                <a:cubicBezTo>
                  <a:pt x="9" y="5"/>
                  <a:pt x="9" y="5"/>
                  <a:pt x="9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3"/>
                  <a:pt x="8" y="0"/>
                  <a:pt x="5" y="0"/>
                </a:cubicBezTo>
                <a:cubicBezTo>
                  <a:pt x="2" y="0"/>
                  <a:pt x="0" y="3"/>
                  <a:pt x="0" y="5"/>
                </a:cubicBezTo>
                <a:cubicBezTo>
                  <a:pt x="0" y="8"/>
                  <a:pt x="2" y="10"/>
                  <a:pt x="5" y="10"/>
                </a:cubicBezTo>
                <a:cubicBezTo>
                  <a:pt x="8" y="10"/>
                  <a:pt x="10" y="8"/>
                  <a:pt x="10" y="5"/>
                </a:cubicBezTo>
                <a:lnTo>
                  <a:pt x="9" y="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6" name="Oval 128">
            <a:extLst>
              <a:ext uri="{FF2B5EF4-FFF2-40B4-BE49-F238E27FC236}">
                <a16:creationId xmlns:a16="http://schemas.microsoft.com/office/drawing/2014/main" id="{955AC475-E8E0-427C-8199-99619D619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9250" y="3057675"/>
            <a:ext cx="90735" cy="8852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7" name="Freeform 129">
            <a:extLst>
              <a:ext uri="{FF2B5EF4-FFF2-40B4-BE49-F238E27FC236}">
                <a16:creationId xmlns:a16="http://schemas.microsoft.com/office/drawing/2014/main" id="{CDB82B20-8BF8-4816-8773-584DB54AC879}"/>
              </a:ext>
            </a:extLst>
          </p:cNvPr>
          <p:cNvSpPr>
            <a:spLocks/>
          </p:cNvSpPr>
          <p:nvPr/>
        </p:nvSpPr>
        <p:spPr bwMode="auto">
          <a:xfrm>
            <a:off x="4649250" y="3057675"/>
            <a:ext cx="95161" cy="95161"/>
          </a:xfrm>
          <a:custGeom>
            <a:avLst/>
            <a:gdLst>
              <a:gd name="T0" fmla="*/ 16 w 17"/>
              <a:gd name="T1" fmla="*/ 8 h 17"/>
              <a:gd name="T2" fmla="*/ 16 w 17"/>
              <a:gd name="T3" fmla="*/ 8 h 17"/>
              <a:gd name="T4" fmla="*/ 13 w 17"/>
              <a:gd name="T5" fmla="*/ 14 h 17"/>
              <a:gd name="T6" fmla="*/ 8 w 17"/>
              <a:gd name="T7" fmla="*/ 16 h 17"/>
              <a:gd name="T8" fmla="*/ 3 w 17"/>
              <a:gd name="T9" fmla="*/ 14 h 17"/>
              <a:gd name="T10" fmla="*/ 1 w 17"/>
              <a:gd name="T11" fmla="*/ 8 h 17"/>
              <a:gd name="T12" fmla="*/ 3 w 17"/>
              <a:gd name="T13" fmla="*/ 3 h 17"/>
              <a:gd name="T14" fmla="*/ 8 w 17"/>
              <a:gd name="T15" fmla="*/ 1 h 17"/>
              <a:gd name="T16" fmla="*/ 13 w 17"/>
              <a:gd name="T17" fmla="*/ 3 h 17"/>
              <a:gd name="T18" fmla="*/ 16 w 17"/>
              <a:gd name="T19" fmla="*/ 8 h 17"/>
              <a:gd name="T20" fmla="*/ 16 w 17"/>
              <a:gd name="T21" fmla="*/ 8 h 17"/>
              <a:gd name="T22" fmla="*/ 17 w 17"/>
              <a:gd name="T23" fmla="*/ 8 h 17"/>
              <a:gd name="T24" fmla="*/ 8 w 17"/>
              <a:gd name="T25" fmla="*/ 0 h 17"/>
              <a:gd name="T26" fmla="*/ 0 w 17"/>
              <a:gd name="T27" fmla="*/ 8 h 17"/>
              <a:gd name="T28" fmla="*/ 8 w 17"/>
              <a:gd name="T29" fmla="*/ 17 h 17"/>
              <a:gd name="T30" fmla="*/ 17 w 17"/>
              <a:gd name="T31" fmla="*/ 8 h 17"/>
              <a:gd name="T32" fmla="*/ 16 w 17"/>
              <a:gd name="T33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7">
                <a:moveTo>
                  <a:pt x="16" y="8"/>
                </a:moveTo>
                <a:cubicBezTo>
                  <a:pt x="16" y="8"/>
                  <a:pt x="16" y="8"/>
                  <a:pt x="16" y="8"/>
                </a:cubicBezTo>
                <a:cubicBezTo>
                  <a:pt x="16" y="10"/>
                  <a:pt x="15" y="12"/>
                  <a:pt x="13" y="14"/>
                </a:cubicBezTo>
                <a:cubicBezTo>
                  <a:pt x="12" y="15"/>
                  <a:pt x="10" y="16"/>
                  <a:pt x="8" y="16"/>
                </a:cubicBezTo>
                <a:cubicBezTo>
                  <a:pt x="6" y="16"/>
                  <a:pt x="4" y="15"/>
                  <a:pt x="3" y="14"/>
                </a:cubicBezTo>
                <a:cubicBezTo>
                  <a:pt x="1" y="12"/>
                  <a:pt x="1" y="10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2"/>
                  <a:pt x="6" y="1"/>
                  <a:pt x="8" y="1"/>
                </a:cubicBezTo>
                <a:cubicBezTo>
                  <a:pt x="10" y="1"/>
                  <a:pt x="12" y="2"/>
                  <a:pt x="13" y="3"/>
                </a:cubicBezTo>
                <a:cubicBezTo>
                  <a:pt x="15" y="4"/>
                  <a:pt x="16" y="6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4"/>
                  <a:pt x="13" y="0"/>
                  <a:pt x="8" y="0"/>
                </a:cubicBezTo>
                <a:cubicBezTo>
                  <a:pt x="3" y="0"/>
                  <a:pt x="0" y="4"/>
                  <a:pt x="0" y="8"/>
                </a:cubicBezTo>
                <a:cubicBezTo>
                  <a:pt x="0" y="13"/>
                  <a:pt x="3" y="17"/>
                  <a:pt x="8" y="17"/>
                </a:cubicBezTo>
                <a:cubicBezTo>
                  <a:pt x="13" y="17"/>
                  <a:pt x="17" y="13"/>
                  <a:pt x="17" y="8"/>
                </a:cubicBezTo>
                <a:lnTo>
                  <a:pt x="16" y="8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8" name="Freeform 130">
            <a:extLst>
              <a:ext uri="{FF2B5EF4-FFF2-40B4-BE49-F238E27FC236}">
                <a16:creationId xmlns:a16="http://schemas.microsoft.com/office/drawing/2014/main" id="{F9C599E4-A955-46AB-997D-7B61EBFFCCC5}"/>
              </a:ext>
            </a:extLst>
          </p:cNvPr>
          <p:cNvSpPr>
            <a:spLocks/>
          </p:cNvSpPr>
          <p:nvPr/>
        </p:nvSpPr>
        <p:spPr bwMode="auto">
          <a:xfrm>
            <a:off x="4666954" y="3073167"/>
            <a:ext cx="55326" cy="55326"/>
          </a:xfrm>
          <a:custGeom>
            <a:avLst/>
            <a:gdLst>
              <a:gd name="T0" fmla="*/ 10 w 10"/>
              <a:gd name="T1" fmla="*/ 5 h 10"/>
              <a:gd name="T2" fmla="*/ 9 w 10"/>
              <a:gd name="T3" fmla="*/ 5 h 10"/>
              <a:gd name="T4" fmla="*/ 5 w 10"/>
              <a:gd name="T5" fmla="*/ 10 h 10"/>
              <a:gd name="T6" fmla="*/ 1 w 10"/>
              <a:gd name="T7" fmla="*/ 5 h 10"/>
              <a:gd name="T8" fmla="*/ 5 w 10"/>
              <a:gd name="T9" fmla="*/ 1 h 10"/>
              <a:gd name="T10" fmla="*/ 9 w 10"/>
              <a:gd name="T11" fmla="*/ 5 h 10"/>
              <a:gd name="T12" fmla="*/ 10 w 10"/>
              <a:gd name="T13" fmla="*/ 5 h 10"/>
              <a:gd name="T14" fmla="*/ 10 w 10"/>
              <a:gd name="T15" fmla="*/ 5 h 10"/>
              <a:gd name="T16" fmla="*/ 5 w 10"/>
              <a:gd name="T17" fmla="*/ 0 h 10"/>
              <a:gd name="T18" fmla="*/ 0 w 10"/>
              <a:gd name="T19" fmla="*/ 5 h 10"/>
              <a:gd name="T20" fmla="*/ 5 w 10"/>
              <a:gd name="T21" fmla="*/ 10 h 10"/>
              <a:gd name="T22" fmla="*/ 10 w 10"/>
              <a:gd name="T2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0">
                <a:moveTo>
                  <a:pt x="10" y="5"/>
                </a:moveTo>
                <a:cubicBezTo>
                  <a:pt x="9" y="5"/>
                  <a:pt x="9" y="5"/>
                  <a:pt x="9" y="5"/>
                </a:cubicBezTo>
                <a:cubicBezTo>
                  <a:pt x="9" y="8"/>
                  <a:pt x="7" y="10"/>
                  <a:pt x="5" y="10"/>
                </a:cubicBezTo>
                <a:cubicBezTo>
                  <a:pt x="3" y="10"/>
                  <a:pt x="1" y="8"/>
                  <a:pt x="1" y="5"/>
                </a:cubicBezTo>
                <a:cubicBezTo>
                  <a:pt x="1" y="3"/>
                  <a:pt x="3" y="1"/>
                  <a:pt x="5" y="1"/>
                </a:cubicBezTo>
                <a:cubicBezTo>
                  <a:pt x="7" y="1"/>
                  <a:pt x="9" y="3"/>
                  <a:pt x="9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3"/>
                  <a:pt x="8" y="0"/>
                  <a:pt x="5" y="0"/>
                </a:cubicBezTo>
                <a:cubicBezTo>
                  <a:pt x="2" y="0"/>
                  <a:pt x="0" y="3"/>
                  <a:pt x="0" y="5"/>
                </a:cubicBezTo>
                <a:cubicBezTo>
                  <a:pt x="0" y="8"/>
                  <a:pt x="2" y="10"/>
                  <a:pt x="5" y="10"/>
                </a:cubicBezTo>
                <a:cubicBezTo>
                  <a:pt x="8" y="10"/>
                  <a:pt x="10" y="8"/>
                  <a:pt x="10" y="5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9" name="Oval 131">
            <a:extLst>
              <a:ext uri="{FF2B5EF4-FFF2-40B4-BE49-F238E27FC236}">
                <a16:creationId xmlns:a16="http://schemas.microsoft.com/office/drawing/2014/main" id="{5545443D-4CC9-42C9-998D-C1C0AAEC5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7944" y="2849651"/>
            <a:ext cx="73030" cy="7303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0" name="Freeform 132">
            <a:extLst>
              <a:ext uri="{FF2B5EF4-FFF2-40B4-BE49-F238E27FC236}">
                <a16:creationId xmlns:a16="http://schemas.microsoft.com/office/drawing/2014/main" id="{B032A074-0E6C-44E9-AD9A-CF8F3304490B}"/>
              </a:ext>
            </a:extLst>
          </p:cNvPr>
          <p:cNvSpPr>
            <a:spLocks/>
          </p:cNvSpPr>
          <p:nvPr/>
        </p:nvSpPr>
        <p:spPr bwMode="auto">
          <a:xfrm>
            <a:off x="2557944" y="2849651"/>
            <a:ext cx="73030" cy="73031"/>
          </a:xfrm>
          <a:custGeom>
            <a:avLst/>
            <a:gdLst>
              <a:gd name="T0" fmla="*/ 13 w 13"/>
              <a:gd name="T1" fmla="*/ 6 h 13"/>
              <a:gd name="T2" fmla="*/ 12 w 13"/>
              <a:gd name="T3" fmla="*/ 6 h 13"/>
              <a:gd name="T4" fmla="*/ 11 w 13"/>
              <a:gd name="T5" fmla="*/ 10 h 13"/>
              <a:gd name="T6" fmla="*/ 7 w 13"/>
              <a:gd name="T7" fmla="*/ 12 h 13"/>
              <a:gd name="T8" fmla="*/ 3 w 13"/>
              <a:gd name="T9" fmla="*/ 10 h 13"/>
              <a:gd name="T10" fmla="*/ 1 w 13"/>
              <a:gd name="T11" fmla="*/ 6 h 13"/>
              <a:gd name="T12" fmla="*/ 3 w 13"/>
              <a:gd name="T13" fmla="*/ 2 h 13"/>
              <a:gd name="T14" fmla="*/ 7 w 13"/>
              <a:gd name="T15" fmla="*/ 1 h 13"/>
              <a:gd name="T16" fmla="*/ 11 w 13"/>
              <a:gd name="T17" fmla="*/ 2 h 13"/>
              <a:gd name="T18" fmla="*/ 12 w 13"/>
              <a:gd name="T19" fmla="*/ 6 h 13"/>
              <a:gd name="T20" fmla="*/ 13 w 13"/>
              <a:gd name="T21" fmla="*/ 6 h 13"/>
              <a:gd name="T22" fmla="*/ 13 w 13"/>
              <a:gd name="T23" fmla="*/ 6 h 13"/>
              <a:gd name="T24" fmla="*/ 7 w 13"/>
              <a:gd name="T25" fmla="*/ 0 h 13"/>
              <a:gd name="T26" fmla="*/ 0 w 13"/>
              <a:gd name="T27" fmla="*/ 6 h 13"/>
              <a:gd name="T28" fmla="*/ 7 w 13"/>
              <a:gd name="T29" fmla="*/ 13 h 13"/>
              <a:gd name="T30" fmla="*/ 13 w 13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2"/>
                  <a:pt x="8" y="12"/>
                  <a:pt x="7" y="12"/>
                </a:cubicBezTo>
                <a:cubicBezTo>
                  <a:pt x="5" y="12"/>
                  <a:pt x="4" y="12"/>
                  <a:pt x="3" y="10"/>
                </a:cubicBezTo>
                <a:cubicBezTo>
                  <a:pt x="1" y="9"/>
                  <a:pt x="1" y="8"/>
                  <a:pt x="1" y="6"/>
                </a:cubicBezTo>
                <a:cubicBezTo>
                  <a:pt x="1" y="5"/>
                  <a:pt x="1" y="3"/>
                  <a:pt x="3" y="2"/>
                </a:cubicBezTo>
                <a:cubicBezTo>
                  <a:pt x="4" y="1"/>
                  <a:pt x="5" y="1"/>
                  <a:pt x="7" y="1"/>
                </a:cubicBezTo>
                <a:cubicBezTo>
                  <a:pt x="8" y="1"/>
                  <a:pt x="10" y="1"/>
                  <a:pt x="11" y="2"/>
                </a:cubicBezTo>
                <a:cubicBezTo>
                  <a:pt x="12" y="3"/>
                  <a:pt x="12" y="5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1" name="Oval 133">
            <a:extLst>
              <a:ext uri="{FF2B5EF4-FFF2-40B4-BE49-F238E27FC236}">
                <a16:creationId xmlns:a16="http://schemas.microsoft.com/office/drawing/2014/main" id="{67AF3809-4A26-4B8A-9003-8326242B6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0344" y="3168327"/>
            <a:ext cx="68604" cy="6860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2" name="Freeform 134">
            <a:extLst>
              <a:ext uri="{FF2B5EF4-FFF2-40B4-BE49-F238E27FC236}">
                <a16:creationId xmlns:a16="http://schemas.microsoft.com/office/drawing/2014/main" id="{47BE0824-3EE2-4ADD-BD3C-EB2B98C4869E}"/>
              </a:ext>
            </a:extLst>
          </p:cNvPr>
          <p:cNvSpPr>
            <a:spLocks/>
          </p:cNvSpPr>
          <p:nvPr/>
        </p:nvSpPr>
        <p:spPr bwMode="auto">
          <a:xfrm>
            <a:off x="1975918" y="3168327"/>
            <a:ext cx="73030" cy="73031"/>
          </a:xfrm>
          <a:custGeom>
            <a:avLst/>
            <a:gdLst>
              <a:gd name="T0" fmla="*/ 13 w 13"/>
              <a:gd name="T1" fmla="*/ 6 h 13"/>
              <a:gd name="T2" fmla="*/ 12 w 13"/>
              <a:gd name="T3" fmla="*/ 6 h 13"/>
              <a:gd name="T4" fmla="*/ 11 w 13"/>
              <a:gd name="T5" fmla="*/ 10 h 13"/>
              <a:gd name="T6" fmla="*/ 7 w 13"/>
              <a:gd name="T7" fmla="*/ 12 h 13"/>
              <a:gd name="T8" fmla="*/ 3 w 13"/>
              <a:gd name="T9" fmla="*/ 10 h 13"/>
              <a:gd name="T10" fmla="*/ 1 w 13"/>
              <a:gd name="T11" fmla="*/ 6 h 13"/>
              <a:gd name="T12" fmla="*/ 3 w 13"/>
              <a:gd name="T13" fmla="*/ 2 h 13"/>
              <a:gd name="T14" fmla="*/ 7 w 13"/>
              <a:gd name="T15" fmla="*/ 1 h 13"/>
              <a:gd name="T16" fmla="*/ 11 w 13"/>
              <a:gd name="T17" fmla="*/ 2 h 13"/>
              <a:gd name="T18" fmla="*/ 12 w 13"/>
              <a:gd name="T19" fmla="*/ 6 h 13"/>
              <a:gd name="T20" fmla="*/ 13 w 13"/>
              <a:gd name="T21" fmla="*/ 6 h 13"/>
              <a:gd name="T22" fmla="*/ 13 w 13"/>
              <a:gd name="T23" fmla="*/ 6 h 13"/>
              <a:gd name="T24" fmla="*/ 7 w 13"/>
              <a:gd name="T25" fmla="*/ 0 h 13"/>
              <a:gd name="T26" fmla="*/ 0 w 13"/>
              <a:gd name="T27" fmla="*/ 6 h 13"/>
              <a:gd name="T28" fmla="*/ 7 w 13"/>
              <a:gd name="T29" fmla="*/ 13 h 13"/>
              <a:gd name="T30" fmla="*/ 13 w 13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5"/>
                  <a:pt x="2" y="3"/>
                  <a:pt x="3" y="2"/>
                </a:cubicBezTo>
                <a:cubicBezTo>
                  <a:pt x="4" y="1"/>
                  <a:pt x="5" y="1"/>
                  <a:pt x="7" y="1"/>
                </a:cubicBezTo>
                <a:cubicBezTo>
                  <a:pt x="8" y="1"/>
                  <a:pt x="10" y="1"/>
                  <a:pt x="11" y="2"/>
                </a:cubicBezTo>
                <a:cubicBezTo>
                  <a:pt x="12" y="3"/>
                  <a:pt x="12" y="5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3" name="Freeform 135">
            <a:extLst>
              <a:ext uri="{FF2B5EF4-FFF2-40B4-BE49-F238E27FC236}">
                <a16:creationId xmlns:a16="http://schemas.microsoft.com/office/drawing/2014/main" id="{29A620BD-B05A-4CA2-832A-A7F98AF7FCFE}"/>
              </a:ext>
            </a:extLst>
          </p:cNvPr>
          <p:cNvSpPr>
            <a:spLocks/>
          </p:cNvSpPr>
          <p:nvPr/>
        </p:nvSpPr>
        <p:spPr bwMode="auto">
          <a:xfrm>
            <a:off x="3934444" y="3856579"/>
            <a:ext cx="380640" cy="168190"/>
          </a:xfrm>
          <a:custGeom>
            <a:avLst/>
            <a:gdLst>
              <a:gd name="T0" fmla="*/ 0 w 172"/>
              <a:gd name="T1" fmla="*/ 3 h 76"/>
              <a:gd name="T2" fmla="*/ 172 w 172"/>
              <a:gd name="T3" fmla="*/ 76 h 76"/>
              <a:gd name="T4" fmla="*/ 172 w 172"/>
              <a:gd name="T5" fmla="*/ 76 h 76"/>
              <a:gd name="T6" fmla="*/ 2 w 172"/>
              <a:gd name="T7" fmla="*/ 0 h 76"/>
              <a:gd name="T8" fmla="*/ 0 w 172"/>
              <a:gd name="T9" fmla="*/ 3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76">
                <a:moveTo>
                  <a:pt x="0" y="3"/>
                </a:moveTo>
                <a:lnTo>
                  <a:pt x="172" y="76"/>
                </a:lnTo>
                <a:lnTo>
                  <a:pt x="172" y="76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4" name="Freeform 136">
            <a:extLst>
              <a:ext uri="{FF2B5EF4-FFF2-40B4-BE49-F238E27FC236}">
                <a16:creationId xmlns:a16="http://schemas.microsoft.com/office/drawing/2014/main" id="{FE1364E3-7E95-4088-BF9C-E213A13BB601}"/>
              </a:ext>
            </a:extLst>
          </p:cNvPr>
          <p:cNvSpPr>
            <a:spLocks/>
          </p:cNvSpPr>
          <p:nvPr/>
        </p:nvSpPr>
        <p:spPr bwMode="auto">
          <a:xfrm>
            <a:off x="3934444" y="3856579"/>
            <a:ext cx="380640" cy="168190"/>
          </a:xfrm>
          <a:custGeom>
            <a:avLst/>
            <a:gdLst>
              <a:gd name="T0" fmla="*/ 0 w 172"/>
              <a:gd name="T1" fmla="*/ 3 h 76"/>
              <a:gd name="T2" fmla="*/ 172 w 172"/>
              <a:gd name="T3" fmla="*/ 76 h 76"/>
              <a:gd name="T4" fmla="*/ 172 w 172"/>
              <a:gd name="T5" fmla="*/ 76 h 76"/>
              <a:gd name="T6" fmla="*/ 2 w 172"/>
              <a:gd name="T7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2" h="76">
                <a:moveTo>
                  <a:pt x="0" y="3"/>
                </a:moveTo>
                <a:lnTo>
                  <a:pt x="172" y="76"/>
                </a:lnTo>
                <a:lnTo>
                  <a:pt x="172" y="76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5" name="Freeform 137">
            <a:extLst>
              <a:ext uri="{FF2B5EF4-FFF2-40B4-BE49-F238E27FC236}">
                <a16:creationId xmlns:a16="http://schemas.microsoft.com/office/drawing/2014/main" id="{487E3C58-A156-44EA-B451-1D557A7CB2EE}"/>
              </a:ext>
            </a:extLst>
          </p:cNvPr>
          <p:cNvSpPr>
            <a:spLocks/>
          </p:cNvSpPr>
          <p:nvPr/>
        </p:nvSpPr>
        <p:spPr bwMode="auto">
          <a:xfrm>
            <a:off x="2434014" y="3398481"/>
            <a:ext cx="447031" cy="469162"/>
          </a:xfrm>
          <a:custGeom>
            <a:avLst/>
            <a:gdLst>
              <a:gd name="T0" fmla="*/ 0 w 202"/>
              <a:gd name="T1" fmla="*/ 2 h 212"/>
              <a:gd name="T2" fmla="*/ 101 w 202"/>
              <a:gd name="T3" fmla="*/ 212 h 212"/>
              <a:gd name="T4" fmla="*/ 202 w 202"/>
              <a:gd name="T5" fmla="*/ 71 h 212"/>
              <a:gd name="T6" fmla="*/ 200 w 202"/>
              <a:gd name="T7" fmla="*/ 68 h 212"/>
              <a:gd name="T8" fmla="*/ 101 w 202"/>
              <a:gd name="T9" fmla="*/ 207 h 212"/>
              <a:gd name="T10" fmla="*/ 3 w 202"/>
              <a:gd name="T11" fmla="*/ 0 h 212"/>
              <a:gd name="T12" fmla="*/ 0 w 202"/>
              <a:gd name="T13" fmla="*/ 2 h 212"/>
              <a:gd name="T14" fmla="*/ 0 w 202"/>
              <a:gd name="T15" fmla="*/ 2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2" h="212">
                <a:moveTo>
                  <a:pt x="0" y="2"/>
                </a:moveTo>
                <a:lnTo>
                  <a:pt x="101" y="212"/>
                </a:lnTo>
                <a:lnTo>
                  <a:pt x="202" y="71"/>
                </a:lnTo>
                <a:lnTo>
                  <a:pt x="200" y="68"/>
                </a:lnTo>
                <a:lnTo>
                  <a:pt x="101" y="207"/>
                </a:lnTo>
                <a:lnTo>
                  <a:pt x="3" y="0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6" name="Oval 138">
            <a:extLst>
              <a:ext uri="{FF2B5EF4-FFF2-40B4-BE49-F238E27FC236}">
                <a16:creationId xmlns:a16="http://schemas.microsoft.com/office/drawing/2014/main" id="{3CDC40F8-6349-4C7C-A4DE-4F4B4C554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248" y="3823383"/>
            <a:ext cx="70817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7" name="Freeform 139">
            <a:extLst>
              <a:ext uri="{FF2B5EF4-FFF2-40B4-BE49-F238E27FC236}">
                <a16:creationId xmlns:a16="http://schemas.microsoft.com/office/drawing/2014/main" id="{66E1F0E5-A24E-4FAF-B51B-B0AD3CB69647}"/>
              </a:ext>
            </a:extLst>
          </p:cNvPr>
          <p:cNvSpPr>
            <a:spLocks/>
          </p:cNvSpPr>
          <p:nvPr/>
        </p:nvSpPr>
        <p:spPr bwMode="auto">
          <a:xfrm>
            <a:off x="3901248" y="3823383"/>
            <a:ext cx="70817" cy="73031"/>
          </a:xfrm>
          <a:custGeom>
            <a:avLst/>
            <a:gdLst>
              <a:gd name="T0" fmla="*/ 13 w 13"/>
              <a:gd name="T1" fmla="*/ 6 h 13"/>
              <a:gd name="T2" fmla="*/ 12 w 13"/>
              <a:gd name="T3" fmla="*/ 6 h 13"/>
              <a:gd name="T4" fmla="*/ 11 w 13"/>
              <a:gd name="T5" fmla="*/ 10 h 13"/>
              <a:gd name="T6" fmla="*/ 7 w 13"/>
              <a:gd name="T7" fmla="*/ 12 h 13"/>
              <a:gd name="T8" fmla="*/ 3 w 13"/>
              <a:gd name="T9" fmla="*/ 10 h 13"/>
              <a:gd name="T10" fmla="*/ 1 w 13"/>
              <a:gd name="T11" fmla="*/ 6 h 13"/>
              <a:gd name="T12" fmla="*/ 3 w 13"/>
              <a:gd name="T13" fmla="*/ 2 h 13"/>
              <a:gd name="T14" fmla="*/ 7 w 13"/>
              <a:gd name="T15" fmla="*/ 1 h 13"/>
              <a:gd name="T16" fmla="*/ 11 w 13"/>
              <a:gd name="T17" fmla="*/ 2 h 13"/>
              <a:gd name="T18" fmla="*/ 12 w 13"/>
              <a:gd name="T19" fmla="*/ 6 h 13"/>
              <a:gd name="T20" fmla="*/ 13 w 13"/>
              <a:gd name="T21" fmla="*/ 6 h 13"/>
              <a:gd name="T22" fmla="*/ 13 w 13"/>
              <a:gd name="T23" fmla="*/ 6 h 13"/>
              <a:gd name="T24" fmla="*/ 7 w 13"/>
              <a:gd name="T25" fmla="*/ 0 h 13"/>
              <a:gd name="T26" fmla="*/ 0 w 13"/>
              <a:gd name="T27" fmla="*/ 6 h 13"/>
              <a:gd name="T28" fmla="*/ 7 w 13"/>
              <a:gd name="T29" fmla="*/ 13 h 13"/>
              <a:gd name="T30" fmla="*/ 13 w 13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1" y="9"/>
                  <a:pt x="1" y="8"/>
                  <a:pt x="1" y="6"/>
                </a:cubicBezTo>
                <a:cubicBezTo>
                  <a:pt x="1" y="5"/>
                  <a:pt x="1" y="3"/>
                  <a:pt x="3" y="2"/>
                </a:cubicBezTo>
                <a:cubicBezTo>
                  <a:pt x="4" y="1"/>
                  <a:pt x="5" y="1"/>
                  <a:pt x="7" y="1"/>
                </a:cubicBezTo>
                <a:cubicBezTo>
                  <a:pt x="8" y="1"/>
                  <a:pt x="10" y="1"/>
                  <a:pt x="11" y="2"/>
                </a:cubicBezTo>
                <a:cubicBezTo>
                  <a:pt x="12" y="3"/>
                  <a:pt x="12" y="5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8" name="Freeform 140">
            <a:extLst>
              <a:ext uri="{FF2B5EF4-FFF2-40B4-BE49-F238E27FC236}">
                <a16:creationId xmlns:a16="http://schemas.microsoft.com/office/drawing/2014/main" id="{F71E29A0-D263-4E10-9250-B9278800323F}"/>
              </a:ext>
            </a:extLst>
          </p:cNvPr>
          <p:cNvSpPr>
            <a:spLocks/>
          </p:cNvSpPr>
          <p:nvPr/>
        </p:nvSpPr>
        <p:spPr bwMode="auto">
          <a:xfrm>
            <a:off x="5439300" y="3650767"/>
            <a:ext cx="50900" cy="374002"/>
          </a:xfrm>
          <a:custGeom>
            <a:avLst/>
            <a:gdLst>
              <a:gd name="T0" fmla="*/ 0 w 23"/>
              <a:gd name="T1" fmla="*/ 0 h 169"/>
              <a:gd name="T2" fmla="*/ 20 w 23"/>
              <a:gd name="T3" fmla="*/ 169 h 169"/>
              <a:gd name="T4" fmla="*/ 23 w 23"/>
              <a:gd name="T5" fmla="*/ 169 h 169"/>
              <a:gd name="T6" fmla="*/ 2 w 23"/>
              <a:gd name="T7" fmla="*/ 0 h 169"/>
              <a:gd name="T8" fmla="*/ 0 w 23"/>
              <a:gd name="T9" fmla="*/ 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169">
                <a:moveTo>
                  <a:pt x="0" y="0"/>
                </a:moveTo>
                <a:lnTo>
                  <a:pt x="20" y="169"/>
                </a:lnTo>
                <a:lnTo>
                  <a:pt x="23" y="169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9" name="Freeform 141">
            <a:extLst>
              <a:ext uri="{FF2B5EF4-FFF2-40B4-BE49-F238E27FC236}">
                <a16:creationId xmlns:a16="http://schemas.microsoft.com/office/drawing/2014/main" id="{562A9172-340D-4046-92CE-B83042603886}"/>
              </a:ext>
            </a:extLst>
          </p:cNvPr>
          <p:cNvSpPr>
            <a:spLocks/>
          </p:cNvSpPr>
          <p:nvPr/>
        </p:nvSpPr>
        <p:spPr bwMode="auto">
          <a:xfrm>
            <a:off x="5439300" y="3650767"/>
            <a:ext cx="50900" cy="374002"/>
          </a:xfrm>
          <a:custGeom>
            <a:avLst/>
            <a:gdLst>
              <a:gd name="T0" fmla="*/ 0 w 23"/>
              <a:gd name="T1" fmla="*/ 0 h 169"/>
              <a:gd name="T2" fmla="*/ 20 w 23"/>
              <a:gd name="T3" fmla="*/ 169 h 169"/>
              <a:gd name="T4" fmla="*/ 23 w 23"/>
              <a:gd name="T5" fmla="*/ 169 h 169"/>
              <a:gd name="T6" fmla="*/ 2 w 23"/>
              <a:gd name="T7" fmla="*/ 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" h="169">
                <a:moveTo>
                  <a:pt x="0" y="0"/>
                </a:moveTo>
                <a:lnTo>
                  <a:pt x="20" y="169"/>
                </a:lnTo>
                <a:lnTo>
                  <a:pt x="23" y="169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0" name="Freeform 142">
            <a:extLst>
              <a:ext uri="{FF2B5EF4-FFF2-40B4-BE49-F238E27FC236}">
                <a16:creationId xmlns:a16="http://schemas.microsoft.com/office/drawing/2014/main" id="{305BB8E5-4431-4742-B6B8-04E029225AC4}"/>
              </a:ext>
            </a:extLst>
          </p:cNvPr>
          <p:cNvSpPr>
            <a:spLocks/>
          </p:cNvSpPr>
          <p:nvPr/>
        </p:nvSpPr>
        <p:spPr bwMode="auto">
          <a:xfrm>
            <a:off x="2770394" y="3442742"/>
            <a:ext cx="216876" cy="219090"/>
          </a:xfrm>
          <a:custGeom>
            <a:avLst/>
            <a:gdLst>
              <a:gd name="T0" fmla="*/ 39 w 39"/>
              <a:gd name="T1" fmla="*/ 19 h 39"/>
              <a:gd name="T2" fmla="*/ 38 w 39"/>
              <a:gd name="T3" fmla="*/ 19 h 39"/>
              <a:gd name="T4" fmla="*/ 33 w 39"/>
              <a:gd name="T5" fmla="*/ 33 h 39"/>
              <a:gd name="T6" fmla="*/ 19 w 39"/>
              <a:gd name="T7" fmla="*/ 38 h 39"/>
              <a:gd name="T8" fmla="*/ 6 w 39"/>
              <a:gd name="T9" fmla="*/ 33 h 39"/>
              <a:gd name="T10" fmla="*/ 1 w 39"/>
              <a:gd name="T11" fmla="*/ 19 h 39"/>
              <a:gd name="T12" fmla="*/ 6 w 39"/>
              <a:gd name="T13" fmla="*/ 6 h 39"/>
              <a:gd name="T14" fmla="*/ 19 w 39"/>
              <a:gd name="T15" fmla="*/ 1 h 39"/>
              <a:gd name="T16" fmla="*/ 33 w 39"/>
              <a:gd name="T17" fmla="*/ 6 h 39"/>
              <a:gd name="T18" fmla="*/ 38 w 39"/>
              <a:gd name="T19" fmla="*/ 19 h 39"/>
              <a:gd name="T20" fmla="*/ 39 w 39"/>
              <a:gd name="T21" fmla="*/ 19 h 39"/>
              <a:gd name="T22" fmla="*/ 39 w 39"/>
              <a:gd name="T23" fmla="*/ 19 h 39"/>
              <a:gd name="T24" fmla="*/ 19 w 39"/>
              <a:gd name="T25" fmla="*/ 0 h 39"/>
              <a:gd name="T26" fmla="*/ 0 w 39"/>
              <a:gd name="T27" fmla="*/ 19 h 39"/>
              <a:gd name="T28" fmla="*/ 19 w 39"/>
              <a:gd name="T29" fmla="*/ 39 h 39"/>
              <a:gd name="T30" fmla="*/ 39 w 39"/>
              <a:gd name="T31" fmla="*/ 1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39">
                <a:moveTo>
                  <a:pt x="39" y="19"/>
                </a:moveTo>
                <a:cubicBezTo>
                  <a:pt x="38" y="19"/>
                  <a:pt x="38" y="19"/>
                  <a:pt x="38" y="19"/>
                </a:cubicBezTo>
                <a:cubicBezTo>
                  <a:pt x="38" y="25"/>
                  <a:pt x="36" y="29"/>
                  <a:pt x="33" y="33"/>
                </a:cubicBezTo>
                <a:cubicBezTo>
                  <a:pt x="29" y="36"/>
                  <a:pt x="25" y="38"/>
                  <a:pt x="19" y="38"/>
                </a:cubicBezTo>
                <a:cubicBezTo>
                  <a:pt x="14" y="38"/>
                  <a:pt x="10" y="36"/>
                  <a:pt x="6" y="33"/>
                </a:cubicBezTo>
                <a:cubicBezTo>
                  <a:pt x="3" y="29"/>
                  <a:pt x="1" y="25"/>
                  <a:pt x="1" y="19"/>
                </a:cubicBezTo>
                <a:cubicBezTo>
                  <a:pt x="1" y="14"/>
                  <a:pt x="3" y="10"/>
                  <a:pt x="6" y="6"/>
                </a:cubicBezTo>
                <a:cubicBezTo>
                  <a:pt x="10" y="3"/>
                  <a:pt x="14" y="1"/>
                  <a:pt x="19" y="1"/>
                </a:cubicBezTo>
                <a:cubicBezTo>
                  <a:pt x="25" y="1"/>
                  <a:pt x="29" y="3"/>
                  <a:pt x="33" y="6"/>
                </a:cubicBezTo>
                <a:cubicBezTo>
                  <a:pt x="36" y="10"/>
                  <a:pt x="38" y="14"/>
                  <a:pt x="38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39" y="9"/>
                  <a:pt x="30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30"/>
                  <a:pt x="9" y="39"/>
                  <a:pt x="19" y="39"/>
                </a:cubicBezTo>
                <a:cubicBezTo>
                  <a:pt x="30" y="39"/>
                  <a:pt x="39" y="30"/>
                  <a:pt x="39" y="19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1" name="Freeform 143">
            <a:extLst>
              <a:ext uri="{FF2B5EF4-FFF2-40B4-BE49-F238E27FC236}">
                <a16:creationId xmlns:a16="http://schemas.microsoft.com/office/drawing/2014/main" id="{7F586361-8096-4B0D-A980-68DBB5317133}"/>
              </a:ext>
            </a:extLst>
          </p:cNvPr>
          <p:cNvSpPr>
            <a:spLocks/>
          </p:cNvSpPr>
          <p:nvPr/>
        </p:nvSpPr>
        <p:spPr bwMode="auto">
          <a:xfrm>
            <a:off x="2796950" y="3471512"/>
            <a:ext cx="163764" cy="161552"/>
          </a:xfrm>
          <a:custGeom>
            <a:avLst/>
            <a:gdLst>
              <a:gd name="T0" fmla="*/ 29 w 29"/>
              <a:gd name="T1" fmla="*/ 14 h 29"/>
              <a:gd name="T2" fmla="*/ 29 w 29"/>
              <a:gd name="T3" fmla="*/ 14 h 29"/>
              <a:gd name="T4" fmla="*/ 24 w 29"/>
              <a:gd name="T5" fmla="*/ 24 h 29"/>
              <a:gd name="T6" fmla="*/ 14 w 29"/>
              <a:gd name="T7" fmla="*/ 29 h 29"/>
              <a:gd name="T8" fmla="*/ 4 w 29"/>
              <a:gd name="T9" fmla="*/ 24 h 29"/>
              <a:gd name="T10" fmla="*/ 0 w 29"/>
              <a:gd name="T11" fmla="*/ 14 h 29"/>
              <a:gd name="T12" fmla="*/ 4 w 29"/>
              <a:gd name="T13" fmla="*/ 4 h 29"/>
              <a:gd name="T14" fmla="*/ 14 w 29"/>
              <a:gd name="T15" fmla="*/ 0 h 29"/>
              <a:gd name="T16" fmla="*/ 24 w 29"/>
              <a:gd name="T17" fmla="*/ 4 h 29"/>
              <a:gd name="T18" fmla="*/ 29 w 29"/>
              <a:gd name="T19" fmla="*/ 14 h 29"/>
              <a:gd name="T20" fmla="*/ 29 w 29"/>
              <a:gd name="T21" fmla="*/ 14 h 29"/>
              <a:gd name="T22" fmla="*/ 29 w 29"/>
              <a:gd name="T23" fmla="*/ 14 h 29"/>
              <a:gd name="T24" fmla="*/ 14 w 29"/>
              <a:gd name="T25" fmla="*/ 0 h 29"/>
              <a:gd name="T26" fmla="*/ 0 w 29"/>
              <a:gd name="T27" fmla="*/ 14 h 29"/>
              <a:gd name="T28" fmla="*/ 14 w 29"/>
              <a:gd name="T29" fmla="*/ 29 h 29"/>
              <a:gd name="T30" fmla="*/ 29 w 29"/>
              <a:gd name="T31" fmla="*/ 1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9" h="29">
                <a:moveTo>
                  <a:pt x="29" y="14"/>
                </a:moveTo>
                <a:cubicBezTo>
                  <a:pt x="29" y="14"/>
                  <a:pt x="29" y="14"/>
                  <a:pt x="29" y="14"/>
                </a:cubicBezTo>
                <a:cubicBezTo>
                  <a:pt x="29" y="18"/>
                  <a:pt x="27" y="22"/>
                  <a:pt x="24" y="24"/>
                </a:cubicBezTo>
                <a:cubicBezTo>
                  <a:pt x="22" y="27"/>
                  <a:pt x="18" y="29"/>
                  <a:pt x="14" y="29"/>
                </a:cubicBezTo>
                <a:cubicBezTo>
                  <a:pt x="11" y="29"/>
                  <a:pt x="7" y="27"/>
                  <a:pt x="4" y="24"/>
                </a:cubicBezTo>
                <a:cubicBezTo>
                  <a:pt x="2" y="22"/>
                  <a:pt x="0" y="18"/>
                  <a:pt x="0" y="14"/>
                </a:cubicBezTo>
                <a:cubicBezTo>
                  <a:pt x="0" y="11"/>
                  <a:pt x="2" y="7"/>
                  <a:pt x="4" y="4"/>
                </a:cubicBezTo>
                <a:cubicBezTo>
                  <a:pt x="7" y="2"/>
                  <a:pt x="11" y="0"/>
                  <a:pt x="14" y="0"/>
                </a:cubicBezTo>
                <a:cubicBezTo>
                  <a:pt x="18" y="0"/>
                  <a:pt x="22" y="2"/>
                  <a:pt x="24" y="4"/>
                </a:cubicBezTo>
                <a:cubicBezTo>
                  <a:pt x="27" y="7"/>
                  <a:pt x="29" y="11"/>
                  <a:pt x="29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6"/>
                  <a:pt x="23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23"/>
                  <a:pt x="6" y="29"/>
                  <a:pt x="14" y="29"/>
                </a:cubicBezTo>
                <a:cubicBezTo>
                  <a:pt x="23" y="29"/>
                  <a:pt x="29" y="23"/>
                  <a:pt x="29" y="14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2" name="Freeform 144">
            <a:extLst>
              <a:ext uri="{FF2B5EF4-FFF2-40B4-BE49-F238E27FC236}">
                <a16:creationId xmlns:a16="http://schemas.microsoft.com/office/drawing/2014/main" id="{A27B82EC-F7D4-4228-8EC0-CA56AD7D18A5}"/>
              </a:ext>
            </a:extLst>
          </p:cNvPr>
          <p:cNvSpPr>
            <a:spLocks/>
          </p:cNvSpPr>
          <p:nvPr/>
        </p:nvSpPr>
        <p:spPr bwMode="auto">
          <a:xfrm>
            <a:off x="2821293" y="3493642"/>
            <a:ext cx="117291" cy="117291"/>
          </a:xfrm>
          <a:custGeom>
            <a:avLst/>
            <a:gdLst>
              <a:gd name="T0" fmla="*/ 21 w 21"/>
              <a:gd name="T1" fmla="*/ 10 h 21"/>
              <a:gd name="T2" fmla="*/ 20 w 21"/>
              <a:gd name="T3" fmla="*/ 10 h 21"/>
              <a:gd name="T4" fmla="*/ 17 w 21"/>
              <a:gd name="T5" fmla="*/ 17 h 21"/>
              <a:gd name="T6" fmla="*/ 10 w 21"/>
              <a:gd name="T7" fmla="*/ 20 h 21"/>
              <a:gd name="T8" fmla="*/ 3 w 21"/>
              <a:gd name="T9" fmla="*/ 17 h 21"/>
              <a:gd name="T10" fmla="*/ 1 w 21"/>
              <a:gd name="T11" fmla="*/ 10 h 21"/>
              <a:gd name="T12" fmla="*/ 3 w 21"/>
              <a:gd name="T13" fmla="*/ 3 h 21"/>
              <a:gd name="T14" fmla="*/ 10 w 21"/>
              <a:gd name="T15" fmla="*/ 1 h 21"/>
              <a:gd name="T16" fmla="*/ 17 w 21"/>
              <a:gd name="T17" fmla="*/ 3 h 21"/>
              <a:gd name="T18" fmla="*/ 20 w 21"/>
              <a:gd name="T19" fmla="*/ 10 h 21"/>
              <a:gd name="T20" fmla="*/ 21 w 21"/>
              <a:gd name="T21" fmla="*/ 10 h 21"/>
              <a:gd name="T22" fmla="*/ 21 w 21"/>
              <a:gd name="T23" fmla="*/ 10 h 21"/>
              <a:gd name="T24" fmla="*/ 10 w 21"/>
              <a:gd name="T25" fmla="*/ 0 h 21"/>
              <a:gd name="T26" fmla="*/ 0 w 21"/>
              <a:gd name="T27" fmla="*/ 10 h 21"/>
              <a:gd name="T28" fmla="*/ 10 w 21"/>
              <a:gd name="T29" fmla="*/ 21 h 21"/>
              <a:gd name="T30" fmla="*/ 21 w 21"/>
              <a:gd name="T31" fmla="*/ 1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1">
                <a:moveTo>
                  <a:pt x="21" y="10"/>
                </a:moveTo>
                <a:cubicBezTo>
                  <a:pt x="20" y="10"/>
                  <a:pt x="20" y="10"/>
                  <a:pt x="20" y="10"/>
                </a:cubicBezTo>
                <a:cubicBezTo>
                  <a:pt x="20" y="13"/>
                  <a:pt x="19" y="16"/>
                  <a:pt x="17" y="17"/>
                </a:cubicBezTo>
                <a:cubicBezTo>
                  <a:pt x="16" y="19"/>
                  <a:pt x="13" y="20"/>
                  <a:pt x="10" y="20"/>
                </a:cubicBezTo>
                <a:cubicBezTo>
                  <a:pt x="8" y="20"/>
                  <a:pt x="5" y="19"/>
                  <a:pt x="3" y="17"/>
                </a:cubicBezTo>
                <a:cubicBezTo>
                  <a:pt x="2" y="16"/>
                  <a:pt x="1" y="13"/>
                  <a:pt x="1" y="10"/>
                </a:cubicBezTo>
                <a:cubicBezTo>
                  <a:pt x="1" y="8"/>
                  <a:pt x="2" y="5"/>
                  <a:pt x="3" y="3"/>
                </a:cubicBezTo>
                <a:cubicBezTo>
                  <a:pt x="5" y="2"/>
                  <a:pt x="8" y="1"/>
                  <a:pt x="10" y="1"/>
                </a:cubicBezTo>
                <a:cubicBezTo>
                  <a:pt x="13" y="1"/>
                  <a:pt x="16" y="2"/>
                  <a:pt x="17" y="3"/>
                </a:cubicBezTo>
                <a:cubicBezTo>
                  <a:pt x="19" y="5"/>
                  <a:pt x="20" y="8"/>
                  <a:pt x="20" y="10"/>
                </a:cubicBezTo>
                <a:cubicBezTo>
                  <a:pt x="21" y="10"/>
                  <a:pt x="21" y="10"/>
                  <a:pt x="21" y="10"/>
                </a:cubicBezTo>
                <a:cubicBezTo>
                  <a:pt x="21" y="10"/>
                  <a:pt x="21" y="10"/>
                  <a:pt x="21" y="10"/>
                </a:cubicBezTo>
                <a:cubicBezTo>
                  <a:pt x="21" y="5"/>
                  <a:pt x="16" y="0"/>
                  <a:pt x="10" y="0"/>
                </a:cubicBezTo>
                <a:cubicBezTo>
                  <a:pt x="5" y="0"/>
                  <a:pt x="0" y="5"/>
                  <a:pt x="0" y="10"/>
                </a:cubicBezTo>
                <a:cubicBezTo>
                  <a:pt x="0" y="16"/>
                  <a:pt x="5" y="21"/>
                  <a:pt x="10" y="21"/>
                </a:cubicBezTo>
                <a:cubicBezTo>
                  <a:pt x="16" y="21"/>
                  <a:pt x="21" y="16"/>
                  <a:pt x="21" y="1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3" name="Oval 145">
            <a:extLst>
              <a:ext uri="{FF2B5EF4-FFF2-40B4-BE49-F238E27FC236}">
                <a16:creationId xmlns:a16="http://schemas.microsoft.com/office/drawing/2014/main" id="{29E02E9D-5ED8-4823-91AF-2E422D1C61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423" y="3515773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4" name="Freeform 146">
            <a:extLst>
              <a:ext uri="{FF2B5EF4-FFF2-40B4-BE49-F238E27FC236}">
                <a16:creationId xmlns:a16="http://schemas.microsoft.com/office/drawing/2014/main" id="{2596EDEC-8F11-4DF8-8A4D-73E5F489C659}"/>
              </a:ext>
            </a:extLst>
          </p:cNvPr>
          <p:cNvSpPr>
            <a:spLocks/>
          </p:cNvSpPr>
          <p:nvPr/>
        </p:nvSpPr>
        <p:spPr bwMode="auto">
          <a:xfrm>
            <a:off x="2843423" y="3515773"/>
            <a:ext cx="73030" cy="73031"/>
          </a:xfrm>
          <a:custGeom>
            <a:avLst/>
            <a:gdLst>
              <a:gd name="T0" fmla="*/ 12 w 13"/>
              <a:gd name="T1" fmla="*/ 6 h 13"/>
              <a:gd name="T2" fmla="*/ 12 w 13"/>
              <a:gd name="T3" fmla="*/ 6 h 13"/>
              <a:gd name="T4" fmla="*/ 10 w 13"/>
              <a:gd name="T5" fmla="*/ 10 h 13"/>
              <a:gd name="T6" fmla="*/ 6 w 13"/>
              <a:gd name="T7" fmla="*/ 12 h 13"/>
              <a:gd name="T8" fmla="*/ 2 w 13"/>
              <a:gd name="T9" fmla="*/ 10 h 13"/>
              <a:gd name="T10" fmla="*/ 1 w 13"/>
              <a:gd name="T11" fmla="*/ 6 h 13"/>
              <a:gd name="T12" fmla="*/ 2 w 13"/>
              <a:gd name="T13" fmla="*/ 2 h 13"/>
              <a:gd name="T14" fmla="*/ 6 w 13"/>
              <a:gd name="T15" fmla="*/ 1 h 13"/>
              <a:gd name="T16" fmla="*/ 10 w 13"/>
              <a:gd name="T17" fmla="*/ 2 h 13"/>
              <a:gd name="T18" fmla="*/ 12 w 13"/>
              <a:gd name="T19" fmla="*/ 6 h 13"/>
              <a:gd name="T20" fmla="*/ 12 w 13"/>
              <a:gd name="T21" fmla="*/ 6 h 13"/>
              <a:gd name="T22" fmla="*/ 13 w 13"/>
              <a:gd name="T23" fmla="*/ 6 h 13"/>
              <a:gd name="T24" fmla="*/ 6 w 13"/>
              <a:gd name="T25" fmla="*/ 0 h 13"/>
              <a:gd name="T26" fmla="*/ 0 w 13"/>
              <a:gd name="T27" fmla="*/ 6 h 13"/>
              <a:gd name="T28" fmla="*/ 6 w 13"/>
              <a:gd name="T29" fmla="*/ 13 h 13"/>
              <a:gd name="T30" fmla="*/ 13 w 13"/>
              <a:gd name="T31" fmla="*/ 6 h 13"/>
              <a:gd name="T32" fmla="*/ 12 w 13"/>
              <a:gd name="T33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" h="13">
                <a:moveTo>
                  <a:pt x="12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1" y="9"/>
                  <a:pt x="10" y="10"/>
                </a:cubicBezTo>
                <a:cubicBezTo>
                  <a:pt x="9" y="11"/>
                  <a:pt x="8" y="12"/>
                  <a:pt x="6" y="12"/>
                </a:cubicBezTo>
                <a:cubicBezTo>
                  <a:pt x="5" y="12"/>
                  <a:pt x="3" y="11"/>
                  <a:pt x="2" y="10"/>
                </a:cubicBezTo>
                <a:cubicBezTo>
                  <a:pt x="1" y="9"/>
                  <a:pt x="1" y="8"/>
                  <a:pt x="1" y="6"/>
                </a:cubicBezTo>
                <a:cubicBezTo>
                  <a:pt x="1" y="5"/>
                  <a:pt x="1" y="3"/>
                  <a:pt x="2" y="2"/>
                </a:cubicBezTo>
                <a:cubicBezTo>
                  <a:pt x="3" y="1"/>
                  <a:pt x="5" y="1"/>
                  <a:pt x="6" y="1"/>
                </a:cubicBezTo>
                <a:cubicBezTo>
                  <a:pt x="8" y="1"/>
                  <a:pt x="9" y="1"/>
                  <a:pt x="10" y="2"/>
                </a:cubicBezTo>
                <a:cubicBezTo>
                  <a:pt x="11" y="3"/>
                  <a:pt x="12" y="5"/>
                  <a:pt x="12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3"/>
                  <a:pt x="10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0"/>
                  <a:pt x="3" y="13"/>
                  <a:pt x="6" y="13"/>
                </a:cubicBezTo>
                <a:cubicBezTo>
                  <a:pt x="10" y="13"/>
                  <a:pt x="13" y="10"/>
                  <a:pt x="13" y="6"/>
                </a:cubicBezTo>
                <a:lnTo>
                  <a:pt x="12" y="6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5" name="Oval 147">
            <a:extLst>
              <a:ext uri="{FF2B5EF4-FFF2-40B4-BE49-F238E27FC236}">
                <a16:creationId xmlns:a16="http://schemas.microsoft.com/office/drawing/2014/main" id="{22B2AF1E-8E43-4239-950A-C46EEB5D6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5553" y="3537903"/>
            <a:ext cx="26556" cy="287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6" name="Freeform 148">
            <a:extLst>
              <a:ext uri="{FF2B5EF4-FFF2-40B4-BE49-F238E27FC236}">
                <a16:creationId xmlns:a16="http://schemas.microsoft.com/office/drawing/2014/main" id="{320B933F-F2A9-4CEB-922B-C0A529BC6891}"/>
              </a:ext>
            </a:extLst>
          </p:cNvPr>
          <p:cNvSpPr>
            <a:spLocks/>
          </p:cNvSpPr>
          <p:nvPr/>
        </p:nvSpPr>
        <p:spPr bwMode="auto">
          <a:xfrm>
            <a:off x="2865553" y="3537903"/>
            <a:ext cx="26556" cy="28770"/>
          </a:xfrm>
          <a:custGeom>
            <a:avLst/>
            <a:gdLst>
              <a:gd name="T0" fmla="*/ 5 w 5"/>
              <a:gd name="T1" fmla="*/ 2 h 5"/>
              <a:gd name="T2" fmla="*/ 5 w 5"/>
              <a:gd name="T3" fmla="*/ 2 h 5"/>
              <a:gd name="T4" fmla="*/ 2 w 5"/>
              <a:gd name="T5" fmla="*/ 5 h 5"/>
              <a:gd name="T6" fmla="*/ 0 w 5"/>
              <a:gd name="T7" fmla="*/ 2 h 5"/>
              <a:gd name="T8" fmla="*/ 2 w 5"/>
              <a:gd name="T9" fmla="*/ 0 h 5"/>
              <a:gd name="T10" fmla="*/ 5 w 5"/>
              <a:gd name="T11" fmla="*/ 2 h 5"/>
              <a:gd name="T12" fmla="*/ 5 w 5"/>
              <a:gd name="T13" fmla="*/ 2 h 5"/>
              <a:gd name="T14" fmla="*/ 5 w 5"/>
              <a:gd name="T15" fmla="*/ 2 h 5"/>
              <a:gd name="T16" fmla="*/ 2 w 5"/>
              <a:gd name="T17" fmla="*/ 0 h 5"/>
              <a:gd name="T18" fmla="*/ 0 w 5"/>
              <a:gd name="T19" fmla="*/ 2 h 5"/>
              <a:gd name="T20" fmla="*/ 2 w 5"/>
              <a:gd name="T21" fmla="*/ 5 h 5"/>
              <a:gd name="T22" fmla="*/ 5 w 5"/>
              <a:gd name="T23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5">
                <a:moveTo>
                  <a:pt x="5" y="2"/>
                </a:moveTo>
                <a:cubicBezTo>
                  <a:pt x="5" y="2"/>
                  <a:pt x="5" y="2"/>
                  <a:pt x="5" y="2"/>
                </a:cubicBezTo>
                <a:cubicBezTo>
                  <a:pt x="5" y="4"/>
                  <a:pt x="4" y="5"/>
                  <a:pt x="2" y="5"/>
                </a:cubicBezTo>
                <a:cubicBezTo>
                  <a:pt x="1" y="5"/>
                  <a:pt x="0" y="4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4" y="0"/>
                  <a:pt x="5" y="1"/>
                  <a:pt x="5" y="2"/>
                </a:cubicBezTo>
                <a:cubicBezTo>
                  <a:pt x="5" y="2"/>
                  <a:pt x="5" y="2"/>
                  <a:pt x="5" y="2"/>
                </a:cubicBezTo>
                <a:cubicBezTo>
                  <a:pt x="5" y="2"/>
                  <a:pt x="5" y="2"/>
                  <a:pt x="5" y="2"/>
                </a:cubicBezTo>
                <a:cubicBezTo>
                  <a:pt x="5" y="1"/>
                  <a:pt x="4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4"/>
                  <a:pt x="1" y="5"/>
                  <a:pt x="2" y="5"/>
                </a:cubicBezTo>
                <a:cubicBezTo>
                  <a:pt x="4" y="5"/>
                  <a:pt x="5" y="4"/>
                  <a:pt x="5" y="2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7" name="Freeform 149">
            <a:extLst>
              <a:ext uri="{FF2B5EF4-FFF2-40B4-BE49-F238E27FC236}">
                <a16:creationId xmlns:a16="http://schemas.microsoft.com/office/drawing/2014/main" id="{3517D172-D32C-41E9-8E69-D407FF49637D}"/>
              </a:ext>
            </a:extLst>
          </p:cNvPr>
          <p:cNvSpPr>
            <a:spLocks/>
          </p:cNvSpPr>
          <p:nvPr/>
        </p:nvSpPr>
        <p:spPr bwMode="auto">
          <a:xfrm>
            <a:off x="4768753" y="2391555"/>
            <a:ext cx="223516" cy="216877"/>
          </a:xfrm>
          <a:custGeom>
            <a:avLst/>
            <a:gdLst>
              <a:gd name="T0" fmla="*/ 39 w 40"/>
              <a:gd name="T1" fmla="*/ 19 h 39"/>
              <a:gd name="T2" fmla="*/ 39 w 40"/>
              <a:gd name="T3" fmla="*/ 19 h 39"/>
              <a:gd name="T4" fmla="*/ 33 w 40"/>
              <a:gd name="T5" fmla="*/ 33 h 39"/>
              <a:gd name="T6" fmla="*/ 20 w 40"/>
              <a:gd name="T7" fmla="*/ 38 h 39"/>
              <a:gd name="T8" fmla="*/ 7 w 40"/>
              <a:gd name="T9" fmla="*/ 33 h 39"/>
              <a:gd name="T10" fmla="*/ 1 w 40"/>
              <a:gd name="T11" fmla="*/ 19 h 39"/>
              <a:gd name="T12" fmla="*/ 7 w 40"/>
              <a:gd name="T13" fmla="*/ 6 h 39"/>
              <a:gd name="T14" fmla="*/ 20 w 40"/>
              <a:gd name="T15" fmla="*/ 1 h 39"/>
              <a:gd name="T16" fmla="*/ 33 w 40"/>
              <a:gd name="T17" fmla="*/ 6 h 39"/>
              <a:gd name="T18" fmla="*/ 39 w 40"/>
              <a:gd name="T19" fmla="*/ 19 h 39"/>
              <a:gd name="T20" fmla="*/ 39 w 40"/>
              <a:gd name="T21" fmla="*/ 19 h 39"/>
              <a:gd name="T22" fmla="*/ 40 w 40"/>
              <a:gd name="T23" fmla="*/ 19 h 39"/>
              <a:gd name="T24" fmla="*/ 20 w 40"/>
              <a:gd name="T25" fmla="*/ 0 h 39"/>
              <a:gd name="T26" fmla="*/ 0 w 40"/>
              <a:gd name="T27" fmla="*/ 19 h 39"/>
              <a:gd name="T28" fmla="*/ 20 w 40"/>
              <a:gd name="T29" fmla="*/ 39 h 39"/>
              <a:gd name="T30" fmla="*/ 40 w 40"/>
              <a:gd name="T31" fmla="*/ 19 h 39"/>
              <a:gd name="T32" fmla="*/ 39 w 40"/>
              <a:gd name="T33" fmla="*/ 1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0" h="39">
                <a:moveTo>
                  <a:pt x="39" y="19"/>
                </a:moveTo>
                <a:cubicBezTo>
                  <a:pt x="39" y="19"/>
                  <a:pt x="39" y="19"/>
                  <a:pt x="39" y="19"/>
                </a:cubicBezTo>
                <a:cubicBezTo>
                  <a:pt x="39" y="25"/>
                  <a:pt x="37" y="29"/>
                  <a:pt x="33" y="33"/>
                </a:cubicBezTo>
                <a:cubicBezTo>
                  <a:pt x="30" y="36"/>
                  <a:pt x="25" y="38"/>
                  <a:pt x="20" y="38"/>
                </a:cubicBezTo>
                <a:cubicBezTo>
                  <a:pt x="15" y="38"/>
                  <a:pt x="10" y="36"/>
                  <a:pt x="7" y="33"/>
                </a:cubicBezTo>
                <a:cubicBezTo>
                  <a:pt x="3" y="29"/>
                  <a:pt x="1" y="25"/>
                  <a:pt x="1" y="19"/>
                </a:cubicBezTo>
                <a:cubicBezTo>
                  <a:pt x="1" y="14"/>
                  <a:pt x="3" y="10"/>
                  <a:pt x="7" y="6"/>
                </a:cubicBezTo>
                <a:cubicBezTo>
                  <a:pt x="10" y="3"/>
                  <a:pt x="15" y="1"/>
                  <a:pt x="20" y="1"/>
                </a:cubicBezTo>
                <a:cubicBezTo>
                  <a:pt x="25" y="1"/>
                  <a:pt x="30" y="3"/>
                  <a:pt x="33" y="6"/>
                </a:cubicBezTo>
                <a:cubicBezTo>
                  <a:pt x="37" y="10"/>
                  <a:pt x="39" y="14"/>
                  <a:pt x="39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40" y="19"/>
                  <a:pt x="40" y="19"/>
                  <a:pt x="40" y="19"/>
                </a:cubicBezTo>
                <a:cubicBezTo>
                  <a:pt x="40" y="9"/>
                  <a:pt x="31" y="0"/>
                  <a:pt x="20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30"/>
                  <a:pt x="9" y="39"/>
                  <a:pt x="20" y="39"/>
                </a:cubicBezTo>
                <a:cubicBezTo>
                  <a:pt x="31" y="39"/>
                  <a:pt x="40" y="30"/>
                  <a:pt x="40" y="19"/>
                </a:cubicBezTo>
                <a:lnTo>
                  <a:pt x="39" y="19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8" name="Freeform 150">
            <a:extLst>
              <a:ext uri="{FF2B5EF4-FFF2-40B4-BE49-F238E27FC236}">
                <a16:creationId xmlns:a16="http://schemas.microsoft.com/office/drawing/2014/main" id="{A778E48D-AD2E-490D-82B2-988D48F62AAA}"/>
              </a:ext>
            </a:extLst>
          </p:cNvPr>
          <p:cNvSpPr>
            <a:spLocks/>
          </p:cNvSpPr>
          <p:nvPr/>
        </p:nvSpPr>
        <p:spPr bwMode="auto">
          <a:xfrm>
            <a:off x="4795310" y="2418111"/>
            <a:ext cx="168190" cy="163764"/>
          </a:xfrm>
          <a:custGeom>
            <a:avLst/>
            <a:gdLst>
              <a:gd name="T0" fmla="*/ 29 w 30"/>
              <a:gd name="T1" fmla="*/ 14 h 29"/>
              <a:gd name="T2" fmla="*/ 29 w 30"/>
              <a:gd name="T3" fmla="*/ 14 h 29"/>
              <a:gd name="T4" fmla="*/ 25 w 30"/>
              <a:gd name="T5" fmla="*/ 24 h 29"/>
              <a:gd name="T6" fmla="*/ 15 w 30"/>
              <a:gd name="T7" fmla="*/ 29 h 29"/>
              <a:gd name="T8" fmla="*/ 5 w 30"/>
              <a:gd name="T9" fmla="*/ 24 h 29"/>
              <a:gd name="T10" fmla="*/ 1 w 30"/>
              <a:gd name="T11" fmla="*/ 14 h 29"/>
              <a:gd name="T12" fmla="*/ 5 w 30"/>
              <a:gd name="T13" fmla="*/ 5 h 29"/>
              <a:gd name="T14" fmla="*/ 15 w 30"/>
              <a:gd name="T15" fmla="*/ 0 h 29"/>
              <a:gd name="T16" fmla="*/ 25 w 30"/>
              <a:gd name="T17" fmla="*/ 5 h 29"/>
              <a:gd name="T18" fmla="*/ 29 w 30"/>
              <a:gd name="T19" fmla="*/ 14 h 29"/>
              <a:gd name="T20" fmla="*/ 29 w 30"/>
              <a:gd name="T21" fmla="*/ 14 h 29"/>
              <a:gd name="T22" fmla="*/ 30 w 30"/>
              <a:gd name="T23" fmla="*/ 14 h 29"/>
              <a:gd name="T24" fmla="*/ 15 w 30"/>
              <a:gd name="T25" fmla="*/ 0 h 29"/>
              <a:gd name="T26" fmla="*/ 0 w 30"/>
              <a:gd name="T27" fmla="*/ 14 h 29"/>
              <a:gd name="T28" fmla="*/ 15 w 30"/>
              <a:gd name="T29" fmla="*/ 29 h 29"/>
              <a:gd name="T30" fmla="*/ 30 w 30"/>
              <a:gd name="T31" fmla="*/ 14 h 29"/>
              <a:gd name="T32" fmla="*/ 29 w 30"/>
              <a:gd name="T33" fmla="*/ 1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29">
                <a:moveTo>
                  <a:pt x="29" y="14"/>
                </a:moveTo>
                <a:cubicBezTo>
                  <a:pt x="29" y="14"/>
                  <a:pt x="29" y="14"/>
                  <a:pt x="29" y="14"/>
                </a:cubicBezTo>
                <a:cubicBezTo>
                  <a:pt x="29" y="18"/>
                  <a:pt x="27" y="22"/>
                  <a:pt x="25" y="24"/>
                </a:cubicBezTo>
                <a:cubicBezTo>
                  <a:pt x="22" y="27"/>
                  <a:pt x="19" y="29"/>
                  <a:pt x="15" y="29"/>
                </a:cubicBezTo>
                <a:cubicBezTo>
                  <a:pt x="11" y="29"/>
                  <a:pt x="8" y="27"/>
                  <a:pt x="5" y="24"/>
                </a:cubicBezTo>
                <a:cubicBezTo>
                  <a:pt x="3" y="22"/>
                  <a:pt x="1" y="18"/>
                  <a:pt x="1" y="14"/>
                </a:cubicBezTo>
                <a:cubicBezTo>
                  <a:pt x="1" y="11"/>
                  <a:pt x="3" y="7"/>
                  <a:pt x="5" y="5"/>
                </a:cubicBezTo>
                <a:cubicBezTo>
                  <a:pt x="8" y="2"/>
                  <a:pt x="11" y="0"/>
                  <a:pt x="15" y="0"/>
                </a:cubicBezTo>
                <a:cubicBezTo>
                  <a:pt x="19" y="0"/>
                  <a:pt x="22" y="2"/>
                  <a:pt x="25" y="5"/>
                </a:cubicBezTo>
                <a:cubicBezTo>
                  <a:pt x="27" y="7"/>
                  <a:pt x="29" y="11"/>
                  <a:pt x="29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30" y="6"/>
                  <a:pt x="23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23"/>
                  <a:pt x="7" y="29"/>
                  <a:pt x="15" y="29"/>
                </a:cubicBezTo>
                <a:cubicBezTo>
                  <a:pt x="23" y="29"/>
                  <a:pt x="30" y="23"/>
                  <a:pt x="30" y="14"/>
                </a:cubicBezTo>
                <a:lnTo>
                  <a:pt x="29" y="14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9" name="Freeform 151">
            <a:extLst>
              <a:ext uri="{FF2B5EF4-FFF2-40B4-BE49-F238E27FC236}">
                <a16:creationId xmlns:a16="http://schemas.microsoft.com/office/drawing/2014/main" id="{A868D2A3-1026-41C9-8550-5549A5C1EB32}"/>
              </a:ext>
            </a:extLst>
          </p:cNvPr>
          <p:cNvSpPr>
            <a:spLocks/>
          </p:cNvSpPr>
          <p:nvPr/>
        </p:nvSpPr>
        <p:spPr bwMode="auto">
          <a:xfrm>
            <a:off x="4817440" y="2440242"/>
            <a:ext cx="123929" cy="117291"/>
          </a:xfrm>
          <a:custGeom>
            <a:avLst/>
            <a:gdLst>
              <a:gd name="T0" fmla="*/ 21 w 22"/>
              <a:gd name="T1" fmla="*/ 10 h 21"/>
              <a:gd name="T2" fmla="*/ 21 w 22"/>
              <a:gd name="T3" fmla="*/ 10 h 21"/>
              <a:gd name="T4" fmla="*/ 18 w 22"/>
              <a:gd name="T5" fmla="*/ 17 h 21"/>
              <a:gd name="T6" fmla="*/ 11 w 22"/>
              <a:gd name="T7" fmla="*/ 20 h 21"/>
              <a:gd name="T8" fmla="*/ 4 w 22"/>
              <a:gd name="T9" fmla="*/ 17 h 21"/>
              <a:gd name="T10" fmla="*/ 1 w 22"/>
              <a:gd name="T11" fmla="*/ 10 h 21"/>
              <a:gd name="T12" fmla="*/ 4 w 22"/>
              <a:gd name="T13" fmla="*/ 3 h 21"/>
              <a:gd name="T14" fmla="*/ 11 w 22"/>
              <a:gd name="T15" fmla="*/ 1 h 21"/>
              <a:gd name="T16" fmla="*/ 18 w 22"/>
              <a:gd name="T17" fmla="*/ 3 h 21"/>
              <a:gd name="T18" fmla="*/ 21 w 22"/>
              <a:gd name="T19" fmla="*/ 10 h 21"/>
              <a:gd name="T20" fmla="*/ 21 w 22"/>
              <a:gd name="T21" fmla="*/ 10 h 21"/>
              <a:gd name="T22" fmla="*/ 22 w 22"/>
              <a:gd name="T23" fmla="*/ 10 h 21"/>
              <a:gd name="T24" fmla="*/ 11 w 22"/>
              <a:gd name="T25" fmla="*/ 0 h 21"/>
              <a:gd name="T26" fmla="*/ 0 w 22"/>
              <a:gd name="T27" fmla="*/ 10 h 21"/>
              <a:gd name="T28" fmla="*/ 11 w 22"/>
              <a:gd name="T29" fmla="*/ 21 h 21"/>
              <a:gd name="T30" fmla="*/ 22 w 22"/>
              <a:gd name="T31" fmla="*/ 10 h 21"/>
              <a:gd name="T32" fmla="*/ 21 w 22"/>
              <a:gd name="T33" fmla="*/ 1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" h="21">
                <a:moveTo>
                  <a:pt x="21" y="10"/>
                </a:moveTo>
                <a:cubicBezTo>
                  <a:pt x="21" y="10"/>
                  <a:pt x="21" y="10"/>
                  <a:pt x="21" y="10"/>
                </a:cubicBezTo>
                <a:cubicBezTo>
                  <a:pt x="21" y="13"/>
                  <a:pt x="20" y="16"/>
                  <a:pt x="18" y="17"/>
                </a:cubicBezTo>
                <a:cubicBezTo>
                  <a:pt x="16" y="19"/>
                  <a:pt x="14" y="20"/>
                  <a:pt x="11" y="20"/>
                </a:cubicBezTo>
                <a:cubicBezTo>
                  <a:pt x="8" y="20"/>
                  <a:pt x="6" y="19"/>
                  <a:pt x="4" y="17"/>
                </a:cubicBezTo>
                <a:cubicBezTo>
                  <a:pt x="2" y="16"/>
                  <a:pt x="1" y="13"/>
                  <a:pt x="1" y="10"/>
                </a:cubicBezTo>
                <a:cubicBezTo>
                  <a:pt x="1" y="8"/>
                  <a:pt x="2" y="5"/>
                  <a:pt x="4" y="3"/>
                </a:cubicBezTo>
                <a:cubicBezTo>
                  <a:pt x="6" y="2"/>
                  <a:pt x="8" y="1"/>
                  <a:pt x="11" y="1"/>
                </a:cubicBezTo>
                <a:cubicBezTo>
                  <a:pt x="14" y="1"/>
                  <a:pt x="16" y="2"/>
                  <a:pt x="18" y="3"/>
                </a:cubicBezTo>
                <a:cubicBezTo>
                  <a:pt x="20" y="5"/>
                  <a:pt x="21" y="8"/>
                  <a:pt x="21" y="10"/>
                </a:cubicBezTo>
                <a:cubicBezTo>
                  <a:pt x="21" y="10"/>
                  <a:pt x="21" y="10"/>
                  <a:pt x="21" y="10"/>
                </a:cubicBezTo>
                <a:cubicBezTo>
                  <a:pt x="22" y="10"/>
                  <a:pt x="22" y="10"/>
                  <a:pt x="22" y="10"/>
                </a:cubicBezTo>
                <a:cubicBezTo>
                  <a:pt x="22" y="5"/>
                  <a:pt x="17" y="0"/>
                  <a:pt x="11" y="0"/>
                </a:cubicBezTo>
                <a:cubicBezTo>
                  <a:pt x="5" y="0"/>
                  <a:pt x="0" y="5"/>
                  <a:pt x="0" y="10"/>
                </a:cubicBezTo>
                <a:cubicBezTo>
                  <a:pt x="0" y="16"/>
                  <a:pt x="5" y="21"/>
                  <a:pt x="11" y="21"/>
                </a:cubicBezTo>
                <a:cubicBezTo>
                  <a:pt x="17" y="21"/>
                  <a:pt x="22" y="16"/>
                  <a:pt x="22" y="10"/>
                </a:cubicBezTo>
                <a:lnTo>
                  <a:pt x="21" y="10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0" name="Oval 152">
            <a:extLst>
              <a:ext uri="{FF2B5EF4-FFF2-40B4-BE49-F238E27FC236}">
                <a16:creationId xmlns:a16="http://schemas.microsoft.com/office/drawing/2014/main" id="{44D70591-4BD0-4866-91CF-6F4E2BCAC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6210" y="2462372"/>
            <a:ext cx="66391" cy="7303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1" name="Freeform 153">
            <a:extLst>
              <a:ext uri="{FF2B5EF4-FFF2-40B4-BE49-F238E27FC236}">
                <a16:creationId xmlns:a16="http://schemas.microsoft.com/office/drawing/2014/main" id="{56FAFE07-788F-428F-95EE-1AF81BD2A849}"/>
              </a:ext>
            </a:extLst>
          </p:cNvPr>
          <p:cNvSpPr>
            <a:spLocks/>
          </p:cNvSpPr>
          <p:nvPr/>
        </p:nvSpPr>
        <p:spPr bwMode="auto">
          <a:xfrm>
            <a:off x="4846210" y="2462372"/>
            <a:ext cx="66391" cy="73031"/>
          </a:xfrm>
          <a:custGeom>
            <a:avLst/>
            <a:gdLst>
              <a:gd name="T0" fmla="*/ 12 w 12"/>
              <a:gd name="T1" fmla="*/ 6 h 13"/>
              <a:gd name="T2" fmla="*/ 12 w 12"/>
              <a:gd name="T3" fmla="*/ 6 h 13"/>
              <a:gd name="T4" fmla="*/ 10 w 12"/>
              <a:gd name="T5" fmla="*/ 10 h 13"/>
              <a:gd name="T6" fmla="*/ 6 w 12"/>
              <a:gd name="T7" fmla="*/ 12 h 13"/>
              <a:gd name="T8" fmla="*/ 2 w 12"/>
              <a:gd name="T9" fmla="*/ 10 h 13"/>
              <a:gd name="T10" fmla="*/ 0 w 12"/>
              <a:gd name="T11" fmla="*/ 6 h 13"/>
              <a:gd name="T12" fmla="*/ 2 w 12"/>
              <a:gd name="T13" fmla="*/ 2 h 13"/>
              <a:gd name="T14" fmla="*/ 6 w 12"/>
              <a:gd name="T15" fmla="*/ 1 h 13"/>
              <a:gd name="T16" fmla="*/ 10 w 12"/>
              <a:gd name="T17" fmla="*/ 2 h 13"/>
              <a:gd name="T18" fmla="*/ 12 w 12"/>
              <a:gd name="T19" fmla="*/ 6 h 13"/>
              <a:gd name="T20" fmla="*/ 12 w 12"/>
              <a:gd name="T21" fmla="*/ 6 h 13"/>
              <a:gd name="T22" fmla="*/ 12 w 12"/>
              <a:gd name="T23" fmla="*/ 6 h 13"/>
              <a:gd name="T24" fmla="*/ 6 w 12"/>
              <a:gd name="T25" fmla="*/ 0 h 13"/>
              <a:gd name="T26" fmla="*/ 0 w 12"/>
              <a:gd name="T27" fmla="*/ 6 h 13"/>
              <a:gd name="T28" fmla="*/ 6 w 12"/>
              <a:gd name="T29" fmla="*/ 13 h 13"/>
              <a:gd name="T30" fmla="*/ 12 w 12"/>
              <a:gd name="T31" fmla="*/ 6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" h="13">
                <a:moveTo>
                  <a:pt x="12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1" y="9"/>
                  <a:pt x="10" y="10"/>
                </a:cubicBezTo>
                <a:cubicBezTo>
                  <a:pt x="9" y="11"/>
                  <a:pt x="8" y="12"/>
                  <a:pt x="6" y="12"/>
                </a:cubicBezTo>
                <a:cubicBezTo>
                  <a:pt x="4" y="12"/>
                  <a:pt x="3" y="11"/>
                  <a:pt x="2" y="10"/>
                </a:cubicBezTo>
                <a:cubicBezTo>
                  <a:pt x="1" y="9"/>
                  <a:pt x="0" y="8"/>
                  <a:pt x="0" y="6"/>
                </a:cubicBezTo>
                <a:cubicBezTo>
                  <a:pt x="0" y="5"/>
                  <a:pt x="1" y="4"/>
                  <a:pt x="2" y="2"/>
                </a:cubicBezTo>
                <a:cubicBezTo>
                  <a:pt x="3" y="1"/>
                  <a:pt x="4" y="1"/>
                  <a:pt x="6" y="1"/>
                </a:cubicBezTo>
                <a:cubicBezTo>
                  <a:pt x="8" y="1"/>
                  <a:pt x="9" y="1"/>
                  <a:pt x="10" y="2"/>
                </a:cubicBezTo>
                <a:cubicBezTo>
                  <a:pt x="11" y="4"/>
                  <a:pt x="12" y="5"/>
                  <a:pt x="12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2" y="3"/>
                  <a:pt x="10" y="0"/>
                  <a:pt x="6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10"/>
                  <a:pt x="2" y="13"/>
                  <a:pt x="6" y="13"/>
                </a:cubicBezTo>
                <a:cubicBezTo>
                  <a:pt x="10" y="13"/>
                  <a:pt x="12" y="10"/>
                  <a:pt x="12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2" name="Oval 154">
            <a:extLst>
              <a:ext uri="{FF2B5EF4-FFF2-40B4-BE49-F238E27FC236}">
                <a16:creationId xmlns:a16="http://schemas.microsoft.com/office/drawing/2014/main" id="{24F53136-89A0-45E7-A299-C07586FB07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914" y="2486714"/>
            <a:ext cx="33196" cy="2655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3" name="Freeform 155">
            <a:extLst>
              <a:ext uri="{FF2B5EF4-FFF2-40B4-BE49-F238E27FC236}">
                <a16:creationId xmlns:a16="http://schemas.microsoft.com/office/drawing/2014/main" id="{E813FC45-7472-428D-B1C8-0AC9255D6559}"/>
              </a:ext>
            </a:extLst>
          </p:cNvPr>
          <p:cNvSpPr>
            <a:spLocks/>
          </p:cNvSpPr>
          <p:nvPr/>
        </p:nvSpPr>
        <p:spPr bwMode="auto">
          <a:xfrm>
            <a:off x="4863914" y="2486714"/>
            <a:ext cx="33196" cy="26556"/>
          </a:xfrm>
          <a:custGeom>
            <a:avLst/>
            <a:gdLst>
              <a:gd name="T0" fmla="*/ 6 w 6"/>
              <a:gd name="T1" fmla="*/ 2 h 5"/>
              <a:gd name="T2" fmla="*/ 5 w 6"/>
              <a:gd name="T3" fmla="*/ 2 h 5"/>
              <a:gd name="T4" fmla="*/ 3 w 6"/>
              <a:gd name="T5" fmla="*/ 5 h 5"/>
              <a:gd name="T6" fmla="*/ 1 w 6"/>
              <a:gd name="T7" fmla="*/ 2 h 5"/>
              <a:gd name="T8" fmla="*/ 3 w 6"/>
              <a:gd name="T9" fmla="*/ 0 h 5"/>
              <a:gd name="T10" fmla="*/ 5 w 6"/>
              <a:gd name="T11" fmla="*/ 2 h 5"/>
              <a:gd name="T12" fmla="*/ 6 w 6"/>
              <a:gd name="T13" fmla="*/ 2 h 5"/>
              <a:gd name="T14" fmla="*/ 6 w 6"/>
              <a:gd name="T15" fmla="*/ 2 h 5"/>
              <a:gd name="T16" fmla="*/ 3 w 6"/>
              <a:gd name="T17" fmla="*/ 0 h 5"/>
              <a:gd name="T18" fmla="*/ 0 w 6"/>
              <a:gd name="T19" fmla="*/ 2 h 5"/>
              <a:gd name="T20" fmla="*/ 3 w 6"/>
              <a:gd name="T21" fmla="*/ 5 h 5"/>
              <a:gd name="T22" fmla="*/ 6 w 6"/>
              <a:gd name="T23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5">
                <a:moveTo>
                  <a:pt x="6" y="2"/>
                </a:moveTo>
                <a:cubicBezTo>
                  <a:pt x="5" y="2"/>
                  <a:pt x="5" y="2"/>
                  <a:pt x="5" y="2"/>
                </a:cubicBezTo>
                <a:cubicBezTo>
                  <a:pt x="5" y="4"/>
                  <a:pt x="4" y="5"/>
                  <a:pt x="3" y="5"/>
                </a:cubicBezTo>
                <a:cubicBezTo>
                  <a:pt x="2" y="5"/>
                  <a:pt x="1" y="4"/>
                  <a:pt x="1" y="2"/>
                </a:cubicBezTo>
                <a:cubicBezTo>
                  <a:pt x="1" y="1"/>
                  <a:pt x="2" y="0"/>
                  <a:pt x="3" y="0"/>
                </a:cubicBezTo>
                <a:cubicBezTo>
                  <a:pt x="4" y="0"/>
                  <a:pt x="5" y="1"/>
                  <a:pt x="5" y="2"/>
                </a:cubicBezTo>
                <a:cubicBezTo>
                  <a:pt x="6" y="2"/>
                  <a:pt x="6" y="2"/>
                  <a:pt x="6" y="2"/>
                </a:cubicBezTo>
                <a:cubicBezTo>
                  <a:pt x="6" y="2"/>
                  <a:pt x="6" y="2"/>
                  <a:pt x="6" y="2"/>
                </a:cubicBezTo>
                <a:cubicBezTo>
                  <a:pt x="6" y="1"/>
                  <a:pt x="5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4"/>
                  <a:pt x="1" y="5"/>
                  <a:pt x="3" y="5"/>
                </a:cubicBezTo>
                <a:cubicBezTo>
                  <a:pt x="5" y="5"/>
                  <a:pt x="6" y="4"/>
                  <a:pt x="6" y="2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4" name="Freeform 156">
            <a:extLst>
              <a:ext uri="{FF2B5EF4-FFF2-40B4-BE49-F238E27FC236}">
                <a16:creationId xmlns:a16="http://schemas.microsoft.com/office/drawing/2014/main" id="{0990F1CE-BF43-4C32-AF86-5820BCFD913D}"/>
              </a:ext>
            </a:extLst>
          </p:cNvPr>
          <p:cNvSpPr>
            <a:spLocks/>
          </p:cNvSpPr>
          <p:nvPr/>
        </p:nvSpPr>
        <p:spPr bwMode="auto">
          <a:xfrm>
            <a:off x="3166525" y="2491141"/>
            <a:ext cx="219090" cy="223516"/>
          </a:xfrm>
          <a:custGeom>
            <a:avLst/>
            <a:gdLst>
              <a:gd name="T0" fmla="*/ 39 w 39"/>
              <a:gd name="T1" fmla="*/ 20 h 40"/>
              <a:gd name="T2" fmla="*/ 38 w 39"/>
              <a:gd name="T3" fmla="*/ 20 h 40"/>
              <a:gd name="T4" fmla="*/ 33 w 39"/>
              <a:gd name="T5" fmla="*/ 33 h 40"/>
              <a:gd name="T6" fmla="*/ 20 w 39"/>
              <a:gd name="T7" fmla="*/ 39 h 40"/>
              <a:gd name="T8" fmla="*/ 6 w 39"/>
              <a:gd name="T9" fmla="*/ 33 h 40"/>
              <a:gd name="T10" fmla="*/ 1 w 39"/>
              <a:gd name="T11" fmla="*/ 20 h 40"/>
              <a:gd name="T12" fmla="*/ 6 w 39"/>
              <a:gd name="T13" fmla="*/ 7 h 40"/>
              <a:gd name="T14" fmla="*/ 20 w 39"/>
              <a:gd name="T15" fmla="*/ 1 h 40"/>
              <a:gd name="T16" fmla="*/ 33 w 39"/>
              <a:gd name="T17" fmla="*/ 7 h 40"/>
              <a:gd name="T18" fmla="*/ 38 w 39"/>
              <a:gd name="T19" fmla="*/ 20 h 40"/>
              <a:gd name="T20" fmla="*/ 39 w 39"/>
              <a:gd name="T21" fmla="*/ 20 h 40"/>
              <a:gd name="T22" fmla="*/ 39 w 39"/>
              <a:gd name="T23" fmla="*/ 20 h 40"/>
              <a:gd name="T24" fmla="*/ 20 w 39"/>
              <a:gd name="T25" fmla="*/ 0 h 40"/>
              <a:gd name="T26" fmla="*/ 0 w 39"/>
              <a:gd name="T27" fmla="*/ 20 h 40"/>
              <a:gd name="T28" fmla="*/ 20 w 39"/>
              <a:gd name="T29" fmla="*/ 40 h 40"/>
              <a:gd name="T30" fmla="*/ 39 w 39"/>
              <a:gd name="T3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0">
                <a:moveTo>
                  <a:pt x="39" y="20"/>
                </a:moveTo>
                <a:cubicBezTo>
                  <a:pt x="38" y="20"/>
                  <a:pt x="38" y="20"/>
                  <a:pt x="38" y="20"/>
                </a:cubicBezTo>
                <a:cubicBezTo>
                  <a:pt x="38" y="25"/>
                  <a:pt x="36" y="30"/>
                  <a:pt x="33" y="33"/>
                </a:cubicBezTo>
                <a:cubicBezTo>
                  <a:pt x="29" y="37"/>
                  <a:pt x="25" y="39"/>
                  <a:pt x="20" y="39"/>
                </a:cubicBezTo>
                <a:cubicBezTo>
                  <a:pt x="14" y="39"/>
                  <a:pt x="10" y="37"/>
                  <a:pt x="6" y="33"/>
                </a:cubicBezTo>
                <a:cubicBezTo>
                  <a:pt x="3" y="30"/>
                  <a:pt x="1" y="25"/>
                  <a:pt x="1" y="20"/>
                </a:cubicBezTo>
                <a:cubicBezTo>
                  <a:pt x="1" y="15"/>
                  <a:pt x="3" y="10"/>
                  <a:pt x="6" y="7"/>
                </a:cubicBezTo>
                <a:cubicBezTo>
                  <a:pt x="10" y="3"/>
                  <a:pt x="14" y="1"/>
                  <a:pt x="20" y="1"/>
                </a:cubicBezTo>
                <a:cubicBezTo>
                  <a:pt x="25" y="1"/>
                  <a:pt x="29" y="3"/>
                  <a:pt x="33" y="7"/>
                </a:cubicBezTo>
                <a:cubicBezTo>
                  <a:pt x="36" y="10"/>
                  <a:pt x="38" y="15"/>
                  <a:pt x="38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9"/>
                  <a:pt x="3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ubicBezTo>
                  <a:pt x="30" y="40"/>
                  <a:pt x="39" y="31"/>
                  <a:pt x="39" y="2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5" name="Freeform 157">
            <a:extLst>
              <a:ext uri="{FF2B5EF4-FFF2-40B4-BE49-F238E27FC236}">
                <a16:creationId xmlns:a16="http://schemas.microsoft.com/office/drawing/2014/main" id="{6B952A23-A045-4C48-88D5-C1B88E422C78}"/>
              </a:ext>
            </a:extLst>
          </p:cNvPr>
          <p:cNvSpPr>
            <a:spLocks/>
          </p:cNvSpPr>
          <p:nvPr/>
        </p:nvSpPr>
        <p:spPr bwMode="auto">
          <a:xfrm>
            <a:off x="3195295" y="2519911"/>
            <a:ext cx="161551" cy="168190"/>
          </a:xfrm>
          <a:custGeom>
            <a:avLst/>
            <a:gdLst>
              <a:gd name="T0" fmla="*/ 29 w 29"/>
              <a:gd name="T1" fmla="*/ 15 h 30"/>
              <a:gd name="T2" fmla="*/ 29 w 29"/>
              <a:gd name="T3" fmla="*/ 15 h 30"/>
              <a:gd name="T4" fmla="*/ 25 w 29"/>
              <a:gd name="T5" fmla="*/ 25 h 30"/>
              <a:gd name="T6" fmla="*/ 15 w 29"/>
              <a:gd name="T7" fmla="*/ 29 h 30"/>
              <a:gd name="T8" fmla="*/ 5 w 29"/>
              <a:gd name="T9" fmla="*/ 25 h 30"/>
              <a:gd name="T10" fmla="*/ 0 w 29"/>
              <a:gd name="T11" fmla="*/ 15 h 30"/>
              <a:gd name="T12" fmla="*/ 5 w 29"/>
              <a:gd name="T13" fmla="*/ 5 h 30"/>
              <a:gd name="T14" fmla="*/ 15 w 29"/>
              <a:gd name="T15" fmla="*/ 1 h 30"/>
              <a:gd name="T16" fmla="*/ 25 w 29"/>
              <a:gd name="T17" fmla="*/ 5 h 30"/>
              <a:gd name="T18" fmla="*/ 29 w 29"/>
              <a:gd name="T19" fmla="*/ 15 h 30"/>
              <a:gd name="T20" fmla="*/ 29 w 29"/>
              <a:gd name="T21" fmla="*/ 15 h 30"/>
              <a:gd name="T22" fmla="*/ 29 w 29"/>
              <a:gd name="T23" fmla="*/ 15 h 30"/>
              <a:gd name="T24" fmla="*/ 15 w 29"/>
              <a:gd name="T25" fmla="*/ 0 h 30"/>
              <a:gd name="T26" fmla="*/ 0 w 29"/>
              <a:gd name="T27" fmla="*/ 15 h 30"/>
              <a:gd name="T28" fmla="*/ 15 w 29"/>
              <a:gd name="T29" fmla="*/ 30 h 30"/>
              <a:gd name="T30" fmla="*/ 29 w 29"/>
              <a:gd name="T31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9" h="30">
                <a:moveTo>
                  <a:pt x="29" y="15"/>
                </a:moveTo>
                <a:cubicBezTo>
                  <a:pt x="29" y="15"/>
                  <a:pt x="29" y="15"/>
                  <a:pt x="29" y="15"/>
                </a:cubicBezTo>
                <a:cubicBezTo>
                  <a:pt x="29" y="19"/>
                  <a:pt x="27" y="22"/>
                  <a:pt x="25" y="25"/>
                </a:cubicBezTo>
                <a:cubicBezTo>
                  <a:pt x="22" y="27"/>
                  <a:pt x="18" y="29"/>
                  <a:pt x="15" y="29"/>
                </a:cubicBezTo>
                <a:cubicBezTo>
                  <a:pt x="11" y="29"/>
                  <a:pt x="7" y="27"/>
                  <a:pt x="5" y="25"/>
                </a:cubicBezTo>
                <a:cubicBezTo>
                  <a:pt x="2" y="22"/>
                  <a:pt x="0" y="19"/>
                  <a:pt x="0" y="15"/>
                </a:cubicBezTo>
                <a:cubicBezTo>
                  <a:pt x="0" y="11"/>
                  <a:pt x="2" y="8"/>
                  <a:pt x="5" y="5"/>
                </a:cubicBezTo>
                <a:cubicBezTo>
                  <a:pt x="7" y="2"/>
                  <a:pt x="11" y="1"/>
                  <a:pt x="15" y="1"/>
                </a:cubicBezTo>
                <a:cubicBezTo>
                  <a:pt x="18" y="1"/>
                  <a:pt x="22" y="2"/>
                  <a:pt x="25" y="5"/>
                </a:cubicBezTo>
                <a:cubicBezTo>
                  <a:pt x="27" y="8"/>
                  <a:pt x="29" y="11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7"/>
                  <a:pt x="23" y="0"/>
                  <a:pt x="15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23"/>
                  <a:pt x="6" y="30"/>
                  <a:pt x="15" y="30"/>
                </a:cubicBezTo>
                <a:cubicBezTo>
                  <a:pt x="23" y="30"/>
                  <a:pt x="29" y="23"/>
                  <a:pt x="29" y="15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6" name="Freeform 158">
            <a:extLst>
              <a:ext uri="{FF2B5EF4-FFF2-40B4-BE49-F238E27FC236}">
                <a16:creationId xmlns:a16="http://schemas.microsoft.com/office/drawing/2014/main" id="{4907916F-1051-4E28-B694-17550F9A7E00}"/>
              </a:ext>
            </a:extLst>
          </p:cNvPr>
          <p:cNvSpPr>
            <a:spLocks/>
          </p:cNvSpPr>
          <p:nvPr/>
        </p:nvSpPr>
        <p:spPr bwMode="auto">
          <a:xfrm>
            <a:off x="3217425" y="2542041"/>
            <a:ext cx="117291" cy="123929"/>
          </a:xfrm>
          <a:custGeom>
            <a:avLst/>
            <a:gdLst>
              <a:gd name="T0" fmla="*/ 21 w 21"/>
              <a:gd name="T1" fmla="*/ 11 h 22"/>
              <a:gd name="T2" fmla="*/ 20 w 21"/>
              <a:gd name="T3" fmla="*/ 11 h 22"/>
              <a:gd name="T4" fmla="*/ 18 w 21"/>
              <a:gd name="T5" fmla="*/ 18 h 22"/>
              <a:gd name="T6" fmla="*/ 11 w 21"/>
              <a:gd name="T7" fmla="*/ 21 h 22"/>
              <a:gd name="T8" fmla="*/ 4 w 21"/>
              <a:gd name="T9" fmla="*/ 18 h 22"/>
              <a:gd name="T10" fmla="*/ 1 w 21"/>
              <a:gd name="T11" fmla="*/ 11 h 22"/>
              <a:gd name="T12" fmla="*/ 4 w 21"/>
              <a:gd name="T13" fmla="*/ 4 h 22"/>
              <a:gd name="T14" fmla="*/ 11 w 21"/>
              <a:gd name="T15" fmla="*/ 1 h 22"/>
              <a:gd name="T16" fmla="*/ 18 w 21"/>
              <a:gd name="T17" fmla="*/ 4 h 22"/>
              <a:gd name="T18" fmla="*/ 20 w 21"/>
              <a:gd name="T19" fmla="*/ 11 h 22"/>
              <a:gd name="T20" fmla="*/ 21 w 21"/>
              <a:gd name="T21" fmla="*/ 11 h 22"/>
              <a:gd name="T22" fmla="*/ 21 w 21"/>
              <a:gd name="T23" fmla="*/ 11 h 22"/>
              <a:gd name="T24" fmla="*/ 11 w 21"/>
              <a:gd name="T25" fmla="*/ 0 h 22"/>
              <a:gd name="T26" fmla="*/ 0 w 21"/>
              <a:gd name="T27" fmla="*/ 11 h 22"/>
              <a:gd name="T28" fmla="*/ 11 w 21"/>
              <a:gd name="T29" fmla="*/ 22 h 22"/>
              <a:gd name="T30" fmla="*/ 21 w 21"/>
              <a:gd name="T31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2">
                <a:moveTo>
                  <a:pt x="21" y="11"/>
                </a:moveTo>
                <a:cubicBezTo>
                  <a:pt x="20" y="11"/>
                  <a:pt x="20" y="11"/>
                  <a:pt x="20" y="11"/>
                </a:cubicBezTo>
                <a:cubicBezTo>
                  <a:pt x="20" y="14"/>
                  <a:pt x="19" y="16"/>
                  <a:pt x="18" y="18"/>
                </a:cubicBezTo>
                <a:cubicBezTo>
                  <a:pt x="16" y="20"/>
                  <a:pt x="13" y="21"/>
                  <a:pt x="11" y="21"/>
                </a:cubicBezTo>
                <a:cubicBezTo>
                  <a:pt x="8" y="21"/>
                  <a:pt x="5" y="20"/>
                  <a:pt x="4" y="18"/>
                </a:cubicBezTo>
                <a:cubicBezTo>
                  <a:pt x="2" y="16"/>
                  <a:pt x="1" y="14"/>
                  <a:pt x="1" y="11"/>
                </a:cubicBezTo>
                <a:cubicBezTo>
                  <a:pt x="1" y="8"/>
                  <a:pt x="2" y="6"/>
                  <a:pt x="4" y="4"/>
                </a:cubicBezTo>
                <a:cubicBezTo>
                  <a:pt x="5" y="2"/>
                  <a:pt x="8" y="1"/>
                  <a:pt x="11" y="1"/>
                </a:cubicBezTo>
                <a:cubicBezTo>
                  <a:pt x="13" y="1"/>
                  <a:pt x="16" y="2"/>
                  <a:pt x="18" y="4"/>
                </a:cubicBezTo>
                <a:cubicBezTo>
                  <a:pt x="19" y="6"/>
                  <a:pt x="20" y="8"/>
                  <a:pt x="20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5"/>
                  <a:pt x="16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2"/>
                  <a:pt x="11" y="22"/>
                </a:cubicBezTo>
                <a:cubicBezTo>
                  <a:pt x="16" y="22"/>
                  <a:pt x="21" y="17"/>
                  <a:pt x="21" y="11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7" name="Oval 159">
            <a:extLst>
              <a:ext uri="{FF2B5EF4-FFF2-40B4-BE49-F238E27FC236}">
                <a16:creationId xmlns:a16="http://schemas.microsoft.com/office/drawing/2014/main" id="{90656DC6-8481-4C8D-895D-AB38D30AF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6193" y="2570809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8" name="Freeform 160">
            <a:extLst>
              <a:ext uri="{FF2B5EF4-FFF2-40B4-BE49-F238E27FC236}">
                <a16:creationId xmlns:a16="http://schemas.microsoft.com/office/drawing/2014/main" id="{07CAAD4B-D997-4396-801A-3F67003B224E}"/>
              </a:ext>
            </a:extLst>
          </p:cNvPr>
          <p:cNvSpPr>
            <a:spLocks/>
          </p:cNvSpPr>
          <p:nvPr/>
        </p:nvSpPr>
        <p:spPr bwMode="auto">
          <a:xfrm>
            <a:off x="3239555" y="2570809"/>
            <a:ext cx="73030" cy="66391"/>
          </a:xfrm>
          <a:custGeom>
            <a:avLst/>
            <a:gdLst>
              <a:gd name="T0" fmla="*/ 13 w 13"/>
              <a:gd name="T1" fmla="*/ 6 h 12"/>
              <a:gd name="T2" fmla="*/ 12 w 13"/>
              <a:gd name="T3" fmla="*/ 6 h 12"/>
              <a:gd name="T4" fmla="*/ 11 w 13"/>
              <a:gd name="T5" fmla="*/ 10 h 12"/>
              <a:gd name="T6" fmla="*/ 7 w 13"/>
              <a:gd name="T7" fmla="*/ 12 h 12"/>
              <a:gd name="T8" fmla="*/ 3 w 13"/>
              <a:gd name="T9" fmla="*/ 10 h 12"/>
              <a:gd name="T10" fmla="*/ 1 w 13"/>
              <a:gd name="T11" fmla="*/ 6 h 12"/>
              <a:gd name="T12" fmla="*/ 3 w 13"/>
              <a:gd name="T13" fmla="*/ 2 h 12"/>
              <a:gd name="T14" fmla="*/ 7 w 13"/>
              <a:gd name="T15" fmla="*/ 0 h 12"/>
              <a:gd name="T16" fmla="*/ 11 w 13"/>
              <a:gd name="T17" fmla="*/ 2 h 12"/>
              <a:gd name="T18" fmla="*/ 12 w 13"/>
              <a:gd name="T19" fmla="*/ 6 h 12"/>
              <a:gd name="T20" fmla="*/ 13 w 13"/>
              <a:gd name="T21" fmla="*/ 6 h 12"/>
              <a:gd name="T22" fmla="*/ 13 w 13"/>
              <a:gd name="T23" fmla="*/ 6 h 12"/>
              <a:gd name="T24" fmla="*/ 7 w 13"/>
              <a:gd name="T25" fmla="*/ 0 h 12"/>
              <a:gd name="T26" fmla="*/ 0 w 13"/>
              <a:gd name="T27" fmla="*/ 6 h 12"/>
              <a:gd name="T28" fmla="*/ 7 w 13"/>
              <a:gd name="T29" fmla="*/ 12 h 12"/>
              <a:gd name="T30" fmla="*/ 13 w 13"/>
              <a:gd name="T3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2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4"/>
                  <a:pt x="2" y="3"/>
                  <a:pt x="3" y="2"/>
                </a:cubicBezTo>
                <a:cubicBezTo>
                  <a:pt x="4" y="1"/>
                  <a:pt x="5" y="0"/>
                  <a:pt x="7" y="0"/>
                </a:cubicBezTo>
                <a:cubicBezTo>
                  <a:pt x="8" y="0"/>
                  <a:pt x="10" y="1"/>
                  <a:pt x="11" y="2"/>
                </a:cubicBezTo>
                <a:cubicBezTo>
                  <a:pt x="12" y="3"/>
                  <a:pt x="12" y="4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2"/>
                  <a:pt x="10" y="0"/>
                  <a:pt x="7" y="0"/>
                </a:cubicBezTo>
                <a:cubicBezTo>
                  <a:pt x="3" y="0"/>
                  <a:pt x="0" y="2"/>
                  <a:pt x="0" y="6"/>
                </a:cubicBezTo>
                <a:cubicBezTo>
                  <a:pt x="0" y="10"/>
                  <a:pt x="3" y="12"/>
                  <a:pt x="7" y="12"/>
                </a:cubicBezTo>
                <a:cubicBezTo>
                  <a:pt x="10" y="12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9" name="Oval 161">
            <a:extLst>
              <a:ext uri="{FF2B5EF4-FFF2-40B4-BE49-F238E27FC236}">
                <a16:creationId xmlns:a16="http://schemas.microsoft.com/office/drawing/2014/main" id="{4B18ED8A-C9BC-4E83-ADB3-7157C5451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1685" y="2586301"/>
            <a:ext cx="28770" cy="287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0" name="Freeform 162">
            <a:extLst>
              <a:ext uri="{FF2B5EF4-FFF2-40B4-BE49-F238E27FC236}">
                <a16:creationId xmlns:a16="http://schemas.microsoft.com/office/drawing/2014/main" id="{41BA55BD-3297-4E22-8F56-820462923C78}"/>
              </a:ext>
            </a:extLst>
          </p:cNvPr>
          <p:cNvSpPr>
            <a:spLocks/>
          </p:cNvSpPr>
          <p:nvPr/>
        </p:nvSpPr>
        <p:spPr bwMode="auto">
          <a:xfrm>
            <a:off x="3261685" y="2586301"/>
            <a:ext cx="28770" cy="33196"/>
          </a:xfrm>
          <a:custGeom>
            <a:avLst/>
            <a:gdLst>
              <a:gd name="T0" fmla="*/ 5 w 5"/>
              <a:gd name="T1" fmla="*/ 3 h 6"/>
              <a:gd name="T2" fmla="*/ 5 w 5"/>
              <a:gd name="T3" fmla="*/ 3 h 6"/>
              <a:gd name="T4" fmla="*/ 3 w 5"/>
              <a:gd name="T5" fmla="*/ 5 h 6"/>
              <a:gd name="T6" fmla="*/ 0 w 5"/>
              <a:gd name="T7" fmla="*/ 3 h 6"/>
              <a:gd name="T8" fmla="*/ 3 w 5"/>
              <a:gd name="T9" fmla="*/ 1 h 6"/>
              <a:gd name="T10" fmla="*/ 5 w 5"/>
              <a:gd name="T11" fmla="*/ 3 h 6"/>
              <a:gd name="T12" fmla="*/ 5 w 5"/>
              <a:gd name="T13" fmla="*/ 3 h 6"/>
              <a:gd name="T14" fmla="*/ 5 w 5"/>
              <a:gd name="T15" fmla="*/ 3 h 6"/>
              <a:gd name="T16" fmla="*/ 3 w 5"/>
              <a:gd name="T17" fmla="*/ 0 h 6"/>
              <a:gd name="T18" fmla="*/ 0 w 5"/>
              <a:gd name="T19" fmla="*/ 3 h 6"/>
              <a:gd name="T20" fmla="*/ 3 w 5"/>
              <a:gd name="T21" fmla="*/ 6 h 6"/>
              <a:gd name="T22" fmla="*/ 5 w 5"/>
              <a:gd name="T23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6">
                <a:moveTo>
                  <a:pt x="5" y="3"/>
                </a:moveTo>
                <a:cubicBezTo>
                  <a:pt x="5" y="3"/>
                  <a:pt x="5" y="3"/>
                  <a:pt x="5" y="3"/>
                </a:cubicBezTo>
                <a:cubicBezTo>
                  <a:pt x="5" y="4"/>
                  <a:pt x="4" y="5"/>
                  <a:pt x="3" y="5"/>
                </a:cubicBezTo>
                <a:cubicBezTo>
                  <a:pt x="1" y="5"/>
                  <a:pt x="0" y="4"/>
                  <a:pt x="0" y="3"/>
                </a:cubicBezTo>
                <a:cubicBezTo>
                  <a:pt x="0" y="2"/>
                  <a:pt x="1" y="1"/>
                  <a:pt x="3" y="1"/>
                </a:cubicBezTo>
                <a:cubicBezTo>
                  <a:pt x="4" y="1"/>
                  <a:pt x="5" y="2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5" y="1"/>
                  <a:pt x="4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cubicBezTo>
                  <a:pt x="4" y="6"/>
                  <a:pt x="5" y="5"/>
                  <a:pt x="5" y="3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1" name="Freeform 163">
            <a:extLst>
              <a:ext uri="{FF2B5EF4-FFF2-40B4-BE49-F238E27FC236}">
                <a16:creationId xmlns:a16="http://schemas.microsoft.com/office/drawing/2014/main" id="{A7379FD8-97F9-4907-B5C4-258CD8840D17}"/>
              </a:ext>
            </a:extLst>
          </p:cNvPr>
          <p:cNvSpPr>
            <a:spLocks/>
          </p:cNvSpPr>
          <p:nvPr/>
        </p:nvSpPr>
        <p:spPr bwMode="auto">
          <a:xfrm>
            <a:off x="6105420" y="2637200"/>
            <a:ext cx="216876" cy="223516"/>
          </a:xfrm>
          <a:custGeom>
            <a:avLst/>
            <a:gdLst>
              <a:gd name="T0" fmla="*/ 39 w 39"/>
              <a:gd name="T1" fmla="*/ 20 h 40"/>
              <a:gd name="T2" fmla="*/ 38 w 39"/>
              <a:gd name="T3" fmla="*/ 20 h 40"/>
              <a:gd name="T4" fmla="*/ 33 w 39"/>
              <a:gd name="T5" fmla="*/ 33 h 40"/>
              <a:gd name="T6" fmla="*/ 20 w 39"/>
              <a:gd name="T7" fmla="*/ 39 h 40"/>
              <a:gd name="T8" fmla="*/ 6 w 39"/>
              <a:gd name="T9" fmla="*/ 33 h 40"/>
              <a:gd name="T10" fmla="*/ 1 w 39"/>
              <a:gd name="T11" fmla="*/ 20 h 40"/>
              <a:gd name="T12" fmla="*/ 6 w 39"/>
              <a:gd name="T13" fmla="*/ 7 h 40"/>
              <a:gd name="T14" fmla="*/ 20 w 39"/>
              <a:gd name="T15" fmla="*/ 1 h 40"/>
              <a:gd name="T16" fmla="*/ 33 w 39"/>
              <a:gd name="T17" fmla="*/ 7 h 40"/>
              <a:gd name="T18" fmla="*/ 38 w 39"/>
              <a:gd name="T19" fmla="*/ 20 h 40"/>
              <a:gd name="T20" fmla="*/ 39 w 39"/>
              <a:gd name="T21" fmla="*/ 20 h 40"/>
              <a:gd name="T22" fmla="*/ 39 w 39"/>
              <a:gd name="T23" fmla="*/ 20 h 40"/>
              <a:gd name="T24" fmla="*/ 20 w 39"/>
              <a:gd name="T25" fmla="*/ 0 h 40"/>
              <a:gd name="T26" fmla="*/ 0 w 39"/>
              <a:gd name="T27" fmla="*/ 20 h 40"/>
              <a:gd name="T28" fmla="*/ 20 w 39"/>
              <a:gd name="T29" fmla="*/ 40 h 40"/>
              <a:gd name="T30" fmla="*/ 39 w 39"/>
              <a:gd name="T3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0">
                <a:moveTo>
                  <a:pt x="39" y="20"/>
                </a:moveTo>
                <a:cubicBezTo>
                  <a:pt x="38" y="20"/>
                  <a:pt x="38" y="20"/>
                  <a:pt x="38" y="20"/>
                </a:cubicBezTo>
                <a:cubicBezTo>
                  <a:pt x="38" y="25"/>
                  <a:pt x="36" y="30"/>
                  <a:pt x="33" y="33"/>
                </a:cubicBezTo>
                <a:cubicBezTo>
                  <a:pt x="30" y="37"/>
                  <a:pt x="25" y="39"/>
                  <a:pt x="20" y="39"/>
                </a:cubicBezTo>
                <a:cubicBezTo>
                  <a:pt x="14" y="39"/>
                  <a:pt x="10" y="37"/>
                  <a:pt x="6" y="33"/>
                </a:cubicBezTo>
                <a:cubicBezTo>
                  <a:pt x="3" y="30"/>
                  <a:pt x="1" y="25"/>
                  <a:pt x="1" y="20"/>
                </a:cubicBezTo>
                <a:cubicBezTo>
                  <a:pt x="1" y="15"/>
                  <a:pt x="3" y="10"/>
                  <a:pt x="6" y="7"/>
                </a:cubicBezTo>
                <a:cubicBezTo>
                  <a:pt x="10" y="3"/>
                  <a:pt x="14" y="1"/>
                  <a:pt x="20" y="1"/>
                </a:cubicBezTo>
                <a:cubicBezTo>
                  <a:pt x="25" y="1"/>
                  <a:pt x="30" y="3"/>
                  <a:pt x="33" y="7"/>
                </a:cubicBezTo>
                <a:cubicBezTo>
                  <a:pt x="36" y="10"/>
                  <a:pt x="38" y="15"/>
                  <a:pt x="38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9"/>
                  <a:pt x="3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ubicBezTo>
                  <a:pt x="30" y="40"/>
                  <a:pt x="39" y="31"/>
                  <a:pt x="39" y="2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2" name="Freeform 164">
            <a:extLst>
              <a:ext uri="{FF2B5EF4-FFF2-40B4-BE49-F238E27FC236}">
                <a16:creationId xmlns:a16="http://schemas.microsoft.com/office/drawing/2014/main" id="{46B985F7-4836-4A5C-893C-FD4A4A53E43D}"/>
              </a:ext>
            </a:extLst>
          </p:cNvPr>
          <p:cNvSpPr>
            <a:spLocks/>
          </p:cNvSpPr>
          <p:nvPr/>
        </p:nvSpPr>
        <p:spPr bwMode="auto">
          <a:xfrm>
            <a:off x="6131976" y="2665970"/>
            <a:ext cx="168190" cy="165978"/>
          </a:xfrm>
          <a:custGeom>
            <a:avLst/>
            <a:gdLst>
              <a:gd name="T0" fmla="*/ 29 w 30"/>
              <a:gd name="T1" fmla="*/ 15 h 30"/>
              <a:gd name="T2" fmla="*/ 29 w 30"/>
              <a:gd name="T3" fmla="*/ 15 h 30"/>
              <a:gd name="T4" fmla="*/ 25 w 30"/>
              <a:gd name="T5" fmla="*/ 25 h 30"/>
              <a:gd name="T6" fmla="*/ 15 w 30"/>
              <a:gd name="T7" fmla="*/ 29 h 30"/>
              <a:gd name="T8" fmla="*/ 5 w 30"/>
              <a:gd name="T9" fmla="*/ 25 h 30"/>
              <a:gd name="T10" fmla="*/ 1 w 30"/>
              <a:gd name="T11" fmla="*/ 15 h 30"/>
              <a:gd name="T12" fmla="*/ 5 w 30"/>
              <a:gd name="T13" fmla="*/ 5 h 30"/>
              <a:gd name="T14" fmla="*/ 15 w 30"/>
              <a:gd name="T15" fmla="*/ 1 h 30"/>
              <a:gd name="T16" fmla="*/ 25 w 30"/>
              <a:gd name="T17" fmla="*/ 5 h 30"/>
              <a:gd name="T18" fmla="*/ 29 w 30"/>
              <a:gd name="T19" fmla="*/ 15 h 30"/>
              <a:gd name="T20" fmla="*/ 29 w 30"/>
              <a:gd name="T21" fmla="*/ 15 h 30"/>
              <a:gd name="T22" fmla="*/ 30 w 30"/>
              <a:gd name="T23" fmla="*/ 15 h 30"/>
              <a:gd name="T24" fmla="*/ 15 w 30"/>
              <a:gd name="T25" fmla="*/ 0 h 30"/>
              <a:gd name="T26" fmla="*/ 0 w 30"/>
              <a:gd name="T27" fmla="*/ 15 h 30"/>
              <a:gd name="T28" fmla="*/ 15 w 30"/>
              <a:gd name="T29" fmla="*/ 30 h 30"/>
              <a:gd name="T30" fmla="*/ 30 w 30"/>
              <a:gd name="T31" fmla="*/ 15 h 30"/>
              <a:gd name="T32" fmla="*/ 29 w 30"/>
              <a:gd name="T33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30">
                <a:moveTo>
                  <a:pt x="29" y="15"/>
                </a:moveTo>
                <a:cubicBezTo>
                  <a:pt x="29" y="15"/>
                  <a:pt x="29" y="15"/>
                  <a:pt x="29" y="15"/>
                </a:cubicBezTo>
                <a:cubicBezTo>
                  <a:pt x="29" y="19"/>
                  <a:pt x="27" y="22"/>
                  <a:pt x="25" y="25"/>
                </a:cubicBezTo>
                <a:cubicBezTo>
                  <a:pt x="22" y="28"/>
                  <a:pt x="19" y="29"/>
                  <a:pt x="15" y="29"/>
                </a:cubicBezTo>
                <a:cubicBezTo>
                  <a:pt x="11" y="29"/>
                  <a:pt x="7" y="28"/>
                  <a:pt x="5" y="25"/>
                </a:cubicBezTo>
                <a:cubicBezTo>
                  <a:pt x="2" y="22"/>
                  <a:pt x="1" y="19"/>
                  <a:pt x="1" y="15"/>
                </a:cubicBezTo>
                <a:cubicBezTo>
                  <a:pt x="1" y="11"/>
                  <a:pt x="2" y="8"/>
                  <a:pt x="5" y="5"/>
                </a:cubicBezTo>
                <a:cubicBezTo>
                  <a:pt x="7" y="2"/>
                  <a:pt x="11" y="1"/>
                  <a:pt x="15" y="1"/>
                </a:cubicBezTo>
                <a:cubicBezTo>
                  <a:pt x="19" y="1"/>
                  <a:pt x="22" y="2"/>
                  <a:pt x="25" y="5"/>
                </a:cubicBezTo>
                <a:cubicBezTo>
                  <a:pt x="27" y="8"/>
                  <a:pt x="29" y="11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7"/>
                  <a:pt x="23" y="0"/>
                  <a:pt x="15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23"/>
                  <a:pt x="6" y="30"/>
                  <a:pt x="15" y="30"/>
                </a:cubicBezTo>
                <a:cubicBezTo>
                  <a:pt x="23" y="30"/>
                  <a:pt x="30" y="23"/>
                  <a:pt x="30" y="15"/>
                </a:cubicBezTo>
                <a:lnTo>
                  <a:pt x="29" y="1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3" name="Freeform 165">
            <a:extLst>
              <a:ext uri="{FF2B5EF4-FFF2-40B4-BE49-F238E27FC236}">
                <a16:creationId xmlns:a16="http://schemas.microsoft.com/office/drawing/2014/main" id="{3FF86BFC-1B5C-4349-B203-B30CFCBC4965}"/>
              </a:ext>
            </a:extLst>
          </p:cNvPr>
          <p:cNvSpPr>
            <a:spLocks/>
          </p:cNvSpPr>
          <p:nvPr/>
        </p:nvSpPr>
        <p:spPr bwMode="auto">
          <a:xfrm>
            <a:off x="6156320" y="2688101"/>
            <a:ext cx="117291" cy="121717"/>
          </a:xfrm>
          <a:custGeom>
            <a:avLst/>
            <a:gdLst>
              <a:gd name="T0" fmla="*/ 21 w 21"/>
              <a:gd name="T1" fmla="*/ 11 h 22"/>
              <a:gd name="T2" fmla="*/ 21 w 21"/>
              <a:gd name="T3" fmla="*/ 11 h 22"/>
              <a:gd name="T4" fmla="*/ 18 w 21"/>
              <a:gd name="T5" fmla="*/ 18 h 22"/>
              <a:gd name="T6" fmla="*/ 11 w 21"/>
              <a:gd name="T7" fmla="*/ 21 h 22"/>
              <a:gd name="T8" fmla="*/ 4 w 21"/>
              <a:gd name="T9" fmla="*/ 18 h 22"/>
              <a:gd name="T10" fmla="*/ 1 w 21"/>
              <a:gd name="T11" fmla="*/ 11 h 22"/>
              <a:gd name="T12" fmla="*/ 4 w 21"/>
              <a:gd name="T13" fmla="*/ 4 h 22"/>
              <a:gd name="T14" fmla="*/ 11 w 21"/>
              <a:gd name="T15" fmla="*/ 1 h 22"/>
              <a:gd name="T16" fmla="*/ 18 w 21"/>
              <a:gd name="T17" fmla="*/ 4 h 22"/>
              <a:gd name="T18" fmla="*/ 21 w 21"/>
              <a:gd name="T19" fmla="*/ 11 h 22"/>
              <a:gd name="T20" fmla="*/ 21 w 21"/>
              <a:gd name="T21" fmla="*/ 11 h 22"/>
              <a:gd name="T22" fmla="*/ 21 w 21"/>
              <a:gd name="T23" fmla="*/ 11 h 22"/>
              <a:gd name="T24" fmla="*/ 11 w 21"/>
              <a:gd name="T25" fmla="*/ 0 h 22"/>
              <a:gd name="T26" fmla="*/ 0 w 21"/>
              <a:gd name="T27" fmla="*/ 11 h 22"/>
              <a:gd name="T28" fmla="*/ 11 w 21"/>
              <a:gd name="T29" fmla="*/ 22 h 22"/>
              <a:gd name="T30" fmla="*/ 21 w 21"/>
              <a:gd name="T31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2">
                <a:moveTo>
                  <a:pt x="21" y="11"/>
                </a:moveTo>
                <a:cubicBezTo>
                  <a:pt x="21" y="11"/>
                  <a:pt x="21" y="11"/>
                  <a:pt x="21" y="11"/>
                </a:cubicBezTo>
                <a:cubicBezTo>
                  <a:pt x="21" y="14"/>
                  <a:pt x="19" y="16"/>
                  <a:pt x="18" y="18"/>
                </a:cubicBezTo>
                <a:cubicBezTo>
                  <a:pt x="16" y="20"/>
                  <a:pt x="13" y="21"/>
                  <a:pt x="11" y="21"/>
                </a:cubicBezTo>
                <a:cubicBezTo>
                  <a:pt x="8" y="21"/>
                  <a:pt x="5" y="20"/>
                  <a:pt x="4" y="18"/>
                </a:cubicBezTo>
                <a:cubicBezTo>
                  <a:pt x="2" y="16"/>
                  <a:pt x="1" y="14"/>
                  <a:pt x="1" y="11"/>
                </a:cubicBezTo>
                <a:cubicBezTo>
                  <a:pt x="1" y="8"/>
                  <a:pt x="2" y="6"/>
                  <a:pt x="4" y="4"/>
                </a:cubicBezTo>
                <a:cubicBezTo>
                  <a:pt x="5" y="2"/>
                  <a:pt x="8" y="1"/>
                  <a:pt x="11" y="1"/>
                </a:cubicBezTo>
                <a:cubicBezTo>
                  <a:pt x="13" y="1"/>
                  <a:pt x="16" y="2"/>
                  <a:pt x="18" y="4"/>
                </a:cubicBezTo>
                <a:cubicBezTo>
                  <a:pt x="19" y="6"/>
                  <a:pt x="21" y="8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5"/>
                  <a:pt x="17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2"/>
                  <a:pt x="11" y="22"/>
                </a:cubicBezTo>
                <a:cubicBezTo>
                  <a:pt x="17" y="22"/>
                  <a:pt x="21" y="17"/>
                  <a:pt x="21" y="11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4" name="Oval 166">
            <a:extLst>
              <a:ext uri="{FF2B5EF4-FFF2-40B4-BE49-F238E27FC236}">
                <a16:creationId xmlns:a16="http://schemas.microsoft.com/office/drawing/2014/main" id="{AA8EA575-F7B5-4AD0-9AC2-C15396DD1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2876" y="2714657"/>
            <a:ext cx="68604" cy="6860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5" name="Freeform 167">
            <a:extLst>
              <a:ext uri="{FF2B5EF4-FFF2-40B4-BE49-F238E27FC236}">
                <a16:creationId xmlns:a16="http://schemas.microsoft.com/office/drawing/2014/main" id="{CA1AAF6A-F86B-4A53-8CD3-A48C77987F05}"/>
              </a:ext>
            </a:extLst>
          </p:cNvPr>
          <p:cNvSpPr>
            <a:spLocks/>
          </p:cNvSpPr>
          <p:nvPr/>
        </p:nvSpPr>
        <p:spPr bwMode="auto">
          <a:xfrm>
            <a:off x="6178450" y="2714657"/>
            <a:ext cx="73030" cy="68605"/>
          </a:xfrm>
          <a:custGeom>
            <a:avLst/>
            <a:gdLst>
              <a:gd name="T0" fmla="*/ 13 w 13"/>
              <a:gd name="T1" fmla="*/ 6 h 12"/>
              <a:gd name="T2" fmla="*/ 12 w 13"/>
              <a:gd name="T3" fmla="*/ 6 h 12"/>
              <a:gd name="T4" fmla="*/ 11 w 13"/>
              <a:gd name="T5" fmla="*/ 10 h 12"/>
              <a:gd name="T6" fmla="*/ 7 w 13"/>
              <a:gd name="T7" fmla="*/ 12 h 12"/>
              <a:gd name="T8" fmla="*/ 3 w 13"/>
              <a:gd name="T9" fmla="*/ 10 h 12"/>
              <a:gd name="T10" fmla="*/ 1 w 13"/>
              <a:gd name="T11" fmla="*/ 6 h 12"/>
              <a:gd name="T12" fmla="*/ 3 w 13"/>
              <a:gd name="T13" fmla="*/ 2 h 12"/>
              <a:gd name="T14" fmla="*/ 7 w 13"/>
              <a:gd name="T15" fmla="*/ 0 h 12"/>
              <a:gd name="T16" fmla="*/ 11 w 13"/>
              <a:gd name="T17" fmla="*/ 2 h 12"/>
              <a:gd name="T18" fmla="*/ 12 w 13"/>
              <a:gd name="T19" fmla="*/ 6 h 12"/>
              <a:gd name="T20" fmla="*/ 13 w 13"/>
              <a:gd name="T21" fmla="*/ 6 h 12"/>
              <a:gd name="T22" fmla="*/ 13 w 13"/>
              <a:gd name="T23" fmla="*/ 6 h 12"/>
              <a:gd name="T24" fmla="*/ 7 w 13"/>
              <a:gd name="T25" fmla="*/ 0 h 12"/>
              <a:gd name="T26" fmla="*/ 0 w 13"/>
              <a:gd name="T27" fmla="*/ 6 h 12"/>
              <a:gd name="T28" fmla="*/ 7 w 13"/>
              <a:gd name="T29" fmla="*/ 12 h 12"/>
              <a:gd name="T30" fmla="*/ 13 w 13"/>
              <a:gd name="T3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2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4"/>
                  <a:pt x="2" y="3"/>
                  <a:pt x="3" y="2"/>
                </a:cubicBezTo>
                <a:cubicBezTo>
                  <a:pt x="4" y="1"/>
                  <a:pt x="5" y="0"/>
                  <a:pt x="7" y="0"/>
                </a:cubicBezTo>
                <a:cubicBezTo>
                  <a:pt x="8" y="0"/>
                  <a:pt x="10" y="1"/>
                  <a:pt x="11" y="2"/>
                </a:cubicBezTo>
                <a:cubicBezTo>
                  <a:pt x="12" y="3"/>
                  <a:pt x="12" y="4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2"/>
                  <a:pt x="10" y="0"/>
                  <a:pt x="7" y="0"/>
                </a:cubicBezTo>
                <a:cubicBezTo>
                  <a:pt x="3" y="0"/>
                  <a:pt x="0" y="2"/>
                  <a:pt x="0" y="6"/>
                </a:cubicBezTo>
                <a:cubicBezTo>
                  <a:pt x="0" y="10"/>
                  <a:pt x="3" y="12"/>
                  <a:pt x="7" y="12"/>
                </a:cubicBezTo>
                <a:cubicBezTo>
                  <a:pt x="10" y="12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6" name="Oval 168">
            <a:extLst>
              <a:ext uri="{FF2B5EF4-FFF2-40B4-BE49-F238E27FC236}">
                <a16:creationId xmlns:a16="http://schemas.microsoft.com/office/drawing/2014/main" id="{9DEBD7B3-255A-4A24-A474-1BC558A557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580" y="2732361"/>
            <a:ext cx="26556" cy="3319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7" name="Freeform 169">
            <a:extLst>
              <a:ext uri="{FF2B5EF4-FFF2-40B4-BE49-F238E27FC236}">
                <a16:creationId xmlns:a16="http://schemas.microsoft.com/office/drawing/2014/main" id="{6C831FB0-E981-446E-B966-052991688972}"/>
              </a:ext>
            </a:extLst>
          </p:cNvPr>
          <p:cNvSpPr>
            <a:spLocks/>
          </p:cNvSpPr>
          <p:nvPr/>
        </p:nvSpPr>
        <p:spPr bwMode="auto">
          <a:xfrm>
            <a:off x="6200580" y="2732361"/>
            <a:ext cx="33196" cy="33196"/>
          </a:xfrm>
          <a:custGeom>
            <a:avLst/>
            <a:gdLst>
              <a:gd name="T0" fmla="*/ 5 w 6"/>
              <a:gd name="T1" fmla="*/ 3 h 6"/>
              <a:gd name="T2" fmla="*/ 5 w 6"/>
              <a:gd name="T3" fmla="*/ 3 h 6"/>
              <a:gd name="T4" fmla="*/ 3 w 6"/>
              <a:gd name="T5" fmla="*/ 5 h 6"/>
              <a:gd name="T6" fmla="*/ 1 w 6"/>
              <a:gd name="T7" fmla="*/ 3 h 6"/>
              <a:gd name="T8" fmla="*/ 3 w 6"/>
              <a:gd name="T9" fmla="*/ 1 h 6"/>
              <a:gd name="T10" fmla="*/ 5 w 6"/>
              <a:gd name="T11" fmla="*/ 3 h 6"/>
              <a:gd name="T12" fmla="*/ 5 w 6"/>
              <a:gd name="T13" fmla="*/ 3 h 6"/>
              <a:gd name="T14" fmla="*/ 6 w 6"/>
              <a:gd name="T15" fmla="*/ 3 h 6"/>
              <a:gd name="T16" fmla="*/ 3 w 6"/>
              <a:gd name="T17" fmla="*/ 0 h 6"/>
              <a:gd name="T18" fmla="*/ 0 w 6"/>
              <a:gd name="T19" fmla="*/ 3 h 6"/>
              <a:gd name="T20" fmla="*/ 3 w 6"/>
              <a:gd name="T21" fmla="*/ 6 h 6"/>
              <a:gd name="T22" fmla="*/ 6 w 6"/>
              <a:gd name="T23" fmla="*/ 3 h 6"/>
              <a:gd name="T24" fmla="*/ 5 w 6"/>
              <a:gd name="T25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6">
                <a:moveTo>
                  <a:pt x="5" y="3"/>
                </a:moveTo>
                <a:cubicBezTo>
                  <a:pt x="5" y="3"/>
                  <a:pt x="5" y="3"/>
                  <a:pt x="5" y="3"/>
                </a:cubicBezTo>
                <a:cubicBezTo>
                  <a:pt x="5" y="4"/>
                  <a:pt x="4" y="5"/>
                  <a:pt x="3" y="5"/>
                </a:cubicBezTo>
                <a:cubicBezTo>
                  <a:pt x="2" y="5"/>
                  <a:pt x="1" y="4"/>
                  <a:pt x="1" y="3"/>
                </a:cubicBezTo>
                <a:cubicBezTo>
                  <a:pt x="1" y="2"/>
                  <a:pt x="2" y="1"/>
                  <a:pt x="3" y="1"/>
                </a:cubicBezTo>
                <a:cubicBezTo>
                  <a:pt x="4" y="1"/>
                  <a:pt x="5" y="2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1"/>
                  <a:pt x="4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cubicBezTo>
                  <a:pt x="4" y="6"/>
                  <a:pt x="6" y="5"/>
                  <a:pt x="6" y="3"/>
                </a:cubicBezTo>
                <a:lnTo>
                  <a:pt x="5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8" name="Freeform 170">
            <a:extLst>
              <a:ext uri="{FF2B5EF4-FFF2-40B4-BE49-F238E27FC236}">
                <a16:creationId xmlns:a16="http://schemas.microsoft.com/office/drawing/2014/main" id="{E439E5FE-3C10-4AFF-AE82-9A6D96C89BAB}"/>
              </a:ext>
            </a:extLst>
          </p:cNvPr>
          <p:cNvSpPr>
            <a:spLocks/>
          </p:cNvSpPr>
          <p:nvPr/>
        </p:nvSpPr>
        <p:spPr bwMode="auto">
          <a:xfrm>
            <a:off x="4113699" y="3190457"/>
            <a:ext cx="216876" cy="219090"/>
          </a:xfrm>
          <a:custGeom>
            <a:avLst/>
            <a:gdLst>
              <a:gd name="T0" fmla="*/ 39 w 39"/>
              <a:gd name="T1" fmla="*/ 20 h 39"/>
              <a:gd name="T2" fmla="*/ 38 w 39"/>
              <a:gd name="T3" fmla="*/ 20 h 39"/>
              <a:gd name="T4" fmla="*/ 33 w 39"/>
              <a:gd name="T5" fmla="*/ 33 h 39"/>
              <a:gd name="T6" fmla="*/ 20 w 39"/>
              <a:gd name="T7" fmla="*/ 39 h 39"/>
              <a:gd name="T8" fmla="*/ 6 w 39"/>
              <a:gd name="T9" fmla="*/ 33 h 39"/>
              <a:gd name="T10" fmla="*/ 1 w 39"/>
              <a:gd name="T11" fmla="*/ 20 h 39"/>
              <a:gd name="T12" fmla="*/ 6 w 39"/>
              <a:gd name="T13" fmla="*/ 6 h 39"/>
              <a:gd name="T14" fmla="*/ 20 w 39"/>
              <a:gd name="T15" fmla="*/ 1 h 39"/>
              <a:gd name="T16" fmla="*/ 33 w 39"/>
              <a:gd name="T17" fmla="*/ 6 h 39"/>
              <a:gd name="T18" fmla="*/ 38 w 39"/>
              <a:gd name="T19" fmla="*/ 20 h 39"/>
              <a:gd name="T20" fmla="*/ 39 w 39"/>
              <a:gd name="T21" fmla="*/ 20 h 39"/>
              <a:gd name="T22" fmla="*/ 39 w 39"/>
              <a:gd name="T23" fmla="*/ 20 h 39"/>
              <a:gd name="T24" fmla="*/ 20 w 39"/>
              <a:gd name="T25" fmla="*/ 0 h 39"/>
              <a:gd name="T26" fmla="*/ 0 w 39"/>
              <a:gd name="T27" fmla="*/ 20 h 39"/>
              <a:gd name="T28" fmla="*/ 20 w 39"/>
              <a:gd name="T29" fmla="*/ 39 h 39"/>
              <a:gd name="T30" fmla="*/ 39 w 39"/>
              <a:gd name="T31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39">
                <a:moveTo>
                  <a:pt x="39" y="20"/>
                </a:moveTo>
                <a:cubicBezTo>
                  <a:pt x="38" y="20"/>
                  <a:pt x="38" y="20"/>
                  <a:pt x="38" y="20"/>
                </a:cubicBezTo>
                <a:cubicBezTo>
                  <a:pt x="38" y="25"/>
                  <a:pt x="36" y="30"/>
                  <a:pt x="33" y="33"/>
                </a:cubicBezTo>
                <a:cubicBezTo>
                  <a:pt x="30" y="36"/>
                  <a:pt x="25" y="39"/>
                  <a:pt x="20" y="39"/>
                </a:cubicBezTo>
                <a:cubicBezTo>
                  <a:pt x="14" y="39"/>
                  <a:pt x="10" y="36"/>
                  <a:pt x="6" y="33"/>
                </a:cubicBezTo>
                <a:cubicBezTo>
                  <a:pt x="3" y="30"/>
                  <a:pt x="1" y="25"/>
                  <a:pt x="1" y="20"/>
                </a:cubicBezTo>
                <a:cubicBezTo>
                  <a:pt x="1" y="15"/>
                  <a:pt x="3" y="10"/>
                  <a:pt x="6" y="6"/>
                </a:cubicBezTo>
                <a:cubicBezTo>
                  <a:pt x="10" y="3"/>
                  <a:pt x="14" y="1"/>
                  <a:pt x="20" y="1"/>
                </a:cubicBezTo>
                <a:cubicBezTo>
                  <a:pt x="25" y="1"/>
                  <a:pt x="30" y="3"/>
                  <a:pt x="33" y="6"/>
                </a:cubicBezTo>
                <a:cubicBezTo>
                  <a:pt x="36" y="10"/>
                  <a:pt x="38" y="15"/>
                  <a:pt x="38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9"/>
                  <a:pt x="3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39"/>
                  <a:pt x="20" y="39"/>
                </a:cubicBezTo>
                <a:cubicBezTo>
                  <a:pt x="30" y="39"/>
                  <a:pt x="39" y="31"/>
                  <a:pt x="39" y="2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99" name="Freeform 171">
            <a:extLst>
              <a:ext uri="{FF2B5EF4-FFF2-40B4-BE49-F238E27FC236}">
                <a16:creationId xmlns:a16="http://schemas.microsoft.com/office/drawing/2014/main" id="{B1DCF391-64B1-4632-95F0-CBD712F4256D}"/>
              </a:ext>
            </a:extLst>
          </p:cNvPr>
          <p:cNvSpPr>
            <a:spLocks/>
          </p:cNvSpPr>
          <p:nvPr/>
        </p:nvSpPr>
        <p:spPr bwMode="auto">
          <a:xfrm>
            <a:off x="4140255" y="3219227"/>
            <a:ext cx="168190" cy="168190"/>
          </a:xfrm>
          <a:custGeom>
            <a:avLst/>
            <a:gdLst>
              <a:gd name="T0" fmla="*/ 29 w 30"/>
              <a:gd name="T1" fmla="*/ 15 h 30"/>
              <a:gd name="T2" fmla="*/ 29 w 30"/>
              <a:gd name="T3" fmla="*/ 15 h 30"/>
              <a:gd name="T4" fmla="*/ 25 w 30"/>
              <a:gd name="T5" fmla="*/ 25 h 30"/>
              <a:gd name="T6" fmla="*/ 15 w 30"/>
              <a:gd name="T7" fmla="*/ 29 h 30"/>
              <a:gd name="T8" fmla="*/ 5 w 30"/>
              <a:gd name="T9" fmla="*/ 25 h 30"/>
              <a:gd name="T10" fmla="*/ 1 w 30"/>
              <a:gd name="T11" fmla="*/ 15 h 30"/>
              <a:gd name="T12" fmla="*/ 5 w 30"/>
              <a:gd name="T13" fmla="*/ 5 h 30"/>
              <a:gd name="T14" fmla="*/ 15 w 30"/>
              <a:gd name="T15" fmla="*/ 1 h 30"/>
              <a:gd name="T16" fmla="*/ 25 w 30"/>
              <a:gd name="T17" fmla="*/ 5 h 30"/>
              <a:gd name="T18" fmla="*/ 29 w 30"/>
              <a:gd name="T19" fmla="*/ 15 h 30"/>
              <a:gd name="T20" fmla="*/ 29 w 30"/>
              <a:gd name="T21" fmla="*/ 15 h 30"/>
              <a:gd name="T22" fmla="*/ 30 w 30"/>
              <a:gd name="T23" fmla="*/ 15 h 30"/>
              <a:gd name="T24" fmla="*/ 15 w 30"/>
              <a:gd name="T25" fmla="*/ 0 h 30"/>
              <a:gd name="T26" fmla="*/ 0 w 30"/>
              <a:gd name="T27" fmla="*/ 15 h 30"/>
              <a:gd name="T28" fmla="*/ 15 w 30"/>
              <a:gd name="T29" fmla="*/ 30 h 30"/>
              <a:gd name="T30" fmla="*/ 30 w 30"/>
              <a:gd name="T31" fmla="*/ 15 h 30"/>
              <a:gd name="T32" fmla="*/ 29 w 30"/>
              <a:gd name="T33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30">
                <a:moveTo>
                  <a:pt x="29" y="15"/>
                </a:moveTo>
                <a:cubicBezTo>
                  <a:pt x="29" y="15"/>
                  <a:pt x="29" y="15"/>
                  <a:pt x="29" y="15"/>
                </a:cubicBezTo>
                <a:cubicBezTo>
                  <a:pt x="29" y="19"/>
                  <a:pt x="27" y="22"/>
                  <a:pt x="25" y="25"/>
                </a:cubicBezTo>
                <a:cubicBezTo>
                  <a:pt x="22" y="27"/>
                  <a:pt x="19" y="29"/>
                  <a:pt x="15" y="29"/>
                </a:cubicBezTo>
                <a:cubicBezTo>
                  <a:pt x="11" y="29"/>
                  <a:pt x="7" y="27"/>
                  <a:pt x="5" y="25"/>
                </a:cubicBezTo>
                <a:cubicBezTo>
                  <a:pt x="2" y="22"/>
                  <a:pt x="1" y="19"/>
                  <a:pt x="1" y="15"/>
                </a:cubicBezTo>
                <a:cubicBezTo>
                  <a:pt x="1" y="11"/>
                  <a:pt x="2" y="7"/>
                  <a:pt x="5" y="5"/>
                </a:cubicBezTo>
                <a:cubicBezTo>
                  <a:pt x="7" y="2"/>
                  <a:pt x="11" y="1"/>
                  <a:pt x="15" y="1"/>
                </a:cubicBezTo>
                <a:cubicBezTo>
                  <a:pt x="19" y="1"/>
                  <a:pt x="22" y="2"/>
                  <a:pt x="25" y="5"/>
                </a:cubicBezTo>
                <a:cubicBezTo>
                  <a:pt x="27" y="7"/>
                  <a:pt x="29" y="11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7"/>
                  <a:pt x="23" y="0"/>
                  <a:pt x="15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23"/>
                  <a:pt x="6" y="30"/>
                  <a:pt x="15" y="30"/>
                </a:cubicBezTo>
                <a:cubicBezTo>
                  <a:pt x="23" y="30"/>
                  <a:pt x="30" y="23"/>
                  <a:pt x="30" y="15"/>
                </a:cubicBezTo>
                <a:lnTo>
                  <a:pt x="29" y="1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0" name="Freeform 172">
            <a:extLst>
              <a:ext uri="{FF2B5EF4-FFF2-40B4-BE49-F238E27FC236}">
                <a16:creationId xmlns:a16="http://schemas.microsoft.com/office/drawing/2014/main" id="{470508FE-CE9C-4917-8AB6-8135791CE7D7}"/>
              </a:ext>
            </a:extLst>
          </p:cNvPr>
          <p:cNvSpPr>
            <a:spLocks/>
          </p:cNvSpPr>
          <p:nvPr/>
        </p:nvSpPr>
        <p:spPr bwMode="auto">
          <a:xfrm>
            <a:off x="4162385" y="3241357"/>
            <a:ext cx="119503" cy="117291"/>
          </a:xfrm>
          <a:custGeom>
            <a:avLst/>
            <a:gdLst>
              <a:gd name="T0" fmla="*/ 21 w 21"/>
              <a:gd name="T1" fmla="*/ 11 h 21"/>
              <a:gd name="T2" fmla="*/ 21 w 21"/>
              <a:gd name="T3" fmla="*/ 11 h 21"/>
              <a:gd name="T4" fmla="*/ 18 w 21"/>
              <a:gd name="T5" fmla="*/ 18 h 21"/>
              <a:gd name="T6" fmla="*/ 11 w 21"/>
              <a:gd name="T7" fmla="*/ 21 h 21"/>
              <a:gd name="T8" fmla="*/ 4 w 21"/>
              <a:gd name="T9" fmla="*/ 18 h 21"/>
              <a:gd name="T10" fmla="*/ 1 w 21"/>
              <a:gd name="T11" fmla="*/ 11 h 21"/>
              <a:gd name="T12" fmla="*/ 4 w 21"/>
              <a:gd name="T13" fmla="*/ 4 h 21"/>
              <a:gd name="T14" fmla="*/ 11 w 21"/>
              <a:gd name="T15" fmla="*/ 1 h 21"/>
              <a:gd name="T16" fmla="*/ 18 w 21"/>
              <a:gd name="T17" fmla="*/ 4 h 21"/>
              <a:gd name="T18" fmla="*/ 21 w 21"/>
              <a:gd name="T19" fmla="*/ 11 h 21"/>
              <a:gd name="T20" fmla="*/ 21 w 21"/>
              <a:gd name="T21" fmla="*/ 11 h 21"/>
              <a:gd name="T22" fmla="*/ 21 w 21"/>
              <a:gd name="T23" fmla="*/ 11 h 21"/>
              <a:gd name="T24" fmla="*/ 11 w 21"/>
              <a:gd name="T25" fmla="*/ 0 h 21"/>
              <a:gd name="T26" fmla="*/ 0 w 21"/>
              <a:gd name="T27" fmla="*/ 11 h 21"/>
              <a:gd name="T28" fmla="*/ 11 w 21"/>
              <a:gd name="T29" fmla="*/ 21 h 21"/>
              <a:gd name="T30" fmla="*/ 21 w 21"/>
              <a:gd name="T31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1">
                <a:moveTo>
                  <a:pt x="21" y="11"/>
                </a:moveTo>
                <a:cubicBezTo>
                  <a:pt x="21" y="11"/>
                  <a:pt x="21" y="11"/>
                  <a:pt x="21" y="11"/>
                </a:cubicBezTo>
                <a:cubicBezTo>
                  <a:pt x="21" y="14"/>
                  <a:pt x="19" y="16"/>
                  <a:pt x="18" y="18"/>
                </a:cubicBezTo>
                <a:cubicBezTo>
                  <a:pt x="16" y="20"/>
                  <a:pt x="13" y="21"/>
                  <a:pt x="11" y="21"/>
                </a:cubicBezTo>
                <a:cubicBezTo>
                  <a:pt x="8" y="21"/>
                  <a:pt x="5" y="20"/>
                  <a:pt x="4" y="18"/>
                </a:cubicBezTo>
                <a:cubicBezTo>
                  <a:pt x="2" y="16"/>
                  <a:pt x="1" y="14"/>
                  <a:pt x="1" y="11"/>
                </a:cubicBezTo>
                <a:cubicBezTo>
                  <a:pt x="1" y="8"/>
                  <a:pt x="2" y="6"/>
                  <a:pt x="4" y="4"/>
                </a:cubicBezTo>
                <a:cubicBezTo>
                  <a:pt x="5" y="2"/>
                  <a:pt x="8" y="1"/>
                  <a:pt x="11" y="1"/>
                </a:cubicBezTo>
                <a:cubicBezTo>
                  <a:pt x="13" y="1"/>
                  <a:pt x="16" y="2"/>
                  <a:pt x="18" y="4"/>
                </a:cubicBezTo>
                <a:cubicBezTo>
                  <a:pt x="19" y="6"/>
                  <a:pt x="21" y="8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5"/>
                  <a:pt x="17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1"/>
                  <a:pt x="11" y="21"/>
                </a:cubicBezTo>
                <a:cubicBezTo>
                  <a:pt x="17" y="21"/>
                  <a:pt x="21" y="17"/>
                  <a:pt x="21" y="11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1" name="Oval 173">
            <a:extLst>
              <a:ext uri="{FF2B5EF4-FFF2-40B4-BE49-F238E27FC236}">
                <a16:creationId xmlns:a16="http://schemas.microsoft.com/office/drawing/2014/main" id="{E2AC2D4C-AD16-43A8-921E-28FB24985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1155" y="3270126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2" name="Freeform 174">
            <a:extLst>
              <a:ext uri="{FF2B5EF4-FFF2-40B4-BE49-F238E27FC236}">
                <a16:creationId xmlns:a16="http://schemas.microsoft.com/office/drawing/2014/main" id="{750F0691-3ECF-4F8B-A112-F6890A000868}"/>
              </a:ext>
            </a:extLst>
          </p:cNvPr>
          <p:cNvSpPr>
            <a:spLocks/>
          </p:cNvSpPr>
          <p:nvPr/>
        </p:nvSpPr>
        <p:spPr bwMode="auto">
          <a:xfrm>
            <a:off x="4186729" y="3263488"/>
            <a:ext cx="70817" cy="73031"/>
          </a:xfrm>
          <a:custGeom>
            <a:avLst/>
            <a:gdLst>
              <a:gd name="T0" fmla="*/ 13 w 13"/>
              <a:gd name="T1" fmla="*/ 7 h 13"/>
              <a:gd name="T2" fmla="*/ 12 w 13"/>
              <a:gd name="T3" fmla="*/ 7 h 13"/>
              <a:gd name="T4" fmla="*/ 11 w 13"/>
              <a:gd name="T5" fmla="*/ 11 h 13"/>
              <a:gd name="T6" fmla="*/ 7 w 13"/>
              <a:gd name="T7" fmla="*/ 12 h 13"/>
              <a:gd name="T8" fmla="*/ 3 w 13"/>
              <a:gd name="T9" fmla="*/ 11 h 13"/>
              <a:gd name="T10" fmla="*/ 1 w 13"/>
              <a:gd name="T11" fmla="*/ 7 h 13"/>
              <a:gd name="T12" fmla="*/ 3 w 13"/>
              <a:gd name="T13" fmla="*/ 3 h 13"/>
              <a:gd name="T14" fmla="*/ 7 w 13"/>
              <a:gd name="T15" fmla="*/ 1 h 13"/>
              <a:gd name="T16" fmla="*/ 11 w 13"/>
              <a:gd name="T17" fmla="*/ 3 h 13"/>
              <a:gd name="T18" fmla="*/ 12 w 13"/>
              <a:gd name="T19" fmla="*/ 7 h 13"/>
              <a:gd name="T20" fmla="*/ 13 w 13"/>
              <a:gd name="T21" fmla="*/ 7 h 13"/>
              <a:gd name="T22" fmla="*/ 13 w 13"/>
              <a:gd name="T23" fmla="*/ 7 h 13"/>
              <a:gd name="T24" fmla="*/ 7 w 13"/>
              <a:gd name="T25" fmla="*/ 0 h 13"/>
              <a:gd name="T26" fmla="*/ 0 w 13"/>
              <a:gd name="T27" fmla="*/ 7 h 13"/>
              <a:gd name="T28" fmla="*/ 7 w 13"/>
              <a:gd name="T29" fmla="*/ 13 h 13"/>
              <a:gd name="T30" fmla="*/ 13 w 13"/>
              <a:gd name="T31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13" y="7"/>
                </a:moveTo>
                <a:cubicBezTo>
                  <a:pt x="12" y="7"/>
                  <a:pt x="12" y="7"/>
                  <a:pt x="12" y="7"/>
                </a:cubicBezTo>
                <a:cubicBezTo>
                  <a:pt x="12" y="8"/>
                  <a:pt x="12" y="10"/>
                  <a:pt x="11" y="11"/>
                </a:cubicBezTo>
                <a:cubicBezTo>
                  <a:pt x="10" y="12"/>
                  <a:pt x="8" y="12"/>
                  <a:pt x="7" y="12"/>
                </a:cubicBezTo>
                <a:cubicBezTo>
                  <a:pt x="5" y="12"/>
                  <a:pt x="4" y="12"/>
                  <a:pt x="3" y="11"/>
                </a:cubicBezTo>
                <a:cubicBezTo>
                  <a:pt x="2" y="10"/>
                  <a:pt x="1" y="8"/>
                  <a:pt x="1" y="7"/>
                </a:cubicBezTo>
                <a:cubicBezTo>
                  <a:pt x="1" y="5"/>
                  <a:pt x="2" y="4"/>
                  <a:pt x="3" y="3"/>
                </a:cubicBezTo>
                <a:cubicBezTo>
                  <a:pt x="4" y="2"/>
                  <a:pt x="5" y="1"/>
                  <a:pt x="7" y="1"/>
                </a:cubicBezTo>
                <a:cubicBezTo>
                  <a:pt x="8" y="1"/>
                  <a:pt x="10" y="2"/>
                  <a:pt x="11" y="3"/>
                </a:cubicBezTo>
                <a:cubicBezTo>
                  <a:pt x="12" y="4"/>
                  <a:pt x="12" y="5"/>
                  <a:pt x="12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3"/>
                  <a:pt x="10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3"/>
                  <a:pt x="7" y="13"/>
                </a:cubicBezTo>
                <a:cubicBezTo>
                  <a:pt x="10" y="13"/>
                  <a:pt x="13" y="10"/>
                  <a:pt x="13" y="7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3" name="Oval 175">
            <a:extLst>
              <a:ext uri="{FF2B5EF4-FFF2-40B4-BE49-F238E27FC236}">
                <a16:creationId xmlns:a16="http://schemas.microsoft.com/office/drawing/2014/main" id="{127C8571-F286-4651-8FF0-E13E22E61D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859" y="3285618"/>
            <a:ext cx="26556" cy="287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4" name="Freeform 176">
            <a:extLst>
              <a:ext uri="{FF2B5EF4-FFF2-40B4-BE49-F238E27FC236}">
                <a16:creationId xmlns:a16="http://schemas.microsoft.com/office/drawing/2014/main" id="{43B085A0-A548-4995-98CF-E8DD65320CFE}"/>
              </a:ext>
            </a:extLst>
          </p:cNvPr>
          <p:cNvSpPr>
            <a:spLocks/>
          </p:cNvSpPr>
          <p:nvPr/>
        </p:nvSpPr>
        <p:spPr bwMode="auto">
          <a:xfrm>
            <a:off x="4208859" y="3285618"/>
            <a:ext cx="33196" cy="33196"/>
          </a:xfrm>
          <a:custGeom>
            <a:avLst/>
            <a:gdLst>
              <a:gd name="T0" fmla="*/ 5 w 6"/>
              <a:gd name="T1" fmla="*/ 3 h 6"/>
              <a:gd name="T2" fmla="*/ 5 w 6"/>
              <a:gd name="T3" fmla="*/ 3 h 6"/>
              <a:gd name="T4" fmla="*/ 3 w 6"/>
              <a:gd name="T5" fmla="*/ 5 h 6"/>
              <a:gd name="T6" fmla="*/ 1 w 6"/>
              <a:gd name="T7" fmla="*/ 3 h 6"/>
              <a:gd name="T8" fmla="*/ 3 w 6"/>
              <a:gd name="T9" fmla="*/ 1 h 6"/>
              <a:gd name="T10" fmla="*/ 5 w 6"/>
              <a:gd name="T11" fmla="*/ 3 h 6"/>
              <a:gd name="T12" fmla="*/ 5 w 6"/>
              <a:gd name="T13" fmla="*/ 3 h 6"/>
              <a:gd name="T14" fmla="*/ 6 w 6"/>
              <a:gd name="T15" fmla="*/ 3 h 6"/>
              <a:gd name="T16" fmla="*/ 3 w 6"/>
              <a:gd name="T17" fmla="*/ 0 h 6"/>
              <a:gd name="T18" fmla="*/ 0 w 6"/>
              <a:gd name="T19" fmla="*/ 3 h 6"/>
              <a:gd name="T20" fmla="*/ 3 w 6"/>
              <a:gd name="T21" fmla="*/ 6 h 6"/>
              <a:gd name="T22" fmla="*/ 6 w 6"/>
              <a:gd name="T23" fmla="*/ 3 h 6"/>
              <a:gd name="T24" fmla="*/ 5 w 6"/>
              <a:gd name="T25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6">
                <a:moveTo>
                  <a:pt x="5" y="3"/>
                </a:moveTo>
                <a:cubicBezTo>
                  <a:pt x="5" y="3"/>
                  <a:pt x="5" y="3"/>
                  <a:pt x="5" y="3"/>
                </a:cubicBezTo>
                <a:cubicBezTo>
                  <a:pt x="5" y="4"/>
                  <a:pt x="4" y="5"/>
                  <a:pt x="3" y="5"/>
                </a:cubicBezTo>
                <a:cubicBezTo>
                  <a:pt x="2" y="5"/>
                  <a:pt x="1" y="4"/>
                  <a:pt x="1" y="3"/>
                </a:cubicBezTo>
                <a:cubicBezTo>
                  <a:pt x="1" y="2"/>
                  <a:pt x="2" y="1"/>
                  <a:pt x="3" y="1"/>
                </a:cubicBezTo>
                <a:cubicBezTo>
                  <a:pt x="4" y="1"/>
                  <a:pt x="5" y="2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1"/>
                  <a:pt x="4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4"/>
                  <a:pt x="1" y="6"/>
                  <a:pt x="3" y="6"/>
                </a:cubicBezTo>
                <a:cubicBezTo>
                  <a:pt x="4" y="6"/>
                  <a:pt x="6" y="4"/>
                  <a:pt x="6" y="3"/>
                </a:cubicBezTo>
                <a:lnTo>
                  <a:pt x="5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5" name="Freeform 177">
            <a:extLst>
              <a:ext uri="{FF2B5EF4-FFF2-40B4-BE49-F238E27FC236}">
                <a16:creationId xmlns:a16="http://schemas.microsoft.com/office/drawing/2014/main" id="{71893508-91DD-489D-A2C6-157ED02C8B01}"/>
              </a:ext>
            </a:extLst>
          </p:cNvPr>
          <p:cNvSpPr>
            <a:spLocks/>
          </p:cNvSpPr>
          <p:nvPr/>
        </p:nvSpPr>
        <p:spPr bwMode="auto">
          <a:xfrm>
            <a:off x="5248980" y="3168327"/>
            <a:ext cx="219090" cy="223516"/>
          </a:xfrm>
          <a:custGeom>
            <a:avLst/>
            <a:gdLst>
              <a:gd name="T0" fmla="*/ 39 w 39"/>
              <a:gd name="T1" fmla="*/ 20 h 40"/>
              <a:gd name="T2" fmla="*/ 38 w 39"/>
              <a:gd name="T3" fmla="*/ 20 h 40"/>
              <a:gd name="T4" fmla="*/ 33 w 39"/>
              <a:gd name="T5" fmla="*/ 33 h 40"/>
              <a:gd name="T6" fmla="*/ 19 w 39"/>
              <a:gd name="T7" fmla="*/ 39 h 40"/>
              <a:gd name="T8" fmla="*/ 6 w 39"/>
              <a:gd name="T9" fmla="*/ 33 h 40"/>
              <a:gd name="T10" fmla="*/ 1 w 39"/>
              <a:gd name="T11" fmla="*/ 20 h 40"/>
              <a:gd name="T12" fmla="*/ 6 w 39"/>
              <a:gd name="T13" fmla="*/ 7 h 40"/>
              <a:gd name="T14" fmla="*/ 19 w 39"/>
              <a:gd name="T15" fmla="*/ 1 h 40"/>
              <a:gd name="T16" fmla="*/ 33 w 39"/>
              <a:gd name="T17" fmla="*/ 7 h 40"/>
              <a:gd name="T18" fmla="*/ 38 w 39"/>
              <a:gd name="T19" fmla="*/ 20 h 40"/>
              <a:gd name="T20" fmla="*/ 39 w 39"/>
              <a:gd name="T21" fmla="*/ 20 h 40"/>
              <a:gd name="T22" fmla="*/ 39 w 39"/>
              <a:gd name="T23" fmla="*/ 20 h 40"/>
              <a:gd name="T24" fmla="*/ 19 w 39"/>
              <a:gd name="T25" fmla="*/ 0 h 40"/>
              <a:gd name="T26" fmla="*/ 0 w 39"/>
              <a:gd name="T27" fmla="*/ 20 h 40"/>
              <a:gd name="T28" fmla="*/ 19 w 39"/>
              <a:gd name="T29" fmla="*/ 40 h 40"/>
              <a:gd name="T30" fmla="*/ 39 w 39"/>
              <a:gd name="T3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0">
                <a:moveTo>
                  <a:pt x="39" y="20"/>
                </a:moveTo>
                <a:cubicBezTo>
                  <a:pt x="38" y="20"/>
                  <a:pt x="38" y="20"/>
                  <a:pt x="38" y="20"/>
                </a:cubicBezTo>
                <a:cubicBezTo>
                  <a:pt x="38" y="25"/>
                  <a:pt x="36" y="30"/>
                  <a:pt x="33" y="33"/>
                </a:cubicBezTo>
                <a:cubicBezTo>
                  <a:pt x="29" y="37"/>
                  <a:pt x="25" y="39"/>
                  <a:pt x="19" y="39"/>
                </a:cubicBezTo>
                <a:cubicBezTo>
                  <a:pt x="14" y="39"/>
                  <a:pt x="9" y="37"/>
                  <a:pt x="6" y="33"/>
                </a:cubicBezTo>
                <a:cubicBezTo>
                  <a:pt x="3" y="30"/>
                  <a:pt x="1" y="25"/>
                  <a:pt x="1" y="20"/>
                </a:cubicBezTo>
                <a:cubicBezTo>
                  <a:pt x="1" y="15"/>
                  <a:pt x="3" y="10"/>
                  <a:pt x="6" y="7"/>
                </a:cubicBezTo>
                <a:cubicBezTo>
                  <a:pt x="9" y="3"/>
                  <a:pt x="14" y="1"/>
                  <a:pt x="19" y="1"/>
                </a:cubicBezTo>
                <a:cubicBezTo>
                  <a:pt x="25" y="1"/>
                  <a:pt x="29" y="3"/>
                  <a:pt x="33" y="7"/>
                </a:cubicBezTo>
                <a:cubicBezTo>
                  <a:pt x="36" y="10"/>
                  <a:pt x="38" y="15"/>
                  <a:pt x="38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9"/>
                  <a:pt x="30" y="0"/>
                  <a:pt x="19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19" y="40"/>
                </a:cubicBezTo>
                <a:cubicBezTo>
                  <a:pt x="30" y="40"/>
                  <a:pt x="39" y="31"/>
                  <a:pt x="39" y="2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6" name="Freeform 178">
            <a:extLst>
              <a:ext uri="{FF2B5EF4-FFF2-40B4-BE49-F238E27FC236}">
                <a16:creationId xmlns:a16="http://schemas.microsoft.com/office/drawing/2014/main" id="{56466CD3-9B82-4207-8D56-15DAEFC63A0B}"/>
              </a:ext>
            </a:extLst>
          </p:cNvPr>
          <p:cNvSpPr>
            <a:spLocks/>
          </p:cNvSpPr>
          <p:nvPr/>
        </p:nvSpPr>
        <p:spPr bwMode="auto">
          <a:xfrm>
            <a:off x="5271110" y="3197097"/>
            <a:ext cx="168190" cy="168190"/>
          </a:xfrm>
          <a:custGeom>
            <a:avLst/>
            <a:gdLst>
              <a:gd name="T0" fmla="*/ 30 w 30"/>
              <a:gd name="T1" fmla="*/ 15 h 30"/>
              <a:gd name="T2" fmla="*/ 29 w 30"/>
              <a:gd name="T3" fmla="*/ 15 h 30"/>
              <a:gd name="T4" fmla="*/ 25 w 30"/>
              <a:gd name="T5" fmla="*/ 25 h 30"/>
              <a:gd name="T6" fmla="*/ 15 w 30"/>
              <a:gd name="T7" fmla="*/ 29 h 30"/>
              <a:gd name="T8" fmla="*/ 5 w 30"/>
              <a:gd name="T9" fmla="*/ 25 h 30"/>
              <a:gd name="T10" fmla="*/ 1 w 30"/>
              <a:gd name="T11" fmla="*/ 15 h 30"/>
              <a:gd name="T12" fmla="*/ 5 w 30"/>
              <a:gd name="T13" fmla="*/ 5 h 30"/>
              <a:gd name="T14" fmla="*/ 15 w 30"/>
              <a:gd name="T15" fmla="*/ 1 h 30"/>
              <a:gd name="T16" fmla="*/ 25 w 30"/>
              <a:gd name="T17" fmla="*/ 5 h 30"/>
              <a:gd name="T18" fmla="*/ 29 w 30"/>
              <a:gd name="T19" fmla="*/ 15 h 30"/>
              <a:gd name="T20" fmla="*/ 30 w 30"/>
              <a:gd name="T21" fmla="*/ 15 h 30"/>
              <a:gd name="T22" fmla="*/ 30 w 30"/>
              <a:gd name="T23" fmla="*/ 15 h 30"/>
              <a:gd name="T24" fmla="*/ 15 w 30"/>
              <a:gd name="T25" fmla="*/ 0 h 30"/>
              <a:gd name="T26" fmla="*/ 0 w 30"/>
              <a:gd name="T27" fmla="*/ 15 h 30"/>
              <a:gd name="T28" fmla="*/ 15 w 30"/>
              <a:gd name="T29" fmla="*/ 30 h 30"/>
              <a:gd name="T30" fmla="*/ 30 w 30"/>
              <a:gd name="T31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" h="30">
                <a:moveTo>
                  <a:pt x="30" y="15"/>
                </a:moveTo>
                <a:cubicBezTo>
                  <a:pt x="29" y="15"/>
                  <a:pt x="29" y="15"/>
                  <a:pt x="29" y="15"/>
                </a:cubicBezTo>
                <a:cubicBezTo>
                  <a:pt x="29" y="19"/>
                  <a:pt x="28" y="22"/>
                  <a:pt x="25" y="25"/>
                </a:cubicBezTo>
                <a:cubicBezTo>
                  <a:pt x="23" y="27"/>
                  <a:pt x="19" y="29"/>
                  <a:pt x="15" y="29"/>
                </a:cubicBezTo>
                <a:cubicBezTo>
                  <a:pt x="11" y="29"/>
                  <a:pt x="8" y="27"/>
                  <a:pt x="5" y="25"/>
                </a:cubicBezTo>
                <a:cubicBezTo>
                  <a:pt x="3" y="22"/>
                  <a:pt x="1" y="19"/>
                  <a:pt x="1" y="15"/>
                </a:cubicBezTo>
                <a:cubicBezTo>
                  <a:pt x="1" y="11"/>
                  <a:pt x="3" y="8"/>
                  <a:pt x="5" y="5"/>
                </a:cubicBezTo>
                <a:cubicBezTo>
                  <a:pt x="8" y="2"/>
                  <a:pt x="11" y="1"/>
                  <a:pt x="15" y="1"/>
                </a:cubicBezTo>
                <a:cubicBezTo>
                  <a:pt x="19" y="1"/>
                  <a:pt x="23" y="2"/>
                  <a:pt x="25" y="5"/>
                </a:cubicBezTo>
                <a:cubicBezTo>
                  <a:pt x="28" y="8"/>
                  <a:pt x="29" y="11"/>
                  <a:pt x="29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7"/>
                  <a:pt x="24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3"/>
                  <a:pt x="7" y="30"/>
                  <a:pt x="15" y="30"/>
                </a:cubicBezTo>
                <a:cubicBezTo>
                  <a:pt x="24" y="30"/>
                  <a:pt x="30" y="23"/>
                  <a:pt x="30" y="15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7" name="Freeform 179">
            <a:extLst>
              <a:ext uri="{FF2B5EF4-FFF2-40B4-BE49-F238E27FC236}">
                <a16:creationId xmlns:a16="http://schemas.microsoft.com/office/drawing/2014/main" id="{CEFCDB88-4D21-4623-A3FB-1D0E0F7945CB}"/>
              </a:ext>
            </a:extLst>
          </p:cNvPr>
          <p:cNvSpPr>
            <a:spLocks/>
          </p:cNvSpPr>
          <p:nvPr/>
        </p:nvSpPr>
        <p:spPr bwMode="auto">
          <a:xfrm>
            <a:off x="5299879" y="3219227"/>
            <a:ext cx="117291" cy="123929"/>
          </a:xfrm>
          <a:custGeom>
            <a:avLst/>
            <a:gdLst>
              <a:gd name="T0" fmla="*/ 21 w 21"/>
              <a:gd name="T1" fmla="*/ 11 h 22"/>
              <a:gd name="T2" fmla="*/ 20 w 21"/>
              <a:gd name="T3" fmla="*/ 11 h 22"/>
              <a:gd name="T4" fmla="*/ 17 w 21"/>
              <a:gd name="T5" fmla="*/ 18 h 22"/>
              <a:gd name="T6" fmla="*/ 10 w 21"/>
              <a:gd name="T7" fmla="*/ 21 h 22"/>
              <a:gd name="T8" fmla="*/ 3 w 21"/>
              <a:gd name="T9" fmla="*/ 18 h 22"/>
              <a:gd name="T10" fmla="*/ 0 w 21"/>
              <a:gd name="T11" fmla="*/ 11 h 22"/>
              <a:gd name="T12" fmla="*/ 3 w 21"/>
              <a:gd name="T13" fmla="*/ 4 h 22"/>
              <a:gd name="T14" fmla="*/ 10 w 21"/>
              <a:gd name="T15" fmla="*/ 1 h 22"/>
              <a:gd name="T16" fmla="*/ 17 w 21"/>
              <a:gd name="T17" fmla="*/ 4 h 22"/>
              <a:gd name="T18" fmla="*/ 20 w 21"/>
              <a:gd name="T19" fmla="*/ 11 h 22"/>
              <a:gd name="T20" fmla="*/ 21 w 21"/>
              <a:gd name="T21" fmla="*/ 11 h 22"/>
              <a:gd name="T22" fmla="*/ 21 w 21"/>
              <a:gd name="T23" fmla="*/ 11 h 22"/>
              <a:gd name="T24" fmla="*/ 10 w 21"/>
              <a:gd name="T25" fmla="*/ 0 h 22"/>
              <a:gd name="T26" fmla="*/ 0 w 21"/>
              <a:gd name="T27" fmla="*/ 11 h 22"/>
              <a:gd name="T28" fmla="*/ 10 w 21"/>
              <a:gd name="T29" fmla="*/ 22 h 22"/>
              <a:gd name="T30" fmla="*/ 21 w 21"/>
              <a:gd name="T31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2">
                <a:moveTo>
                  <a:pt x="21" y="11"/>
                </a:moveTo>
                <a:cubicBezTo>
                  <a:pt x="20" y="11"/>
                  <a:pt x="20" y="11"/>
                  <a:pt x="20" y="11"/>
                </a:cubicBezTo>
                <a:cubicBezTo>
                  <a:pt x="20" y="14"/>
                  <a:pt x="19" y="16"/>
                  <a:pt x="17" y="18"/>
                </a:cubicBezTo>
                <a:cubicBezTo>
                  <a:pt x="16" y="20"/>
                  <a:pt x="13" y="21"/>
                  <a:pt x="10" y="21"/>
                </a:cubicBezTo>
                <a:cubicBezTo>
                  <a:pt x="8" y="21"/>
                  <a:pt x="5" y="20"/>
                  <a:pt x="3" y="18"/>
                </a:cubicBezTo>
                <a:cubicBezTo>
                  <a:pt x="2" y="16"/>
                  <a:pt x="0" y="14"/>
                  <a:pt x="0" y="11"/>
                </a:cubicBezTo>
                <a:cubicBezTo>
                  <a:pt x="0" y="8"/>
                  <a:pt x="2" y="6"/>
                  <a:pt x="3" y="4"/>
                </a:cubicBezTo>
                <a:cubicBezTo>
                  <a:pt x="5" y="2"/>
                  <a:pt x="8" y="1"/>
                  <a:pt x="10" y="1"/>
                </a:cubicBezTo>
                <a:cubicBezTo>
                  <a:pt x="13" y="1"/>
                  <a:pt x="16" y="2"/>
                  <a:pt x="17" y="4"/>
                </a:cubicBezTo>
                <a:cubicBezTo>
                  <a:pt x="19" y="6"/>
                  <a:pt x="20" y="8"/>
                  <a:pt x="20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5"/>
                  <a:pt x="16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17"/>
                  <a:pt x="4" y="22"/>
                  <a:pt x="10" y="22"/>
                </a:cubicBezTo>
                <a:cubicBezTo>
                  <a:pt x="16" y="22"/>
                  <a:pt x="21" y="17"/>
                  <a:pt x="21" y="11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8" name="Oval 180">
            <a:extLst>
              <a:ext uri="{FF2B5EF4-FFF2-40B4-BE49-F238E27FC236}">
                <a16:creationId xmlns:a16="http://schemas.microsoft.com/office/drawing/2014/main" id="{567A3409-C3C4-4EBE-9DA0-121D0DAFB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2009" y="3247996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9" name="Freeform 181">
            <a:extLst>
              <a:ext uri="{FF2B5EF4-FFF2-40B4-BE49-F238E27FC236}">
                <a16:creationId xmlns:a16="http://schemas.microsoft.com/office/drawing/2014/main" id="{FE62C2FC-69C3-4C84-8A8F-79888894FFAA}"/>
              </a:ext>
            </a:extLst>
          </p:cNvPr>
          <p:cNvSpPr>
            <a:spLocks/>
          </p:cNvSpPr>
          <p:nvPr/>
        </p:nvSpPr>
        <p:spPr bwMode="auto">
          <a:xfrm>
            <a:off x="5322009" y="3247996"/>
            <a:ext cx="73030" cy="66391"/>
          </a:xfrm>
          <a:custGeom>
            <a:avLst/>
            <a:gdLst>
              <a:gd name="T0" fmla="*/ 12 w 13"/>
              <a:gd name="T1" fmla="*/ 6 h 12"/>
              <a:gd name="T2" fmla="*/ 12 w 13"/>
              <a:gd name="T3" fmla="*/ 6 h 12"/>
              <a:gd name="T4" fmla="*/ 10 w 13"/>
              <a:gd name="T5" fmla="*/ 10 h 12"/>
              <a:gd name="T6" fmla="*/ 6 w 13"/>
              <a:gd name="T7" fmla="*/ 12 h 12"/>
              <a:gd name="T8" fmla="*/ 2 w 13"/>
              <a:gd name="T9" fmla="*/ 10 h 12"/>
              <a:gd name="T10" fmla="*/ 1 w 13"/>
              <a:gd name="T11" fmla="*/ 6 h 12"/>
              <a:gd name="T12" fmla="*/ 2 w 13"/>
              <a:gd name="T13" fmla="*/ 2 h 12"/>
              <a:gd name="T14" fmla="*/ 6 w 13"/>
              <a:gd name="T15" fmla="*/ 0 h 12"/>
              <a:gd name="T16" fmla="*/ 10 w 13"/>
              <a:gd name="T17" fmla="*/ 2 h 12"/>
              <a:gd name="T18" fmla="*/ 12 w 13"/>
              <a:gd name="T19" fmla="*/ 6 h 12"/>
              <a:gd name="T20" fmla="*/ 12 w 13"/>
              <a:gd name="T21" fmla="*/ 6 h 12"/>
              <a:gd name="T22" fmla="*/ 13 w 13"/>
              <a:gd name="T23" fmla="*/ 6 h 12"/>
              <a:gd name="T24" fmla="*/ 6 w 13"/>
              <a:gd name="T25" fmla="*/ 0 h 12"/>
              <a:gd name="T26" fmla="*/ 0 w 13"/>
              <a:gd name="T27" fmla="*/ 6 h 12"/>
              <a:gd name="T28" fmla="*/ 6 w 13"/>
              <a:gd name="T29" fmla="*/ 12 h 12"/>
              <a:gd name="T30" fmla="*/ 13 w 13"/>
              <a:gd name="T31" fmla="*/ 6 h 12"/>
              <a:gd name="T32" fmla="*/ 12 w 13"/>
              <a:gd name="T3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" h="12">
                <a:moveTo>
                  <a:pt x="12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1" y="9"/>
                  <a:pt x="10" y="10"/>
                </a:cubicBezTo>
                <a:cubicBezTo>
                  <a:pt x="9" y="11"/>
                  <a:pt x="8" y="12"/>
                  <a:pt x="6" y="12"/>
                </a:cubicBezTo>
                <a:cubicBezTo>
                  <a:pt x="5" y="12"/>
                  <a:pt x="3" y="11"/>
                  <a:pt x="2" y="10"/>
                </a:cubicBezTo>
                <a:cubicBezTo>
                  <a:pt x="1" y="9"/>
                  <a:pt x="1" y="8"/>
                  <a:pt x="1" y="6"/>
                </a:cubicBezTo>
                <a:cubicBezTo>
                  <a:pt x="1" y="4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8" y="0"/>
                  <a:pt x="9" y="1"/>
                  <a:pt x="10" y="2"/>
                </a:cubicBezTo>
                <a:cubicBezTo>
                  <a:pt x="11" y="3"/>
                  <a:pt x="12" y="4"/>
                  <a:pt x="12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2"/>
                  <a:pt x="10" y="0"/>
                  <a:pt x="6" y="0"/>
                </a:cubicBezTo>
                <a:cubicBezTo>
                  <a:pt x="3" y="0"/>
                  <a:pt x="0" y="2"/>
                  <a:pt x="0" y="6"/>
                </a:cubicBezTo>
                <a:cubicBezTo>
                  <a:pt x="0" y="10"/>
                  <a:pt x="3" y="12"/>
                  <a:pt x="6" y="12"/>
                </a:cubicBezTo>
                <a:cubicBezTo>
                  <a:pt x="10" y="12"/>
                  <a:pt x="13" y="10"/>
                  <a:pt x="13" y="6"/>
                </a:cubicBezTo>
                <a:lnTo>
                  <a:pt x="12" y="6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0" name="Oval 182">
            <a:extLst>
              <a:ext uri="{FF2B5EF4-FFF2-40B4-BE49-F238E27FC236}">
                <a16:creationId xmlns:a16="http://schemas.microsoft.com/office/drawing/2014/main" id="{548F102F-6E5A-425A-B56D-662A44A4C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4140" y="3263488"/>
            <a:ext cx="28770" cy="287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1" name="Freeform 183">
            <a:extLst>
              <a:ext uri="{FF2B5EF4-FFF2-40B4-BE49-F238E27FC236}">
                <a16:creationId xmlns:a16="http://schemas.microsoft.com/office/drawing/2014/main" id="{51B63977-BD98-4B0A-9248-4310C490A2B5}"/>
              </a:ext>
            </a:extLst>
          </p:cNvPr>
          <p:cNvSpPr>
            <a:spLocks/>
          </p:cNvSpPr>
          <p:nvPr/>
        </p:nvSpPr>
        <p:spPr bwMode="auto">
          <a:xfrm>
            <a:off x="5337501" y="3263488"/>
            <a:ext cx="35408" cy="33196"/>
          </a:xfrm>
          <a:custGeom>
            <a:avLst/>
            <a:gdLst>
              <a:gd name="T0" fmla="*/ 6 w 6"/>
              <a:gd name="T1" fmla="*/ 3 h 6"/>
              <a:gd name="T2" fmla="*/ 5 w 6"/>
              <a:gd name="T3" fmla="*/ 3 h 6"/>
              <a:gd name="T4" fmla="*/ 3 w 6"/>
              <a:gd name="T5" fmla="*/ 5 h 6"/>
              <a:gd name="T6" fmla="*/ 1 w 6"/>
              <a:gd name="T7" fmla="*/ 3 h 6"/>
              <a:gd name="T8" fmla="*/ 3 w 6"/>
              <a:gd name="T9" fmla="*/ 1 h 6"/>
              <a:gd name="T10" fmla="*/ 5 w 6"/>
              <a:gd name="T11" fmla="*/ 3 h 6"/>
              <a:gd name="T12" fmla="*/ 6 w 6"/>
              <a:gd name="T13" fmla="*/ 3 h 6"/>
              <a:gd name="T14" fmla="*/ 6 w 6"/>
              <a:gd name="T15" fmla="*/ 3 h 6"/>
              <a:gd name="T16" fmla="*/ 3 w 6"/>
              <a:gd name="T17" fmla="*/ 0 h 6"/>
              <a:gd name="T18" fmla="*/ 0 w 6"/>
              <a:gd name="T19" fmla="*/ 3 h 6"/>
              <a:gd name="T20" fmla="*/ 3 w 6"/>
              <a:gd name="T21" fmla="*/ 6 h 6"/>
              <a:gd name="T22" fmla="*/ 6 w 6"/>
              <a:gd name="T23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6">
                <a:moveTo>
                  <a:pt x="6" y="3"/>
                </a:moveTo>
                <a:cubicBezTo>
                  <a:pt x="5" y="3"/>
                  <a:pt x="5" y="3"/>
                  <a:pt x="5" y="3"/>
                </a:cubicBezTo>
                <a:cubicBezTo>
                  <a:pt x="5" y="4"/>
                  <a:pt x="5" y="5"/>
                  <a:pt x="3" y="5"/>
                </a:cubicBezTo>
                <a:cubicBezTo>
                  <a:pt x="2" y="5"/>
                  <a:pt x="1" y="4"/>
                  <a:pt x="1" y="3"/>
                </a:cubicBezTo>
                <a:cubicBezTo>
                  <a:pt x="1" y="2"/>
                  <a:pt x="2" y="1"/>
                  <a:pt x="3" y="1"/>
                </a:cubicBezTo>
                <a:cubicBezTo>
                  <a:pt x="5" y="1"/>
                  <a:pt x="5" y="2"/>
                  <a:pt x="5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1"/>
                  <a:pt x="5" y="0"/>
                  <a:pt x="3" y="0"/>
                </a:cubicBezTo>
                <a:cubicBezTo>
                  <a:pt x="2" y="0"/>
                  <a:pt x="0" y="1"/>
                  <a:pt x="0" y="3"/>
                </a:cubicBezTo>
                <a:cubicBezTo>
                  <a:pt x="0" y="5"/>
                  <a:pt x="2" y="6"/>
                  <a:pt x="3" y="6"/>
                </a:cubicBezTo>
                <a:cubicBezTo>
                  <a:pt x="5" y="6"/>
                  <a:pt x="6" y="5"/>
                  <a:pt x="6" y="3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2" name="Freeform 184">
            <a:extLst>
              <a:ext uri="{FF2B5EF4-FFF2-40B4-BE49-F238E27FC236}">
                <a16:creationId xmlns:a16="http://schemas.microsoft.com/office/drawing/2014/main" id="{0188E4F6-5640-4D34-B654-CBB1EB6ADEEE}"/>
              </a:ext>
            </a:extLst>
          </p:cNvPr>
          <p:cNvSpPr>
            <a:spLocks/>
          </p:cNvSpPr>
          <p:nvPr/>
        </p:nvSpPr>
        <p:spPr bwMode="auto">
          <a:xfrm>
            <a:off x="7130050" y="3307748"/>
            <a:ext cx="216876" cy="225729"/>
          </a:xfrm>
          <a:custGeom>
            <a:avLst/>
            <a:gdLst>
              <a:gd name="T0" fmla="*/ 39 w 39"/>
              <a:gd name="T1" fmla="*/ 20 h 40"/>
              <a:gd name="T2" fmla="*/ 38 w 39"/>
              <a:gd name="T3" fmla="*/ 20 h 40"/>
              <a:gd name="T4" fmla="*/ 33 w 39"/>
              <a:gd name="T5" fmla="*/ 33 h 40"/>
              <a:gd name="T6" fmla="*/ 20 w 39"/>
              <a:gd name="T7" fmla="*/ 39 h 40"/>
              <a:gd name="T8" fmla="*/ 6 w 39"/>
              <a:gd name="T9" fmla="*/ 33 h 40"/>
              <a:gd name="T10" fmla="*/ 1 w 39"/>
              <a:gd name="T11" fmla="*/ 20 h 40"/>
              <a:gd name="T12" fmla="*/ 6 w 39"/>
              <a:gd name="T13" fmla="*/ 7 h 40"/>
              <a:gd name="T14" fmla="*/ 20 w 39"/>
              <a:gd name="T15" fmla="*/ 1 h 40"/>
              <a:gd name="T16" fmla="*/ 33 w 39"/>
              <a:gd name="T17" fmla="*/ 7 h 40"/>
              <a:gd name="T18" fmla="*/ 38 w 39"/>
              <a:gd name="T19" fmla="*/ 20 h 40"/>
              <a:gd name="T20" fmla="*/ 39 w 39"/>
              <a:gd name="T21" fmla="*/ 20 h 40"/>
              <a:gd name="T22" fmla="*/ 39 w 39"/>
              <a:gd name="T23" fmla="*/ 20 h 40"/>
              <a:gd name="T24" fmla="*/ 20 w 39"/>
              <a:gd name="T25" fmla="*/ 0 h 40"/>
              <a:gd name="T26" fmla="*/ 0 w 39"/>
              <a:gd name="T27" fmla="*/ 20 h 40"/>
              <a:gd name="T28" fmla="*/ 20 w 39"/>
              <a:gd name="T29" fmla="*/ 40 h 40"/>
              <a:gd name="T30" fmla="*/ 39 w 39"/>
              <a:gd name="T3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0">
                <a:moveTo>
                  <a:pt x="39" y="20"/>
                </a:moveTo>
                <a:cubicBezTo>
                  <a:pt x="38" y="20"/>
                  <a:pt x="38" y="20"/>
                  <a:pt x="38" y="20"/>
                </a:cubicBezTo>
                <a:cubicBezTo>
                  <a:pt x="38" y="25"/>
                  <a:pt x="36" y="30"/>
                  <a:pt x="33" y="33"/>
                </a:cubicBezTo>
                <a:cubicBezTo>
                  <a:pt x="30" y="37"/>
                  <a:pt x="25" y="39"/>
                  <a:pt x="20" y="39"/>
                </a:cubicBezTo>
                <a:cubicBezTo>
                  <a:pt x="14" y="39"/>
                  <a:pt x="10" y="37"/>
                  <a:pt x="6" y="33"/>
                </a:cubicBezTo>
                <a:cubicBezTo>
                  <a:pt x="3" y="30"/>
                  <a:pt x="1" y="25"/>
                  <a:pt x="1" y="20"/>
                </a:cubicBezTo>
                <a:cubicBezTo>
                  <a:pt x="1" y="15"/>
                  <a:pt x="3" y="10"/>
                  <a:pt x="6" y="7"/>
                </a:cubicBezTo>
                <a:cubicBezTo>
                  <a:pt x="10" y="3"/>
                  <a:pt x="14" y="1"/>
                  <a:pt x="20" y="1"/>
                </a:cubicBezTo>
                <a:cubicBezTo>
                  <a:pt x="25" y="1"/>
                  <a:pt x="30" y="3"/>
                  <a:pt x="33" y="7"/>
                </a:cubicBezTo>
                <a:cubicBezTo>
                  <a:pt x="36" y="10"/>
                  <a:pt x="38" y="15"/>
                  <a:pt x="38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9"/>
                  <a:pt x="3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ubicBezTo>
                  <a:pt x="30" y="40"/>
                  <a:pt x="39" y="31"/>
                  <a:pt x="39" y="20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3" name="Freeform 185">
            <a:extLst>
              <a:ext uri="{FF2B5EF4-FFF2-40B4-BE49-F238E27FC236}">
                <a16:creationId xmlns:a16="http://schemas.microsoft.com/office/drawing/2014/main" id="{26907AFF-5AEF-43FD-9E44-1E953F0BCBB3}"/>
              </a:ext>
            </a:extLst>
          </p:cNvPr>
          <p:cNvSpPr>
            <a:spLocks/>
          </p:cNvSpPr>
          <p:nvPr/>
        </p:nvSpPr>
        <p:spPr bwMode="auto">
          <a:xfrm>
            <a:off x="7156606" y="3336517"/>
            <a:ext cx="168190" cy="168190"/>
          </a:xfrm>
          <a:custGeom>
            <a:avLst/>
            <a:gdLst>
              <a:gd name="T0" fmla="*/ 29 w 30"/>
              <a:gd name="T1" fmla="*/ 15 h 30"/>
              <a:gd name="T2" fmla="*/ 29 w 30"/>
              <a:gd name="T3" fmla="*/ 15 h 30"/>
              <a:gd name="T4" fmla="*/ 25 w 30"/>
              <a:gd name="T5" fmla="*/ 25 h 30"/>
              <a:gd name="T6" fmla="*/ 15 w 30"/>
              <a:gd name="T7" fmla="*/ 29 h 30"/>
              <a:gd name="T8" fmla="*/ 5 w 30"/>
              <a:gd name="T9" fmla="*/ 25 h 30"/>
              <a:gd name="T10" fmla="*/ 1 w 30"/>
              <a:gd name="T11" fmla="*/ 15 h 30"/>
              <a:gd name="T12" fmla="*/ 5 w 30"/>
              <a:gd name="T13" fmla="*/ 5 h 30"/>
              <a:gd name="T14" fmla="*/ 15 w 30"/>
              <a:gd name="T15" fmla="*/ 1 h 30"/>
              <a:gd name="T16" fmla="*/ 25 w 30"/>
              <a:gd name="T17" fmla="*/ 5 h 30"/>
              <a:gd name="T18" fmla="*/ 29 w 30"/>
              <a:gd name="T19" fmla="*/ 15 h 30"/>
              <a:gd name="T20" fmla="*/ 29 w 30"/>
              <a:gd name="T21" fmla="*/ 15 h 30"/>
              <a:gd name="T22" fmla="*/ 30 w 30"/>
              <a:gd name="T23" fmla="*/ 15 h 30"/>
              <a:gd name="T24" fmla="*/ 15 w 30"/>
              <a:gd name="T25" fmla="*/ 0 h 30"/>
              <a:gd name="T26" fmla="*/ 0 w 30"/>
              <a:gd name="T27" fmla="*/ 15 h 30"/>
              <a:gd name="T28" fmla="*/ 15 w 30"/>
              <a:gd name="T29" fmla="*/ 30 h 30"/>
              <a:gd name="T30" fmla="*/ 30 w 30"/>
              <a:gd name="T31" fmla="*/ 15 h 30"/>
              <a:gd name="T32" fmla="*/ 29 w 30"/>
              <a:gd name="T33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30">
                <a:moveTo>
                  <a:pt x="29" y="15"/>
                </a:moveTo>
                <a:cubicBezTo>
                  <a:pt x="29" y="15"/>
                  <a:pt x="29" y="15"/>
                  <a:pt x="29" y="15"/>
                </a:cubicBezTo>
                <a:cubicBezTo>
                  <a:pt x="29" y="19"/>
                  <a:pt x="27" y="22"/>
                  <a:pt x="25" y="25"/>
                </a:cubicBezTo>
                <a:cubicBezTo>
                  <a:pt x="22" y="28"/>
                  <a:pt x="19" y="29"/>
                  <a:pt x="15" y="29"/>
                </a:cubicBezTo>
                <a:cubicBezTo>
                  <a:pt x="11" y="29"/>
                  <a:pt x="7" y="28"/>
                  <a:pt x="5" y="25"/>
                </a:cubicBezTo>
                <a:cubicBezTo>
                  <a:pt x="2" y="22"/>
                  <a:pt x="1" y="19"/>
                  <a:pt x="1" y="15"/>
                </a:cubicBezTo>
                <a:cubicBezTo>
                  <a:pt x="1" y="11"/>
                  <a:pt x="2" y="8"/>
                  <a:pt x="5" y="5"/>
                </a:cubicBezTo>
                <a:cubicBezTo>
                  <a:pt x="7" y="2"/>
                  <a:pt x="11" y="1"/>
                  <a:pt x="15" y="1"/>
                </a:cubicBezTo>
                <a:cubicBezTo>
                  <a:pt x="19" y="1"/>
                  <a:pt x="22" y="2"/>
                  <a:pt x="25" y="5"/>
                </a:cubicBezTo>
                <a:cubicBezTo>
                  <a:pt x="27" y="8"/>
                  <a:pt x="29" y="11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7"/>
                  <a:pt x="23" y="0"/>
                  <a:pt x="15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23"/>
                  <a:pt x="6" y="30"/>
                  <a:pt x="15" y="30"/>
                </a:cubicBezTo>
                <a:cubicBezTo>
                  <a:pt x="23" y="30"/>
                  <a:pt x="30" y="23"/>
                  <a:pt x="30" y="15"/>
                </a:cubicBezTo>
                <a:lnTo>
                  <a:pt x="29" y="1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4" name="Freeform 186">
            <a:extLst>
              <a:ext uri="{FF2B5EF4-FFF2-40B4-BE49-F238E27FC236}">
                <a16:creationId xmlns:a16="http://schemas.microsoft.com/office/drawing/2014/main" id="{ACABFBD9-8196-45A3-A203-60380B09C752}"/>
              </a:ext>
            </a:extLst>
          </p:cNvPr>
          <p:cNvSpPr>
            <a:spLocks/>
          </p:cNvSpPr>
          <p:nvPr/>
        </p:nvSpPr>
        <p:spPr bwMode="auto">
          <a:xfrm>
            <a:off x="7178737" y="3358647"/>
            <a:ext cx="117291" cy="123929"/>
          </a:xfrm>
          <a:custGeom>
            <a:avLst/>
            <a:gdLst>
              <a:gd name="T0" fmla="*/ 21 w 21"/>
              <a:gd name="T1" fmla="*/ 11 h 22"/>
              <a:gd name="T2" fmla="*/ 21 w 21"/>
              <a:gd name="T3" fmla="*/ 11 h 22"/>
              <a:gd name="T4" fmla="*/ 18 w 21"/>
              <a:gd name="T5" fmla="*/ 18 h 22"/>
              <a:gd name="T6" fmla="*/ 11 w 21"/>
              <a:gd name="T7" fmla="*/ 21 h 22"/>
              <a:gd name="T8" fmla="*/ 4 w 21"/>
              <a:gd name="T9" fmla="*/ 18 h 22"/>
              <a:gd name="T10" fmla="*/ 1 w 21"/>
              <a:gd name="T11" fmla="*/ 11 h 22"/>
              <a:gd name="T12" fmla="*/ 4 w 21"/>
              <a:gd name="T13" fmla="*/ 4 h 22"/>
              <a:gd name="T14" fmla="*/ 11 w 21"/>
              <a:gd name="T15" fmla="*/ 1 h 22"/>
              <a:gd name="T16" fmla="*/ 18 w 21"/>
              <a:gd name="T17" fmla="*/ 4 h 22"/>
              <a:gd name="T18" fmla="*/ 21 w 21"/>
              <a:gd name="T19" fmla="*/ 11 h 22"/>
              <a:gd name="T20" fmla="*/ 21 w 21"/>
              <a:gd name="T21" fmla="*/ 11 h 22"/>
              <a:gd name="T22" fmla="*/ 21 w 21"/>
              <a:gd name="T23" fmla="*/ 11 h 22"/>
              <a:gd name="T24" fmla="*/ 11 w 21"/>
              <a:gd name="T25" fmla="*/ 0 h 22"/>
              <a:gd name="T26" fmla="*/ 0 w 21"/>
              <a:gd name="T27" fmla="*/ 11 h 22"/>
              <a:gd name="T28" fmla="*/ 11 w 21"/>
              <a:gd name="T29" fmla="*/ 22 h 22"/>
              <a:gd name="T30" fmla="*/ 21 w 21"/>
              <a:gd name="T31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" h="22">
                <a:moveTo>
                  <a:pt x="21" y="11"/>
                </a:moveTo>
                <a:cubicBezTo>
                  <a:pt x="21" y="11"/>
                  <a:pt x="21" y="11"/>
                  <a:pt x="21" y="11"/>
                </a:cubicBezTo>
                <a:cubicBezTo>
                  <a:pt x="21" y="14"/>
                  <a:pt x="19" y="16"/>
                  <a:pt x="18" y="18"/>
                </a:cubicBezTo>
                <a:cubicBezTo>
                  <a:pt x="16" y="20"/>
                  <a:pt x="13" y="21"/>
                  <a:pt x="11" y="21"/>
                </a:cubicBezTo>
                <a:cubicBezTo>
                  <a:pt x="8" y="21"/>
                  <a:pt x="5" y="20"/>
                  <a:pt x="4" y="18"/>
                </a:cubicBezTo>
                <a:cubicBezTo>
                  <a:pt x="2" y="16"/>
                  <a:pt x="1" y="14"/>
                  <a:pt x="1" y="11"/>
                </a:cubicBezTo>
                <a:cubicBezTo>
                  <a:pt x="1" y="8"/>
                  <a:pt x="2" y="6"/>
                  <a:pt x="4" y="4"/>
                </a:cubicBezTo>
                <a:cubicBezTo>
                  <a:pt x="5" y="2"/>
                  <a:pt x="8" y="1"/>
                  <a:pt x="11" y="1"/>
                </a:cubicBezTo>
                <a:cubicBezTo>
                  <a:pt x="13" y="1"/>
                  <a:pt x="16" y="2"/>
                  <a:pt x="18" y="4"/>
                </a:cubicBezTo>
                <a:cubicBezTo>
                  <a:pt x="19" y="6"/>
                  <a:pt x="21" y="8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5"/>
                  <a:pt x="17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2"/>
                  <a:pt x="11" y="22"/>
                </a:cubicBezTo>
                <a:cubicBezTo>
                  <a:pt x="17" y="22"/>
                  <a:pt x="21" y="17"/>
                  <a:pt x="21" y="11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5" name="Oval 187">
            <a:extLst>
              <a:ext uri="{FF2B5EF4-FFF2-40B4-BE49-F238E27FC236}">
                <a16:creationId xmlns:a16="http://schemas.microsoft.com/office/drawing/2014/main" id="{69EF9E16-1280-43E1-8E64-CE17B4EE0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7505" y="3387417"/>
            <a:ext cx="66391" cy="66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6" name="Freeform 188">
            <a:extLst>
              <a:ext uri="{FF2B5EF4-FFF2-40B4-BE49-F238E27FC236}">
                <a16:creationId xmlns:a16="http://schemas.microsoft.com/office/drawing/2014/main" id="{130CEEA4-4E6B-498B-95D0-6DB7E4F317DA}"/>
              </a:ext>
            </a:extLst>
          </p:cNvPr>
          <p:cNvSpPr>
            <a:spLocks/>
          </p:cNvSpPr>
          <p:nvPr/>
        </p:nvSpPr>
        <p:spPr bwMode="auto">
          <a:xfrm>
            <a:off x="7200867" y="3387417"/>
            <a:ext cx="73030" cy="66391"/>
          </a:xfrm>
          <a:custGeom>
            <a:avLst/>
            <a:gdLst>
              <a:gd name="T0" fmla="*/ 13 w 13"/>
              <a:gd name="T1" fmla="*/ 6 h 12"/>
              <a:gd name="T2" fmla="*/ 12 w 13"/>
              <a:gd name="T3" fmla="*/ 6 h 12"/>
              <a:gd name="T4" fmla="*/ 11 w 13"/>
              <a:gd name="T5" fmla="*/ 10 h 12"/>
              <a:gd name="T6" fmla="*/ 7 w 13"/>
              <a:gd name="T7" fmla="*/ 12 h 12"/>
              <a:gd name="T8" fmla="*/ 3 w 13"/>
              <a:gd name="T9" fmla="*/ 10 h 12"/>
              <a:gd name="T10" fmla="*/ 1 w 13"/>
              <a:gd name="T11" fmla="*/ 6 h 12"/>
              <a:gd name="T12" fmla="*/ 3 w 13"/>
              <a:gd name="T13" fmla="*/ 2 h 12"/>
              <a:gd name="T14" fmla="*/ 7 w 13"/>
              <a:gd name="T15" fmla="*/ 0 h 12"/>
              <a:gd name="T16" fmla="*/ 11 w 13"/>
              <a:gd name="T17" fmla="*/ 2 h 12"/>
              <a:gd name="T18" fmla="*/ 12 w 13"/>
              <a:gd name="T19" fmla="*/ 6 h 12"/>
              <a:gd name="T20" fmla="*/ 13 w 13"/>
              <a:gd name="T21" fmla="*/ 6 h 12"/>
              <a:gd name="T22" fmla="*/ 13 w 13"/>
              <a:gd name="T23" fmla="*/ 6 h 12"/>
              <a:gd name="T24" fmla="*/ 7 w 13"/>
              <a:gd name="T25" fmla="*/ 0 h 12"/>
              <a:gd name="T26" fmla="*/ 0 w 13"/>
              <a:gd name="T27" fmla="*/ 6 h 12"/>
              <a:gd name="T28" fmla="*/ 7 w 13"/>
              <a:gd name="T29" fmla="*/ 12 h 12"/>
              <a:gd name="T30" fmla="*/ 13 w 13"/>
              <a:gd name="T3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2">
                <a:moveTo>
                  <a:pt x="13" y="6"/>
                </a:moveTo>
                <a:cubicBezTo>
                  <a:pt x="12" y="6"/>
                  <a:pt x="12" y="6"/>
                  <a:pt x="12" y="6"/>
                </a:cubicBezTo>
                <a:cubicBezTo>
                  <a:pt x="12" y="8"/>
                  <a:pt x="12" y="9"/>
                  <a:pt x="11" y="10"/>
                </a:cubicBezTo>
                <a:cubicBezTo>
                  <a:pt x="10" y="11"/>
                  <a:pt x="8" y="12"/>
                  <a:pt x="7" y="12"/>
                </a:cubicBezTo>
                <a:cubicBezTo>
                  <a:pt x="5" y="12"/>
                  <a:pt x="4" y="11"/>
                  <a:pt x="3" y="10"/>
                </a:cubicBezTo>
                <a:cubicBezTo>
                  <a:pt x="2" y="9"/>
                  <a:pt x="1" y="8"/>
                  <a:pt x="1" y="6"/>
                </a:cubicBezTo>
                <a:cubicBezTo>
                  <a:pt x="1" y="4"/>
                  <a:pt x="2" y="3"/>
                  <a:pt x="3" y="2"/>
                </a:cubicBezTo>
                <a:cubicBezTo>
                  <a:pt x="4" y="1"/>
                  <a:pt x="5" y="0"/>
                  <a:pt x="7" y="0"/>
                </a:cubicBezTo>
                <a:cubicBezTo>
                  <a:pt x="8" y="0"/>
                  <a:pt x="10" y="1"/>
                  <a:pt x="11" y="2"/>
                </a:cubicBezTo>
                <a:cubicBezTo>
                  <a:pt x="12" y="3"/>
                  <a:pt x="12" y="4"/>
                  <a:pt x="12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2"/>
                  <a:pt x="10" y="0"/>
                  <a:pt x="7" y="0"/>
                </a:cubicBezTo>
                <a:cubicBezTo>
                  <a:pt x="3" y="0"/>
                  <a:pt x="0" y="2"/>
                  <a:pt x="0" y="6"/>
                </a:cubicBezTo>
                <a:cubicBezTo>
                  <a:pt x="0" y="10"/>
                  <a:pt x="3" y="12"/>
                  <a:pt x="7" y="12"/>
                </a:cubicBezTo>
                <a:cubicBezTo>
                  <a:pt x="10" y="12"/>
                  <a:pt x="13" y="10"/>
                  <a:pt x="13" y="6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7" name="Oval 189">
            <a:extLst>
              <a:ext uri="{FF2B5EF4-FFF2-40B4-BE49-F238E27FC236}">
                <a16:creationId xmlns:a16="http://schemas.microsoft.com/office/drawing/2014/main" id="{088D11BE-2546-4A75-9A73-50DDF3026B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5209" y="3402908"/>
            <a:ext cx="26556" cy="3540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8" name="Freeform 190">
            <a:extLst>
              <a:ext uri="{FF2B5EF4-FFF2-40B4-BE49-F238E27FC236}">
                <a16:creationId xmlns:a16="http://schemas.microsoft.com/office/drawing/2014/main" id="{27488300-FB03-457A-9EF4-5B05477ED127}"/>
              </a:ext>
            </a:extLst>
          </p:cNvPr>
          <p:cNvSpPr>
            <a:spLocks/>
          </p:cNvSpPr>
          <p:nvPr/>
        </p:nvSpPr>
        <p:spPr bwMode="auto">
          <a:xfrm>
            <a:off x="7225209" y="3402908"/>
            <a:ext cx="33196" cy="35408"/>
          </a:xfrm>
          <a:custGeom>
            <a:avLst/>
            <a:gdLst>
              <a:gd name="T0" fmla="*/ 5 w 6"/>
              <a:gd name="T1" fmla="*/ 3 h 6"/>
              <a:gd name="T2" fmla="*/ 5 w 6"/>
              <a:gd name="T3" fmla="*/ 3 h 6"/>
              <a:gd name="T4" fmla="*/ 3 w 6"/>
              <a:gd name="T5" fmla="*/ 5 h 6"/>
              <a:gd name="T6" fmla="*/ 1 w 6"/>
              <a:gd name="T7" fmla="*/ 3 h 6"/>
              <a:gd name="T8" fmla="*/ 3 w 6"/>
              <a:gd name="T9" fmla="*/ 1 h 6"/>
              <a:gd name="T10" fmla="*/ 5 w 6"/>
              <a:gd name="T11" fmla="*/ 3 h 6"/>
              <a:gd name="T12" fmla="*/ 5 w 6"/>
              <a:gd name="T13" fmla="*/ 3 h 6"/>
              <a:gd name="T14" fmla="*/ 6 w 6"/>
              <a:gd name="T15" fmla="*/ 3 h 6"/>
              <a:gd name="T16" fmla="*/ 3 w 6"/>
              <a:gd name="T17" fmla="*/ 0 h 6"/>
              <a:gd name="T18" fmla="*/ 0 w 6"/>
              <a:gd name="T19" fmla="*/ 3 h 6"/>
              <a:gd name="T20" fmla="*/ 3 w 6"/>
              <a:gd name="T21" fmla="*/ 6 h 6"/>
              <a:gd name="T22" fmla="*/ 6 w 6"/>
              <a:gd name="T23" fmla="*/ 3 h 6"/>
              <a:gd name="T24" fmla="*/ 5 w 6"/>
              <a:gd name="T25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6">
                <a:moveTo>
                  <a:pt x="5" y="3"/>
                </a:moveTo>
                <a:cubicBezTo>
                  <a:pt x="5" y="3"/>
                  <a:pt x="5" y="3"/>
                  <a:pt x="5" y="3"/>
                </a:cubicBezTo>
                <a:cubicBezTo>
                  <a:pt x="5" y="4"/>
                  <a:pt x="4" y="5"/>
                  <a:pt x="3" y="5"/>
                </a:cubicBezTo>
                <a:cubicBezTo>
                  <a:pt x="1" y="5"/>
                  <a:pt x="1" y="4"/>
                  <a:pt x="1" y="3"/>
                </a:cubicBezTo>
                <a:cubicBezTo>
                  <a:pt x="1" y="2"/>
                  <a:pt x="1" y="1"/>
                  <a:pt x="3" y="1"/>
                </a:cubicBezTo>
                <a:cubicBezTo>
                  <a:pt x="4" y="1"/>
                  <a:pt x="5" y="2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1"/>
                  <a:pt x="4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cubicBezTo>
                  <a:pt x="4" y="6"/>
                  <a:pt x="6" y="5"/>
                  <a:pt x="6" y="3"/>
                </a:cubicBezTo>
                <a:lnTo>
                  <a:pt x="5" y="3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9" name="Oval 191">
            <a:extLst>
              <a:ext uri="{FF2B5EF4-FFF2-40B4-BE49-F238E27FC236}">
                <a16:creationId xmlns:a16="http://schemas.microsoft.com/office/drawing/2014/main" id="{90930558-4EB1-460F-9895-D80DF98A3F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1884" y="3369713"/>
            <a:ext cx="50900" cy="5090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0" name="Freeform 192">
            <a:extLst>
              <a:ext uri="{FF2B5EF4-FFF2-40B4-BE49-F238E27FC236}">
                <a16:creationId xmlns:a16="http://schemas.microsoft.com/office/drawing/2014/main" id="{DEF3D0E9-147F-42C6-8398-9B5E5D1D47BB}"/>
              </a:ext>
            </a:extLst>
          </p:cNvPr>
          <p:cNvSpPr>
            <a:spLocks/>
          </p:cNvSpPr>
          <p:nvPr/>
        </p:nvSpPr>
        <p:spPr bwMode="auto">
          <a:xfrm>
            <a:off x="2411884" y="3369713"/>
            <a:ext cx="50900" cy="50900"/>
          </a:xfrm>
          <a:custGeom>
            <a:avLst/>
            <a:gdLst>
              <a:gd name="T0" fmla="*/ 9 w 9"/>
              <a:gd name="T1" fmla="*/ 5 h 9"/>
              <a:gd name="T2" fmla="*/ 8 w 9"/>
              <a:gd name="T3" fmla="*/ 5 h 9"/>
              <a:gd name="T4" fmla="*/ 4 w 9"/>
              <a:gd name="T5" fmla="*/ 8 h 9"/>
              <a:gd name="T6" fmla="*/ 1 w 9"/>
              <a:gd name="T7" fmla="*/ 5 h 9"/>
              <a:gd name="T8" fmla="*/ 4 w 9"/>
              <a:gd name="T9" fmla="*/ 1 h 9"/>
              <a:gd name="T10" fmla="*/ 8 w 9"/>
              <a:gd name="T11" fmla="*/ 5 h 9"/>
              <a:gd name="T12" fmla="*/ 9 w 9"/>
              <a:gd name="T13" fmla="*/ 5 h 9"/>
              <a:gd name="T14" fmla="*/ 9 w 9"/>
              <a:gd name="T15" fmla="*/ 5 h 9"/>
              <a:gd name="T16" fmla="*/ 4 w 9"/>
              <a:gd name="T17" fmla="*/ 0 h 9"/>
              <a:gd name="T18" fmla="*/ 0 w 9"/>
              <a:gd name="T19" fmla="*/ 5 h 9"/>
              <a:gd name="T20" fmla="*/ 4 w 9"/>
              <a:gd name="T21" fmla="*/ 9 h 9"/>
              <a:gd name="T22" fmla="*/ 9 w 9"/>
              <a:gd name="T23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9">
                <a:moveTo>
                  <a:pt x="9" y="5"/>
                </a:moveTo>
                <a:cubicBezTo>
                  <a:pt x="8" y="5"/>
                  <a:pt x="8" y="5"/>
                  <a:pt x="8" y="5"/>
                </a:cubicBezTo>
                <a:cubicBezTo>
                  <a:pt x="8" y="7"/>
                  <a:pt x="6" y="8"/>
                  <a:pt x="4" y="8"/>
                </a:cubicBezTo>
                <a:cubicBezTo>
                  <a:pt x="2" y="8"/>
                  <a:pt x="1" y="7"/>
                  <a:pt x="1" y="5"/>
                </a:cubicBezTo>
                <a:cubicBezTo>
                  <a:pt x="1" y="3"/>
                  <a:pt x="2" y="1"/>
                  <a:pt x="4" y="1"/>
                </a:cubicBezTo>
                <a:cubicBezTo>
                  <a:pt x="6" y="1"/>
                  <a:pt x="8" y="3"/>
                  <a:pt x="8" y="5"/>
                </a:cubicBezTo>
                <a:cubicBezTo>
                  <a:pt x="9" y="5"/>
                  <a:pt x="9" y="5"/>
                  <a:pt x="9" y="5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9"/>
                  <a:pt x="4" y="9"/>
                </a:cubicBezTo>
                <a:cubicBezTo>
                  <a:pt x="7" y="9"/>
                  <a:pt x="9" y="7"/>
                  <a:pt x="9" y="5"/>
                </a:cubicBez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1" name="Oval 193">
            <a:extLst>
              <a:ext uri="{FF2B5EF4-FFF2-40B4-BE49-F238E27FC236}">
                <a16:creationId xmlns:a16="http://schemas.microsoft.com/office/drawing/2014/main" id="{CCF6EB4C-5A87-436D-9BE3-490EB86CC2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0530" y="3621998"/>
            <a:ext cx="57539" cy="5532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2" name="Freeform 194">
            <a:extLst>
              <a:ext uri="{FF2B5EF4-FFF2-40B4-BE49-F238E27FC236}">
                <a16:creationId xmlns:a16="http://schemas.microsoft.com/office/drawing/2014/main" id="{B7B36422-350B-47D0-AE1A-BB9C78A016C5}"/>
              </a:ext>
            </a:extLst>
          </p:cNvPr>
          <p:cNvSpPr>
            <a:spLocks/>
          </p:cNvSpPr>
          <p:nvPr/>
        </p:nvSpPr>
        <p:spPr bwMode="auto">
          <a:xfrm>
            <a:off x="5410530" y="3621998"/>
            <a:ext cx="61965" cy="61965"/>
          </a:xfrm>
          <a:custGeom>
            <a:avLst/>
            <a:gdLst>
              <a:gd name="T0" fmla="*/ 10 w 11"/>
              <a:gd name="T1" fmla="*/ 5 h 11"/>
              <a:gd name="T2" fmla="*/ 10 w 11"/>
              <a:gd name="T3" fmla="*/ 5 h 11"/>
              <a:gd name="T4" fmla="*/ 5 w 11"/>
              <a:gd name="T5" fmla="*/ 10 h 11"/>
              <a:gd name="T6" fmla="*/ 1 w 11"/>
              <a:gd name="T7" fmla="*/ 5 h 11"/>
              <a:gd name="T8" fmla="*/ 5 w 11"/>
              <a:gd name="T9" fmla="*/ 1 h 11"/>
              <a:gd name="T10" fmla="*/ 10 w 11"/>
              <a:gd name="T11" fmla="*/ 5 h 11"/>
              <a:gd name="T12" fmla="*/ 10 w 11"/>
              <a:gd name="T13" fmla="*/ 5 h 11"/>
              <a:gd name="T14" fmla="*/ 11 w 11"/>
              <a:gd name="T15" fmla="*/ 5 h 11"/>
              <a:gd name="T16" fmla="*/ 5 w 11"/>
              <a:gd name="T17" fmla="*/ 0 h 11"/>
              <a:gd name="T18" fmla="*/ 0 w 11"/>
              <a:gd name="T19" fmla="*/ 5 h 11"/>
              <a:gd name="T20" fmla="*/ 5 w 11"/>
              <a:gd name="T21" fmla="*/ 11 h 11"/>
              <a:gd name="T22" fmla="*/ 11 w 11"/>
              <a:gd name="T23" fmla="*/ 5 h 11"/>
              <a:gd name="T24" fmla="*/ 10 w 11"/>
              <a:gd name="T25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11">
                <a:moveTo>
                  <a:pt x="10" y="5"/>
                </a:moveTo>
                <a:cubicBezTo>
                  <a:pt x="10" y="5"/>
                  <a:pt x="10" y="5"/>
                  <a:pt x="10" y="5"/>
                </a:cubicBezTo>
                <a:cubicBezTo>
                  <a:pt x="10" y="8"/>
                  <a:pt x="8" y="10"/>
                  <a:pt x="5" y="10"/>
                </a:cubicBezTo>
                <a:cubicBezTo>
                  <a:pt x="3" y="10"/>
                  <a:pt x="1" y="8"/>
                  <a:pt x="1" y="5"/>
                </a:cubicBezTo>
                <a:cubicBezTo>
                  <a:pt x="1" y="3"/>
                  <a:pt x="3" y="1"/>
                  <a:pt x="5" y="1"/>
                </a:cubicBezTo>
                <a:cubicBezTo>
                  <a:pt x="8" y="1"/>
                  <a:pt x="10" y="3"/>
                  <a:pt x="10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8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8"/>
                  <a:pt x="2" y="11"/>
                  <a:pt x="5" y="11"/>
                </a:cubicBezTo>
                <a:cubicBezTo>
                  <a:pt x="8" y="11"/>
                  <a:pt x="11" y="8"/>
                  <a:pt x="11" y="5"/>
                </a:cubicBezTo>
                <a:lnTo>
                  <a:pt x="10" y="5"/>
                </a:lnTo>
                <a:close/>
              </a:path>
            </a:pathLst>
          </a:custGeom>
          <a:solidFill>
            <a:srgbClr val="98A2A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3" name="Rectangle 195">
            <a:extLst>
              <a:ext uri="{FF2B5EF4-FFF2-40B4-BE49-F238E27FC236}">
                <a16:creationId xmlns:a16="http://schemas.microsoft.com/office/drawing/2014/main" id="{13B8840A-C749-4987-A3D7-F8AA9557B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3565" y="3617572"/>
            <a:ext cx="161551" cy="13942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4" name="Freeform 196">
            <a:extLst>
              <a:ext uri="{FF2B5EF4-FFF2-40B4-BE49-F238E27FC236}">
                <a16:creationId xmlns:a16="http://schemas.microsoft.com/office/drawing/2014/main" id="{A47D6A68-3DF2-43A9-9B58-9947A6B1A834}"/>
              </a:ext>
            </a:extLst>
          </p:cNvPr>
          <p:cNvSpPr>
            <a:spLocks/>
          </p:cNvSpPr>
          <p:nvPr/>
        </p:nvSpPr>
        <p:spPr bwMode="auto">
          <a:xfrm>
            <a:off x="7353565" y="3610932"/>
            <a:ext cx="168190" cy="150486"/>
          </a:xfrm>
          <a:custGeom>
            <a:avLst/>
            <a:gdLst>
              <a:gd name="T0" fmla="*/ 73 w 76"/>
              <a:gd name="T1" fmla="*/ 66 h 68"/>
              <a:gd name="T2" fmla="*/ 73 w 76"/>
              <a:gd name="T3" fmla="*/ 66 h 68"/>
              <a:gd name="T4" fmla="*/ 0 w 76"/>
              <a:gd name="T5" fmla="*/ 66 h 68"/>
              <a:gd name="T6" fmla="*/ 0 w 76"/>
              <a:gd name="T7" fmla="*/ 3 h 68"/>
              <a:gd name="T8" fmla="*/ 73 w 76"/>
              <a:gd name="T9" fmla="*/ 3 h 68"/>
              <a:gd name="T10" fmla="*/ 73 w 76"/>
              <a:gd name="T11" fmla="*/ 66 h 68"/>
              <a:gd name="T12" fmla="*/ 73 w 76"/>
              <a:gd name="T13" fmla="*/ 66 h 68"/>
              <a:gd name="T14" fmla="*/ 73 w 76"/>
              <a:gd name="T15" fmla="*/ 66 h 68"/>
              <a:gd name="T16" fmla="*/ 73 w 76"/>
              <a:gd name="T17" fmla="*/ 66 h 68"/>
              <a:gd name="T18" fmla="*/ 76 w 76"/>
              <a:gd name="T19" fmla="*/ 66 h 68"/>
              <a:gd name="T20" fmla="*/ 76 w 76"/>
              <a:gd name="T21" fmla="*/ 0 h 68"/>
              <a:gd name="T22" fmla="*/ 0 w 76"/>
              <a:gd name="T23" fmla="*/ 0 h 68"/>
              <a:gd name="T24" fmla="*/ 0 w 76"/>
              <a:gd name="T25" fmla="*/ 68 h 68"/>
              <a:gd name="T26" fmla="*/ 76 w 76"/>
              <a:gd name="T27" fmla="*/ 68 h 68"/>
              <a:gd name="T28" fmla="*/ 76 w 76"/>
              <a:gd name="T29" fmla="*/ 66 h 68"/>
              <a:gd name="T30" fmla="*/ 73 w 76"/>
              <a:gd name="T31" fmla="*/ 66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6" h="68">
                <a:moveTo>
                  <a:pt x="73" y="66"/>
                </a:moveTo>
                <a:lnTo>
                  <a:pt x="73" y="66"/>
                </a:lnTo>
                <a:lnTo>
                  <a:pt x="0" y="66"/>
                </a:lnTo>
                <a:lnTo>
                  <a:pt x="0" y="3"/>
                </a:lnTo>
                <a:lnTo>
                  <a:pt x="73" y="3"/>
                </a:lnTo>
                <a:lnTo>
                  <a:pt x="73" y="66"/>
                </a:lnTo>
                <a:lnTo>
                  <a:pt x="73" y="66"/>
                </a:lnTo>
                <a:lnTo>
                  <a:pt x="73" y="66"/>
                </a:lnTo>
                <a:lnTo>
                  <a:pt x="73" y="66"/>
                </a:lnTo>
                <a:lnTo>
                  <a:pt x="76" y="66"/>
                </a:lnTo>
                <a:lnTo>
                  <a:pt x="76" y="0"/>
                </a:lnTo>
                <a:lnTo>
                  <a:pt x="0" y="0"/>
                </a:lnTo>
                <a:lnTo>
                  <a:pt x="0" y="68"/>
                </a:lnTo>
                <a:lnTo>
                  <a:pt x="76" y="68"/>
                </a:lnTo>
                <a:lnTo>
                  <a:pt x="76" y="66"/>
                </a:lnTo>
                <a:lnTo>
                  <a:pt x="73" y="66"/>
                </a:lnTo>
                <a:close/>
              </a:path>
            </a:pathLst>
          </a:custGeom>
          <a:solidFill>
            <a:srgbClr val="00113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5" name="Rectangle 197">
            <a:extLst>
              <a:ext uri="{FF2B5EF4-FFF2-40B4-BE49-F238E27FC236}">
                <a16:creationId xmlns:a16="http://schemas.microsoft.com/office/drawing/2014/main" id="{2855E475-818C-491D-A6DB-ED2785685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0430" y="3533477"/>
            <a:ext cx="161551" cy="22351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6" name="Freeform 198">
            <a:extLst>
              <a:ext uri="{FF2B5EF4-FFF2-40B4-BE49-F238E27FC236}">
                <a16:creationId xmlns:a16="http://schemas.microsoft.com/office/drawing/2014/main" id="{EE085346-0E05-46EF-AF80-16E33898F193}"/>
              </a:ext>
            </a:extLst>
          </p:cNvPr>
          <p:cNvSpPr>
            <a:spLocks/>
          </p:cNvSpPr>
          <p:nvPr/>
        </p:nvSpPr>
        <p:spPr bwMode="auto">
          <a:xfrm>
            <a:off x="7840430" y="3526837"/>
            <a:ext cx="168190" cy="234581"/>
          </a:xfrm>
          <a:custGeom>
            <a:avLst/>
            <a:gdLst>
              <a:gd name="T0" fmla="*/ 73 w 76"/>
              <a:gd name="T1" fmla="*/ 104 h 106"/>
              <a:gd name="T2" fmla="*/ 73 w 76"/>
              <a:gd name="T3" fmla="*/ 104 h 106"/>
              <a:gd name="T4" fmla="*/ 2 w 76"/>
              <a:gd name="T5" fmla="*/ 104 h 106"/>
              <a:gd name="T6" fmla="*/ 2 w 76"/>
              <a:gd name="T7" fmla="*/ 3 h 106"/>
              <a:gd name="T8" fmla="*/ 73 w 76"/>
              <a:gd name="T9" fmla="*/ 3 h 106"/>
              <a:gd name="T10" fmla="*/ 73 w 76"/>
              <a:gd name="T11" fmla="*/ 104 h 106"/>
              <a:gd name="T12" fmla="*/ 73 w 76"/>
              <a:gd name="T13" fmla="*/ 104 h 106"/>
              <a:gd name="T14" fmla="*/ 73 w 76"/>
              <a:gd name="T15" fmla="*/ 104 h 106"/>
              <a:gd name="T16" fmla="*/ 73 w 76"/>
              <a:gd name="T17" fmla="*/ 104 h 106"/>
              <a:gd name="T18" fmla="*/ 76 w 76"/>
              <a:gd name="T19" fmla="*/ 104 h 106"/>
              <a:gd name="T20" fmla="*/ 76 w 76"/>
              <a:gd name="T21" fmla="*/ 0 h 106"/>
              <a:gd name="T22" fmla="*/ 0 w 76"/>
              <a:gd name="T23" fmla="*/ 0 h 106"/>
              <a:gd name="T24" fmla="*/ 0 w 76"/>
              <a:gd name="T25" fmla="*/ 106 h 106"/>
              <a:gd name="T26" fmla="*/ 76 w 76"/>
              <a:gd name="T27" fmla="*/ 106 h 106"/>
              <a:gd name="T28" fmla="*/ 76 w 76"/>
              <a:gd name="T29" fmla="*/ 104 h 106"/>
              <a:gd name="T30" fmla="*/ 73 w 76"/>
              <a:gd name="T31" fmla="*/ 104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6" h="106">
                <a:moveTo>
                  <a:pt x="73" y="104"/>
                </a:moveTo>
                <a:lnTo>
                  <a:pt x="73" y="104"/>
                </a:lnTo>
                <a:lnTo>
                  <a:pt x="2" y="104"/>
                </a:lnTo>
                <a:lnTo>
                  <a:pt x="2" y="3"/>
                </a:lnTo>
                <a:lnTo>
                  <a:pt x="73" y="3"/>
                </a:lnTo>
                <a:lnTo>
                  <a:pt x="73" y="104"/>
                </a:lnTo>
                <a:lnTo>
                  <a:pt x="73" y="104"/>
                </a:lnTo>
                <a:lnTo>
                  <a:pt x="73" y="104"/>
                </a:lnTo>
                <a:lnTo>
                  <a:pt x="73" y="104"/>
                </a:lnTo>
                <a:lnTo>
                  <a:pt x="76" y="104"/>
                </a:lnTo>
                <a:lnTo>
                  <a:pt x="76" y="0"/>
                </a:lnTo>
                <a:lnTo>
                  <a:pt x="0" y="0"/>
                </a:lnTo>
                <a:lnTo>
                  <a:pt x="0" y="106"/>
                </a:lnTo>
                <a:lnTo>
                  <a:pt x="76" y="106"/>
                </a:lnTo>
                <a:lnTo>
                  <a:pt x="76" y="104"/>
                </a:lnTo>
                <a:lnTo>
                  <a:pt x="73" y="104"/>
                </a:lnTo>
                <a:close/>
              </a:path>
            </a:pathLst>
          </a:custGeom>
          <a:solidFill>
            <a:srgbClr val="00113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7" name="Rectangle 199">
            <a:extLst>
              <a:ext uri="{FF2B5EF4-FFF2-40B4-BE49-F238E27FC236}">
                <a16:creationId xmlns:a16="http://schemas.microsoft.com/office/drawing/2014/main" id="{571A1118-4CB7-4A44-94AA-6E983DFB3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2251" y="3533477"/>
            <a:ext cx="236794" cy="22794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8" name="Freeform 200">
            <a:extLst>
              <a:ext uri="{FF2B5EF4-FFF2-40B4-BE49-F238E27FC236}">
                <a16:creationId xmlns:a16="http://schemas.microsoft.com/office/drawing/2014/main" id="{4AFE2213-269D-42DA-938F-95AE90A356CC}"/>
              </a:ext>
            </a:extLst>
          </p:cNvPr>
          <p:cNvSpPr>
            <a:spLocks/>
          </p:cNvSpPr>
          <p:nvPr/>
        </p:nvSpPr>
        <p:spPr bwMode="auto">
          <a:xfrm>
            <a:off x="7402251" y="3533477"/>
            <a:ext cx="241220" cy="227942"/>
          </a:xfrm>
          <a:custGeom>
            <a:avLst/>
            <a:gdLst>
              <a:gd name="T0" fmla="*/ 107 w 109"/>
              <a:gd name="T1" fmla="*/ 103 h 103"/>
              <a:gd name="T2" fmla="*/ 107 w 109"/>
              <a:gd name="T3" fmla="*/ 101 h 103"/>
              <a:gd name="T4" fmla="*/ 3 w 109"/>
              <a:gd name="T5" fmla="*/ 101 h 103"/>
              <a:gd name="T6" fmla="*/ 3 w 109"/>
              <a:gd name="T7" fmla="*/ 0 h 103"/>
              <a:gd name="T8" fmla="*/ 107 w 109"/>
              <a:gd name="T9" fmla="*/ 0 h 103"/>
              <a:gd name="T10" fmla="*/ 107 w 109"/>
              <a:gd name="T11" fmla="*/ 103 h 103"/>
              <a:gd name="T12" fmla="*/ 107 w 109"/>
              <a:gd name="T13" fmla="*/ 103 h 103"/>
              <a:gd name="T14" fmla="*/ 107 w 109"/>
              <a:gd name="T15" fmla="*/ 101 h 103"/>
              <a:gd name="T16" fmla="*/ 107 w 109"/>
              <a:gd name="T17" fmla="*/ 103 h 103"/>
              <a:gd name="T18" fmla="*/ 109 w 109"/>
              <a:gd name="T19" fmla="*/ 103 h 103"/>
              <a:gd name="T20" fmla="*/ 109 w 109"/>
              <a:gd name="T21" fmla="*/ 0 h 103"/>
              <a:gd name="T22" fmla="*/ 0 w 109"/>
              <a:gd name="T23" fmla="*/ 0 h 103"/>
              <a:gd name="T24" fmla="*/ 0 w 109"/>
              <a:gd name="T25" fmla="*/ 103 h 103"/>
              <a:gd name="T26" fmla="*/ 109 w 109"/>
              <a:gd name="T27" fmla="*/ 103 h 103"/>
              <a:gd name="T28" fmla="*/ 109 w 109"/>
              <a:gd name="T29" fmla="*/ 103 h 103"/>
              <a:gd name="T30" fmla="*/ 107 w 109"/>
              <a:gd name="T31" fmla="*/ 10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9" h="103">
                <a:moveTo>
                  <a:pt x="107" y="103"/>
                </a:moveTo>
                <a:lnTo>
                  <a:pt x="107" y="101"/>
                </a:lnTo>
                <a:lnTo>
                  <a:pt x="3" y="101"/>
                </a:lnTo>
                <a:lnTo>
                  <a:pt x="3" y="0"/>
                </a:lnTo>
                <a:lnTo>
                  <a:pt x="107" y="0"/>
                </a:lnTo>
                <a:lnTo>
                  <a:pt x="107" y="103"/>
                </a:lnTo>
                <a:lnTo>
                  <a:pt x="107" y="103"/>
                </a:lnTo>
                <a:lnTo>
                  <a:pt x="107" y="101"/>
                </a:lnTo>
                <a:lnTo>
                  <a:pt x="107" y="103"/>
                </a:lnTo>
                <a:lnTo>
                  <a:pt x="109" y="103"/>
                </a:lnTo>
                <a:lnTo>
                  <a:pt x="109" y="0"/>
                </a:lnTo>
                <a:lnTo>
                  <a:pt x="0" y="0"/>
                </a:lnTo>
                <a:lnTo>
                  <a:pt x="0" y="103"/>
                </a:lnTo>
                <a:lnTo>
                  <a:pt x="109" y="103"/>
                </a:lnTo>
                <a:lnTo>
                  <a:pt x="109" y="103"/>
                </a:lnTo>
                <a:lnTo>
                  <a:pt x="107" y="103"/>
                </a:lnTo>
                <a:close/>
              </a:path>
            </a:pathLst>
          </a:custGeom>
          <a:solidFill>
            <a:srgbClr val="00113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9" name="Freeform 201">
            <a:extLst>
              <a:ext uri="{FF2B5EF4-FFF2-40B4-BE49-F238E27FC236}">
                <a16:creationId xmlns:a16="http://schemas.microsoft.com/office/drawing/2014/main" id="{DD59103D-A9BD-4CA4-A58A-723556930EA9}"/>
              </a:ext>
            </a:extLst>
          </p:cNvPr>
          <p:cNvSpPr>
            <a:spLocks/>
          </p:cNvSpPr>
          <p:nvPr/>
        </p:nvSpPr>
        <p:spPr bwMode="auto">
          <a:xfrm>
            <a:off x="7448726" y="3582163"/>
            <a:ext cx="11066" cy="39834"/>
          </a:xfrm>
          <a:custGeom>
            <a:avLst/>
            <a:gdLst>
              <a:gd name="T0" fmla="*/ 5 w 5"/>
              <a:gd name="T1" fmla="*/ 0 h 18"/>
              <a:gd name="T2" fmla="*/ 0 w 5"/>
              <a:gd name="T3" fmla="*/ 0 h 18"/>
              <a:gd name="T4" fmla="*/ 0 w 5"/>
              <a:gd name="T5" fmla="*/ 18 h 18"/>
              <a:gd name="T6" fmla="*/ 5 w 5"/>
              <a:gd name="T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18">
                <a:moveTo>
                  <a:pt x="5" y="0"/>
                </a:moveTo>
                <a:lnTo>
                  <a:pt x="0" y="0"/>
                </a:lnTo>
                <a:lnTo>
                  <a:pt x="0" y="18"/>
                </a:lnTo>
                <a:lnTo>
                  <a:pt x="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30" name="Freeform 202">
            <a:extLst>
              <a:ext uri="{FF2B5EF4-FFF2-40B4-BE49-F238E27FC236}">
                <a16:creationId xmlns:a16="http://schemas.microsoft.com/office/drawing/2014/main" id="{9E90B843-2895-4889-9FC5-732DE07944ED}"/>
              </a:ext>
            </a:extLst>
          </p:cNvPr>
          <p:cNvSpPr>
            <a:spLocks/>
          </p:cNvSpPr>
          <p:nvPr/>
        </p:nvSpPr>
        <p:spPr bwMode="auto">
          <a:xfrm>
            <a:off x="7448726" y="3582163"/>
            <a:ext cx="11066" cy="39834"/>
          </a:xfrm>
          <a:custGeom>
            <a:avLst/>
            <a:gdLst>
              <a:gd name="T0" fmla="*/ 5 w 5"/>
              <a:gd name="T1" fmla="*/ 0 h 18"/>
              <a:gd name="T2" fmla="*/ 0 w 5"/>
              <a:gd name="T3" fmla="*/ 0 h 18"/>
              <a:gd name="T4" fmla="*/ 0 w 5"/>
              <a:gd name="T5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" h="18">
                <a:moveTo>
                  <a:pt x="5" y="0"/>
                </a:moveTo>
                <a:lnTo>
                  <a:pt x="0" y="0"/>
                </a:lnTo>
                <a:lnTo>
                  <a:pt x="0" y="1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31" name="Freeform 203">
            <a:extLst>
              <a:ext uri="{FF2B5EF4-FFF2-40B4-BE49-F238E27FC236}">
                <a16:creationId xmlns:a16="http://schemas.microsoft.com/office/drawing/2014/main" id="{8A8FEEDF-C32F-43DE-A541-C0DD68E5E846}"/>
              </a:ext>
            </a:extLst>
          </p:cNvPr>
          <p:cNvSpPr>
            <a:spLocks/>
          </p:cNvSpPr>
          <p:nvPr/>
        </p:nvSpPr>
        <p:spPr bwMode="auto">
          <a:xfrm>
            <a:off x="7442086" y="3582163"/>
            <a:ext cx="17704" cy="39834"/>
          </a:xfrm>
          <a:custGeom>
            <a:avLst/>
            <a:gdLst>
              <a:gd name="T0" fmla="*/ 8 w 8"/>
              <a:gd name="T1" fmla="*/ 0 h 18"/>
              <a:gd name="T2" fmla="*/ 0 w 8"/>
              <a:gd name="T3" fmla="*/ 0 h 18"/>
              <a:gd name="T4" fmla="*/ 0 w 8"/>
              <a:gd name="T5" fmla="*/ 18 h 18"/>
              <a:gd name="T6" fmla="*/ 3 w 8"/>
              <a:gd name="T7" fmla="*/ 18 h 18"/>
              <a:gd name="T8" fmla="*/ 3 w 8"/>
              <a:gd name="T9" fmla="*/ 3 h 18"/>
              <a:gd name="T10" fmla="*/ 8 w 8"/>
              <a:gd name="T11" fmla="*/ 3 h 18"/>
              <a:gd name="T12" fmla="*/ 8 w 8"/>
              <a:gd name="T13" fmla="*/ 0 h 18"/>
              <a:gd name="T14" fmla="*/ 8 w 8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18">
                <a:moveTo>
                  <a:pt x="8" y="0"/>
                </a:moveTo>
                <a:lnTo>
                  <a:pt x="0" y="0"/>
                </a:lnTo>
                <a:lnTo>
                  <a:pt x="0" y="18"/>
                </a:lnTo>
                <a:lnTo>
                  <a:pt x="3" y="18"/>
                </a:lnTo>
                <a:lnTo>
                  <a:pt x="3" y="3"/>
                </a:lnTo>
                <a:lnTo>
                  <a:pt x="8" y="3"/>
                </a:lnTo>
                <a:lnTo>
                  <a:pt x="8" y="0"/>
                </a:lnTo>
                <a:lnTo>
                  <a:pt x="8" y="0"/>
                </a:lnTo>
                <a:close/>
              </a:path>
            </a:pathLst>
          </a:custGeom>
          <a:solidFill>
            <a:srgbClr val="00113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32" name="Freeform 204">
            <a:extLst>
              <a:ext uri="{FF2B5EF4-FFF2-40B4-BE49-F238E27FC236}">
                <a16:creationId xmlns:a16="http://schemas.microsoft.com/office/drawing/2014/main" id="{C3780222-E73C-4ED0-BD02-F83D65A2BC7D}"/>
              </a:ext>
            </a:extLst>
          </p:cNvPr>
          <p:cNvSpPr>
            <a:spLocks/>
          </p:cNvSpPr>
          <p:nvPr/>
        </p:nvSpPr>
        <p:spPr bwMode="auto">
          <a:xfrm>
            <a:off x="7492986" y="3582163"/>
            <a:ext cx="17704" cy="39834"/>
          </a:xfrm>
          <a:custGeom>
            <a:avLst/>
            <a:gdLst>
              <a:gd name="T0" fmla="*/ 8 w 8"/>
              <a:gd name="T1" fmla="*/ 0 h 18"/>
              <a:gd name="T2" fmla="*/ 0 w 8"/>
              <a:gd name="T3" fmla="*/ 0 h 18"/>
              <a:gd name="T4" fmla="*/ 0 w 8"/>
              <a:gd name="T5" fmla="*/ 18 h 18"/>
              <a:gd name="T6" fmla="*/ 8 w 8"/>
              <a:gd name="T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8">
                <a:moveTo>
                  <a:pt x="8" y="0"/>
                </a:moveTo>
                <a:lnTo>
                  <a:pt x="0" y="0"/>
                </a:lnTo>
                <a:lnTo>
                  <a:pt x="0" y="18"/>
                </a:lnTo>
                <a:lnTo>
                  <a:pt x="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133" name="Group 406">
            <a:extLst>
              <a:ext uri="{FF2B5EF4-FFF2-40B4-BE49-F238E27FC236}">
                <a16:creationId xmlns:a16="http://schemas.microsoft.com/office/drawing/2014/main" id="{338D8C22-ADF6-4533-AD0D-FD486E61637D}"/>
              </a:ext>
            </a:extLst>
          </p:cNvPr>
          <p:cNvGrpSpPr>
            <a:grpSpLocks/>
          </p:cNvGrpSpPr>
          <p:nvPr/>
        </p:nvGrpSpPr>
        <p:grpSpPr bwMode="auto">
          <a:xfrm>
            <a:off x="218779" y="3011215"/>
            <a:ext cx="8533328" cy="1478312"/>
            <a:chOff x="746" y="1834"/>
            <a:chExt cx="3856" cy="668"/>
          </a:xfrm>
        </p:grpSpPr>
        <p:sp>
          <p:nvSpPr>
            <p:cNvPr id="2137" name="Freeform 206">
              <a:extLst>
                <a:ext uri="{FF2B5EF4-FFF2-40B4-BE49-F238E27FC236}">
                  <a16:creationId xmlns:a16="http://schemas.microsoft.com/office/drawing/2014/main" id="{3F581152-84FF-40A1-8DF8-4BC680BE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092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8" name="Freeform 207">
              <a:extLst>
                <a:ext uri="{FF2B5EF4-FFF2-40B4-BE49-F238E27FC236}">
                  <a16:creationId xmlns:a16="http://schemas.microsoft.com/office/drawing/2014/main" id="{EB7CD22D-7289-4642-A0C2-E9B12210F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092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2 w 8"/>
                <a:gd name="T7" fmla="*/ 18 h 18"/>
                <a:gd name="T8" fmla="*/ 2 w 8"/>
                <a:gd name="T9" fmla="*/ 3 h 18"/>
                <a:gd name="T10" fmla="*/ 8 w 8"/>
                <a:gd name="T11" fmla="*/ 3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9" name="Freeform 208">
              <a:extLst>
                <a:ext uri="{FF2B5EF4-FFF2-40B4-BE49-F238E27FC236}">
                  <a16:creationId xmlns:a16="http://schemas.microsoft.com/office/drawing/2014/main" id="{4BB6B173-CB1C-4DEF-A4CA-DDA38C27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120"/>
              <a:ext cx="5" cy="15"/>
            </a:xfrm>
            <a:custGeom>
              <a:avLst/>
              <a:gdLst>
                <a:gd name="T0" fmla="*/ 5 w 5"/>
                <a:gd name="T1" fmla="*/ 0 h 15"/>
                <a:gd name="T2" fmla="*/ 0 w 5"/>
                <a:gd name="T3" fmla="*/ 0 h 15"/>
                <a:gd name="T4" fmla="*/ 0 w 5"/>
                <a:gd name="T5" fmla="*/ 15 h 15"/>
                <a:gd name="T6" fmla="*/ 5 w 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5">
                  <a:moveTo>
                    <a:pt x="5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0" name="Freeform 209">
              <a:extLst>
                <a:ext uri="{FF2B5EF4-FFF2-40B4-BE49-F238E27FC236}">
                  <a16:creationId xmlns:a16="http://schemas.microsoft.com/office/drawing/2014/main" id="{787CBC69-45A1-42AD-B23A-715873473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120"/>
              <a:ext cx="5" cy="15"/>
            </a:xfrm>
            <a:custGeom>
              <a:avLst/>
              <a:gdLst>
                <a:gd name="T0" fmla="*/ 5 w 5"/>
                <a:gd name="T1" fmla="*/ 0 h 15"/>
                <a:gd name="T2" fmla="*/ 0 w 5"/>
                <a:gd name="T3" fmla="*/ 0 h 15"/>
                <a:gd name="T4" fmla="*/ 0 w 5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5">
                  <a:moveTo>
                    <a:pt x="5" y="0"/>
                  </a:move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1" name="Freeform 210">
              <a:extLst>
                <a:ext uri="{FF2B5EF4-FFF2-40B4-BE49-F238E27FC236}">
                  <a16:creationId xmlns:a16="http://schemas.microsoft.com/office/drawing/2014/main" id="{666D4BC5-3763-4843-AD70-7591441DA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" y="2118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3 w 8"/>
                <a:gd name="T7" fmla="*/ 17 h 17"/>
                <a:gd name="T8" fmla="*/ 3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2" name="Freeform 211">
              <a:extLst>
                <a:ext uri="{FF2B5EF4-FFF2-40B4-BE49-F238E27FC236}">
                  <a16:creationId xmlns:a16="http://schemas.microsoft.com/office/drawing/2014/main" id="{D4DBA663-AC60-44C1-B145-6CF86E972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120"/>
              <a:ext cx="8" cy="15"/>
            </a:xfrm>
            <a:custGeom>
              <a:avLst/>
              <a:gdLst>
                <a:gd name="T0" fmla="*/ 8 w 8"/>
                <a:gd name="T1" fmla="*/ 0 h 15"/>
                <a:gd name="T2" fmla="*/ 0 w 8"/>
                <a:gd name="T3" fmla="*/ 0 h 15"/>
                <a:gd name="T4" fmla="*/ 0 w 8"/>
                <a:gd name="T5" fmla="*/ 15 h 15"/>
                <a:gd name="T6" fmla="*/ 8 w 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">
                  <a:moveTo>
                    <a:pt x="8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3" name="Freeform 212">
              <a:extLst>
                <a:ext uri="{FF2B5EF4-FFF2-40B4-BE49-F238E27FC236}">
                  <a16:creationId xmlns:a16="http://schemas.microsoft.com/office/drawing/2014/main" id="{15F11B1B-3AF7-4C55-B952-78204E09D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120"/>
              <a:ext cx="8" cy="15"/>
            </a:xfrm>
            <a:custGeom>
              <a:avLst/>
              <a:gdLst>
                <a:gd name="T0" fmla="*/ 8 w 8"/>
                <a:gd name="T1" fmla="*/ 0 h 15"/>
                <a:gd name="T2" fmla="*/ 0 w 8"/>
                <a:gd name="T3" fmla="*/ 0 h 15"/>
                <a:gd name="T4" fmla="*/ 0 w 8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5">
                  <a:moveTo>
                    <a:pt x="8" y="0"/>
                  </a:move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4" name="Freeform 213">
              <a:extLst>
                <a:ext uri="{FF2B5EF4-FFF2-40B4-BE49-F238E27FC236}">
                  <a16:creationId xmlns:a16="http://schemas.microsoft.com/office/drawing/2014/main" id="{FB7E2146-2519-45F4-95F7-2AEB44DAA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118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2 w 8"/>
                <a:gd name="T7" fmla="*/ 17 h 17"/>
                <a:gd name="T8" fmla="*/ 2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5" name="Freeform 214">
              <a:extLst>
                <a:ext uri="{FF2B5EF4-FFF2-40B4-BE49-F238E27FC236}">
                  <a16:creationId xmlns:a16="http://schemas.microsoft.com/office/drawing/2014/main" id="{094D36FD-7499-40FE-838F-097240DC6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" y="2092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6" name="Freeform 215">
              <a:extLst>
                <a:ext uri="{FF2B5EF4-FFF2-40B4-BE49-F238E27FC236}">
                  <a16:creationId xmlns:a16="http://schemas.microsoft.com/office/drawing/2014/main" id="{598440BC-94DC-4D1E-B446-6524EBFEC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" y="2092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7" name="Freeform 216">
              <a:extLst>
                <a:ext uri="{FF2B5EF4-FFF2-40B4-BE49-F238E27FC236}">
                  <a16:creationId xmlns:a16="http://schemas.microsoft.com/office/drawing/2014/main" id="{EB208175-7179-4961-915E-BD21F1BFE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3" y="2092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3 w 8"/>
                <a:gd name="T7" fmla="*/ 18 h 18"/>
                <a:gd name="T8" fmla="*/ 3 w 8"/>
                <a:gd name="T9" fmla="*/ 3 h 18"/>
                <a:gd name="T10" fmla="*/ 8 w 8"/>
                <a:gd name="T11" fmla="*/ 3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8" name="Rectangle 217">
              <a:extLst>
                <a:ext uri="{FF2B5EF4-FFF2-40B4-BE49-F238E27FC236}">
                  <a16:creationId xmlns:a16="http://schemas.microsoft.com/office/drawing/2014/main" id="{BA7518ED-C83B-4A66-84CD-3C5D515E9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6" y="1996"/>
              <a:ext cx="45" cy="17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9" name="Freeform 218">
              <a:extLst>
                <a:ext uri="{FF2B5EF4-FFF2-40B4-BE49-F238E27FC236}">
                  <a16:creationId xmlns:a16="http://schemas.microsoft.com/office/drawing/2014/main" id="{F7E63689-F14D-40E3-97F1-39537549C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6" y="1994"/>
              <a:ext cx="45" cy="179"/>
            </a:xfrm>
            <a:custGeom>
              <a:avLst/>
              <a:gdLst>
                <a:gd name="T0" fmla="*/ 45 w 45"/>
                <a:gd name="T1" fmla="*/ 179 h 179"/>
                <a:gd name="T2" fmla="*/ 45 w 45"/>
                <a:gd name="T3" fmla="*/ 177 h 179"/>
                <a:gd name="T4" fmla="*/ 2 w 45"/>
                <a:gd name="T5" fmla="*/ 177 h 179"/>
                <a:gd name="T6" fmla="*/ 2 w 45"/>
                <a:gd name="T7" fmla="*/ 2 h 179"/>
                <a:gd name="T8" fmla="*/ 43 w 45"/>
                <a:gd name="T9" fmla="*/ 2 h 179"/>
                <a:gd name="T10" fmla="*/ 43 w 45"/>
                <a:gd name="T11" fmla="*/ 179 h 179"/>
                <a:gd name="T12" fmla="*/ 45 w 45"/>
                <a:gd name="T13" fmla="*/ 179 h 179"/>
                <a:gd name="T14" fmla="*/ 45 w 45"/>
                <a:gd name="T15" fmla="*/ 177 h 179"/>
                <a:gd name="T16" fmla="*/ 45 w 45"/>
                <a:gd name="T17" fmla="*/ 179 h 179"/>
                <a:gd name="T18" fmla="*/ 45 w 45"/>
                <a:gd name="T19" fmla="*/ 179 h 179"/>
                <a:gd name="T20" fmla="*/ 45 w 45"/>
                <a:gd name="T21" fmla="*/ 0 h 179"/>
                <a:gd name="T22" fmla="*/ 0 w 45"/>
                <a:gd name="T23" fmla="*/ 0 h 179"/>
                <a:gd name="T24" fmla="*/ 0 w 45"/>
                <a:gd name="T25" fmla="*/ 179 h 179"/>
                <a:gd name="T26" fmla="*/ 45 w 45"/>
                <a:gd name="T27" fmla="*/ 179 h 179"/>
                <a:gd name="T28" fmla="*/ 45 w 45"/>
                <a:gd name="T29" fmla="*/ 179 h 179"/>
                <a:gd name="T30" fmla="*/ 45 w 45"/>
                <a:gd name="T31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179">
                  <a:moveTo>
                    <a:pt x="45" y="179"/>
                  </a:moveTo>
                  <a:lnTo>
                    <a:pt x="45" y="177"/>
                  </a:lnTo>
                  <a:lnTo>
                    <a:pt x="2" y="177"/>
                  </a:lnTo>
                  <a:lnTo>
                    <a:pt x="2" y="2"/>
                  </a:lnTo>
                  <a:lnTo>
                    <a:pt x="43" y="2"/>
                  </a:lnTo>
                  <a:lnTo>
                    <a:pt x="43" y="179"/>
                  </a:lnTo>
                  <a:lnTo>
                    <a:pt x="45" y="179"/>
                  </a:lnTo>
                  <a:lnTo>
                    <a:pt x="45" y="177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5" y="17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0" name="Freeform 219">
              <a:extLst>
                <a:ext uri="{FF2B5EF4-FFF2-40B4-BE49-F238E27FC236}">
                  <a16:creationId xmlns:a16="http://schemas.microsoft.com/office/drawing/2014/main" id="{13EBA49E-E7EC-4DB6-A82B-9D308C5EE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" y="2014"/>
              <a:ext cx="0" cy="167"/>
            </a:xfrm>
            <a:custGeom>
              <a:avLst/>
              <a:gdLst>
                <a:gd name="T0" fmla="*/ 0 h 167"/>
                <a:gd name="T1" fmla="*/ 167 h 167"/>
                <a:gd name="T2" fmla="*/ 0 h 16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7">
                  <a:moveTo>
                    <a:pt x="0" y="0"/>
                  </a:moveTo>
                  <a:lnTo>
                    <a:pt x="0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1" name="Line 220">
              <a:extLst>
                <a:ext uri="{FF2B5EF4-FFF2-40B4-BE49-F238E27FC236}">
                  <a16:creationId xmlns:a16="http://schemas.microsoft.com/office/drawing/2014/main" id="{77D677CA-78EB-4D17-8A56-07BE5B99B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6" y="2014"/>
              <a:ext cx="0" cy="16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2" name="Rectangle 221">
              <a:extLst>
                <a:ext uri="{FF2B5EF4-FFF2-40B4-BE49-F238E27FC236}">
                  <a16:creationId xmlns:a16="http://schemas.microsoft.com/office/drawing/2014/main" id="{3AF6C8B0-1E0E-49EE-9F30-C6A59648F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6" y="2014"/>
              <a:ext cx="1" cy="16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3" name="Freeform 222">
              <a:extLst>
                <a:ext uri="{FF2B5EF4-FFF2-40B4-BE49-F238E27FC236}">
                  <a16:creationId xmlns:a16="http://schemas.microsoft.com/office/drawing/2014/main" id="{4A5FC170-038D-4B2E-855D-CF0230209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" y="2014"/>
              <a:ext cx="0" cy="167"/>
            </a:xfrm>
            <a:custGeom>
              <a:avLst/>
              <a:gdLst>
                <a:gd name="T0" fmla="*/ 0 h 167"/>
                <a:gd name="T1" fmla="*/ 167 h 167"/>
                <a:gd name="T2" fmla="*/ 167 h 167"/>
                <a:gd name="T3" fmla="*/ 0 h 16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67">
                  <a:moveTo>
                    <a:pt x="0" y="0"/>
                  </a:moveTo>
                  <a:lnTo>
                    <a:pt x="0" y="167"/>
                  </a:lnTo>
                  <a:lnTo>
                    <a:pt x="0" y="16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4" name="Freeform 223">
              <a:extLst>
                <a:ext uri="{FF2B5EF4-FFF2-40B4-BE49-F238E27FC236}">
                  <a16:creationId xmlns:a16="http://schemas.microsoft.com/office/drawing/2014/main" id="{A03A3E80-1753-4E35-BD7A-2A62C28B3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3" y="2014"/>
              <a:ext cx="0" cy="167"/>
            </a:xfrm>
            <a:custGeom>
              <a:avLst/>
              <a:gdLst>
                <a:gd name="T0" fmla="*/ 0 h 167"/>
                <a:gd name="T1" fmla="*/ 167 h 167"/>
                <a:gd name="T2" fmla="*/ 0 h 16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7">
                  <a:moveTo>
                    <a:pt x="0" y="0"/>
                  </a:moveTo>
                  <a:lnTo>
                    <a:pt x="0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5" name="Line 224">
              <a:extLst>
                <a:ext uri="{FF2B5EF4-FFF2-40B4-BE49-F238E27FC236}">
                  <a16:creationId xmlns:a16="http://schemas.microsoft.com/office/drawing/2014/main" id="{129FAB91-97F2-4BEE-8BDE-B648CC7FF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3" y="2014"/>
              <a:ext cx="0" cy="16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6" name="Rectangle 225">
              <a:extLst>
                <a:ext uri="{FF2B5EF4-FFF2-40B4-BE49-F238E27FC236}">
                  <a16:creationId xmlns:a16="http://schemas.microsoft.com/office/drawing/2014/main" id="{0B723AAD-5698-4C5A-A041-7893661F2C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" y="2014"/>
              <a:ext cx="3" cy="16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7" name="Freeform 226">
              <a:extLst>
                <a:ext uri="{FF2B5EF4-FFF2-40B4-BE49-F238E27FC236}">
                  <a16:creationId xmlns:a16="http://schemas.microsoft.com/office/drawing/2014/main" id="{00C3FA75-57FB-4699-809E-2BC26D410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3" y="2014"/>
              <a:ext cx="3" cy="167"/>
            </a:xfrm>
            <a:custGeom>
              <a:avLst/>
              <a:gdLst>
                <a:gd name="T0" fmla="*/ 0 w 3"/>
                <a:gd name="T1" fmla="*/ 0 h 167"/>
                <a:gd name="T2" fmla="*/ 0 w 3"/>
                <a:gd name="T3" fmla="*/ 167 h 167"/>
                <a:gd name="T4" fmla="*/ 3 w 3"/>
                <a:gd name="T5" fmla="*/ 167 h 167"/>
                <a:gd name="T6" fmla="*/ 3 w 3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67">
                  <a:moveTo>
                    <a:pt x="0" y="0"/>
                  </a:moveTo>
                  <a:lnTo>
                    <a:pt x="0" y="167"/>
                  </a:lnTo>
                  <a:lnTo>
                    <a:pt x="3" y="16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8" name="Freeform 227">
              <a:extLst>
                <a:ext uri="{FF2B5EF4-FFF2-40B4-BE49-F238E27FC236}">
                  <a16:creationId xmlns:a16="http://schemas.microsoft.com/office/drawing/2014/main" id="{3C54A1EB-B64D-4C56-B1BA-D87FF6D06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" y="2014"/>
              <a:ext cx="0" cy="167"/>
            </a:xfrm>
            <a:custGeom>
              <a:avLst/>
              <a:gdLst>
                <a:gd name="T0" fmla="*/ 0 h 167"/>
                <a:gd name="T1" fmla="*/ 167 h 167"/>
                <a:gd name="T2" fmla="*/ 0 h 16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7">
                  <a:moveTo>
                    <a:pt x="0" y="0"/>
                  </a:moveTo>
                  <a:lnTo>
                    <a:pt x="0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9" name="Line 228">
              <a:extLst>
                <a:ext uri="{FF2B5EF4-FFF2-40B4-BE49-F238E27FC236}">
                  <a16:creationId xmlns:a16="http://schemas.microsoft.com/office/drawing/2014/main" id="{B570BEFE-451D-413D-A70E-4630C67D02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" y="2014"/>
              <a:ext cx="0" cy="16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0" name="Rectangle 229">
              <a:extLst>
                <a:ext uri="{FF2B5EF4-FFF2-40B4-BE49-F238E27FC236}">
                  <a16:creationId xmlns:a16="http://schemas.microsoft.com/office/drawing/2014/main" id="{E48B1BD0-A2DC-422C-9BD1-737E6489F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1" y="2014"/>
              <a:ext cx="3" cy="16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1" name="Freeform 230">
              <a:extLst>
                <a:ext uri="{FF2B5EF4-FFF2-40B4-BE49-F238E27FC236}">
                  <a16:creationId xmlns:a16="http://schemas.microsoft.com/office/drawing/2014/main" id="{9197DCFD-8129-4AD3-ACA6-736D96085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1" y="2014"/>
              <a:ext cx="3" cy="167"/>
            </a:xfrm>
            <a:custGeom>
              <a:avLst/>
              <a:gdLst>
                <a:gd name="T0" fmla="*/ 0 w 3"/>
                <a:gd name="T1" fmla="*/ 0 h 167"/>
                <a:gd name="T2" fmla="*/ 0 w 3"/>
                <a:gd name="T3" fmla="*/ 167 h 167"/>
                <a:gd name="T4" fmla="*/ 3 w 3"/>
                <a:gd name="T5" fmla="*/ 167 h 167"/>
                <a:gd name="T6" fmla="*/ 3 w 3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67">
                  <a:moveTo>
                    <a:pt x="0" y="0"/>
                  </a:moveTo>
                  <a:lnTo>
                    <a:pt x="0" y="167"/>
                  </a:lnTo>
                  <a:lnTo>
                    <a:pt x="3" y="16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2" name="Freeform 231">
              <a:extLst>
                <a:ext uri="{FF2B5EF4-FFF2-40B4-BE49-F238E27FC236}">
                  <a16:creationId xmlns:a16="http://schemas.microsoft.com/office/drawing/2014/main" id="{383D6BF6-28DD-4CAB-B0DC-F7767A6D4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2014"/>
              <a:ext cx="0" cy="167"/>
            </a:xfrm>
            <a:custGeom>
              <a:avLst/>
              <a:gdLst>
                <a:gd name="T0" fmla="*/ 0 h 167"/>
                <a:gd name="T1" fmla="*/ 167 h 167"/>
                <a:gd name="T2" fmla="*/ 0 h 16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7">
                  <a:moveTo>
                    <a:pt x="0" y="0"/>
                  </a:moveTo>
                  <a:lnTo>
                    <a:pt x="0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3" name="Line 232">
              <a:extLst>
                <a:ext uri="{FF2B5EF4-FFF2-40B4-BE49-F238E27FC236}">
                  <a16:creationId xmlns:a16="http://schemas.microsoft.com/office/drawing/2014/main" id="{A6BBFC0E-D384-433F-A69B-1DE203645D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1" y="2014"/>
              <a:ext cx="0" cy="16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4" name="Rectangle 233">
              <a:extLst>
                <a:ext uri="{FF2B5EF4-FFF2-40B4-BE49-F238E27FC236}">
                  <a16:creationId xmlns:a16="http://schemas.microsoft.com/office/drawing/2014/main" id="{FF8D2D04-4B13-4ED6-BC61-AFAB0D5C1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1" y="2014"/>
              <a:ext cx="3" cy="16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5" name="Freeform 234">
              <a:extLst>
                <a:ext uri="{FF2B5EF4-FFF2-40B4-BE49-F238E27FC236}">
                  <a16:creationId xmlns:a16="http://schemas.microsoft.com/office/drawing/2014/main" id="{39FEC72E-7E0F-4AB4-844A-B3B4A6C88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2014"/>
              <a:ext cx="3" cy="167"/>
            </a:xfrm>
            <a:custGeom>
              <a:avLst/>
              <a:gdLst>
                <a:gd name="T0" fmla="*/ 0 w 3"/>
                <a:gd name="T1" fmla="*/ 0 h 167"/>
                <a:gd name="T2" fmla="*/ 0 w 3"/>
                <a:gd name="T3" fmla="*/ 167 h 167"/>
                <a:gd name="T4" fmla="*/ 3 w 3"/>
                <a:gd name="T5" fmla="*/ 167 h 167"/>
                <a:gd name="T6" fmla="*/ 3 w 3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67">
                  <a:moveTo>
                    <a:pt x="0" y="0"/>
                  </a:moveTo>
                  <a:lnTo>
                    <a:pt x="0" y="167"/>
                  </a:lnTo>
                  <a:lnTo>
                    <a:pt x="3" y="16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6" name="Rectangle 235">
              <a:extLst>
                <a:ext uri="{FF2B5EF4-FFF2-40B4-BE49-F238E27FC236}">
                  <a16:creationId xmlns:a16="http://schemas.microsoft.com/office/drawing/2014/main" id="{FC3E2E55-FF21-40C1-A4B0-E939C6A14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7" y="2009"/>
              <a:ext cx="76" cy="2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7" name="Freeform 236">
              <a:extLst>
                <a:ext uri="{FF2B5EF4-FFF2-40B4-BE49-F238E27FC236}">
                  <a16:creationId xmlns:a16="http://schemas.microsoft.com/office/drawing/2014/main" id="{7DF73E66-581E-4728-97BF-939202846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" y="2006"/>
              <a:ext cx="81" cy="205"/>
            </a:xfrm>
            <a:custGeom>
              <a:avLst/>
              <a:gdLst>
                <a:gd name="T0" fmla="*/ 79 w 81"/>
                <a:gd name="T1" fmla="*/ 205 h 205"/>
                <a:gd name="T2" fmla="*/ 79 w 81"/>
                <a:gd name="T3" fmla="*/ 205 h 205"/>
                <a:gd name="T4" fmla="*/ 3 w 81"/>
                <a:gd name="T5" fmla="*/ 205 h 205"/>
                <a:gd name="T6" fmla="*/ 3 w 81"/>
                <a:gd name="T7" fmla="*/ 3 h 205"/>
                <a:gd name="T8" fmla="*/ 79 w 81"/>
                <a:gd name="T9" fmla="*/ 3 h 205"/>
                <a:gd name="T10" fmla="*/ 79 w 81"/>
                <a:gd name="T11" fmla="*/ 205 h 205"/>
                <a:gd name="T12" fmla="*/ 79 w 81"/>
                <a:gd name="T13" fmla="*/ 205 h 205"/>
                <a:gd name="T14" fmla="*/ 79 w 81"/>
                <a:gd name="T15" fmla="*/ 205 h 205"/>
                <a:gd name="T16" fmla="*/ 79 w 81"/>
                <a:gd name="T17" fmla="*/ 205 h 205"/>
                <a:gd name="T18" fmla="*/ 81 w 81"/>
                <a:gd name="T19" fmla="*/ 205 h 205"/>
                <a:gd name="T20" fmla="*/ 81 w 81"/>
                <a:gd name="T21" fmla="*/ 0 h 205"/>
                <a:gd name="T22" fmla="*/ 0 w 81"/>
                <a:gd name="T23" fmla="*/ 0 h 205"/>
                <a:gd name="T24" fmla="*/ 0 w 81"/>
                <a:gd name="T25" fmla="*/ 205 h 205"/>
                <a:gd name="T26" fmla="*/ 81 w 81"/>
                <a:gd name="T27" fmla="*/ 205 h 205"/>
                <a:gd name="T28" fmla="*/ 81 w 81"/>
                <a:gd name="T29" fmla="*/ 205 h 205"/>
                <a:gd name="T30" fmla="*/ 79 w 81"/>
                <a:gd name="T3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" h="205">
                  <a:moveTo>
                    <a:pt x="79" y="205"/>
                  </a:moveTo>
                  <a:lnTo>
                    <a:pt x="79" y="205"/>
                  </a:lnTo>
                  <a:lnTo>
                    <a:pt x="3" y="205"/>
                  </a:lnTo>
                  <a:lnTo>
                    <a:pt x="3" y="3"/>
                  </a:lnTo>
                  <a:lnTo>
                    <a:pt x="79" y="3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81" y="205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205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79" y="20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8" name="Freeform 237">
              <a:extLst>
                <a:ext uri="{FF2B5EF4-FFF2-40B4-BE49-F238E27FC236}">
                  <a16:creationId xmlns:a16="http://schemas.microsoft.com/office/drawing/2014/main" id="{BFF2E4EF-621A-433B-99DE-9AB9BA81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" y="2032"/>
              <a:ext cx="15" cy="22"/>
            </a:xfrm>
            <a:custGeom>
              <a:avLst/>
              <a:gdLst>
                <a:gd name="T0" fmla="*/ 15 w 15"/>
                <a:gd name="T1" fmla="*/ 0 h 22"/>
                <a:gd name="T2" fmla="*/ 0 w 15"/>
                <a:gd name="T3" fmla="*/ 0 h 22"/>
                <a:gd name="T4" fmla="*/ 0 w 15"/>
                <a:gd name="T5" fmla="*/ 22 h 22"/>
                <a:gd name="T6" fmla="*/ 2 w 15"/>
                <a:gd name="T7" fmla="*/ 22 h 22"/>
                <a:gd name="T8" fmla="*/ 2 w 15"/>
                <a:gd name="T9" fmla="*/ 0 h 22"/>
                <a:gd name="T10" fmla="*/ 15 w 15"/>
                <a:gd name="T11" fmla="*/ 0 h 22"/>
                <a:gd name="T12" fmla="*/ 15 w 15"/>
                <a:gd name="T13" fmla="*/ 0 h 22"/>
                <a:gd name="T14" fmla="*/ 15 w 15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2">
                  <a:moveTo>
                    <a:pt x="15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9" name="Freeform 238">
              <a:extLst>
                <a:ext uri="{FF2B5EF4-FFF2-40B4-BE49-F238E27FC236}">
                  <a16:creationId xmlns:a16="http://schemas.microsoft.com/office/drawing/2014/main" id="{26922DF5-8109-40E1-AFAB-C13BD86ED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" y="2032"/>
              <a:ext cx="18" cy="22"/>
            </a:xfrm>
            <a:custGeom>
              <a:avLst/>
              <a:gdLst>
                <a:gd name="T0" fmla="*/ 18 w 18"/>
                <a:gd name="T1" fmla="*/ 0 h 22"/>
                <a:gd name="T2" fmla="*/ 0 w 18"/>
                <a:gd name="T3" fmla="*/ 0 h 22"/>
                <a:gd name="T4" fmla="*/ 0 w 18"/>
                <a:gd name="T5" fmla="*/ 22 h 22"/>
                <a:gd name="T6" fmla="*/ 3 w 18"/>
                <a:gd name="T7" fmla="*/ 22 h 22"/>
                <a:gd name="T8" fmla="*/ 3 w 18"/>
                <a:gd name="T9" fmla="*/ 0 h 22"/>
                <a:gd name="T10" fmla="*/ 18 w 18"/>
                <a:gd name="T11" fmla="*/ 0 h 22"/>
                <a:gd name="T12" fmla="*/ 18 w 18"/>
                <a:gd name="T13" fmla="*/ 0 h 22"/>
                <a:gd name="T14" fmla="*/ 18 w 18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2">
                  <a:moveTo>
                    <a:pt x="18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0" name="Freeform 239">
              <a:extLst>
                <a:ext uri="{FF2B5EF4-FFF2-40B4-BE49-F238E27FC236}">
                  <a16:creationId xmlns:a16="http://schemas.microsoft.com/office/drawing/2014/main" id="{930FAA1B-0910-42F5-B12F-6A03D305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" y="2077"/>
              <a:ext cx="15" cy="25"/>
            </a:xfrm>
            <a:custGeom>
              <a:avLst/>
              <a:gdLst>
                <a:gd name="T0" fmla="*/ 15 w 15"/>
                <a:gd name="T1" fmla="*/ 0 h 25"/>
                <a:gd name="T2" fmla="*/ 0 w 15"/>
                <a:gd name="T3" fmla="*/ 0 h 25"/>
                <a:gd name="T4" fmla="*/ 0 w 15"/>
                <a:gd name="T5" fmla="*/ 25 h 25"/>
                <a:gd name="T6" fmla="*/ 2 w 15"/>
                <a:gd name="T7" fmla="*/ 25 h 25"/>
                <a:gd name="T8" fmla="*/ 2 w 15"/>
                <a:gd name="T9" fmla="*/ 3 h 25"/>
                <a:gd name="T10" fmla="*/ 15 w 15"/>
                <a:gd name="T11" fmla="*/ 3 h 25"/>
                <a:gd name="T12" fmla="*/ 15 w 15"/>
                <a:gd name="T13" fmla="*/ 0 h 25"/>
                <a:gd name="T14" fmla="*/ 15 w 15"/>
                <a:gd name="T1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5">
                  <a:moveTo>
                    <a:pt x="1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1" name="Freeform 240">
              <a:extLst>
                <a:ext uri="{FF2B5EF4-FFF2-40B4-BE49-F238E27FC236}">
                  <a16:creationId xmlns:a16="http://schemas.microsoft.com/office/drawing/2014/main" id="{1EC4D534-803D-45A0-AED0-0B6BDE115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" y="2077"/>
              <a:ext cx="18" cy="25"/>
            </a:xfrm>
            <a:custGeom>
              <a:avLst/>
              <a:gdLst>
                <a:gd name="T0" fmla="*/ 18 w 18"/>
                <a:gd name="T1" fmla="*/ 0 h 25"/>
                <a:gd name="T2" fmla="*/ 0 w 18"/>
                <a:gd name="T3" fmla="*/ 0 h 25"/>
                <a:gd name="T4" fmla="*/ 0 w 18"/>
                <a:gd name="T5" fmla="*/ 25 h 25"/>
                <a:gd name="T6" fmla="*/ 3 w 18"/>
                <a:gd name="T7" fmla="*/ 25 h 25"/>
                <a:gd name="T8" fmla="*/ 3 w 18"/>
                <a:gd name="T9" fmla="*/ 3 h 25"/>
                <a:gd name="T10" fmla="*/ 18 w 18"/>
                <a:gd name="T11" fmla="*/ 3 h 25"/>
                <a:gd name="T12" fmla="*/ 18 w 18"/>
                <a:gd name="T13" fmla="*/ 0 h 25"/>
                <a:gd name="T14" fmla="*/ 18 w 18"/>
                <a:gd name="T1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5">
                  <a:moveTo>
                    <a:pt x="18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3" y="25"/>
                  </a:lnTo>
                  <a:lnTo>
                    <a:pt x="3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2" name="Freeform 241">
              <a:extLst>
                <a:ext uri="{FF2B5EF4-FFF2-40B4-BE49-F238E27FC236}">
                  <a16:creationId xmlns:a16="http://schemas.microsoft.com/office/drawing/2014/main" id="{B75D72CB-EA97-406D-80A5-A3BB026D4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971"/>
              <a:ext cx="76" cy="35"/>
            </a:xfrm>
            <a:custGeom>
              <a:avLst/>
              <a:gdLst>
                <a:gd name="T0" fmla="*/ 0 w 76"/>
                <a:gd name="T1" fmla="*/ 35 h 35"/>
                <a:gd name="T2" fmla="*/ 38 w 76"/>
                <a:gd name="T3" fmla="*/ 0 h 35"/>
                <a:gd name="T4" fmla="*/ 76 w 76"/>
                <a:gd name="T5" fmla="*/ 35 h 35"/>
                <a:gd name="T6" fmla="*/ 0 w 76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5">
                  <a:moveTo>
                    <a:pt x="0" y="35"/>
                  </a:moveTo>
                  <a:lnTo>
                    <a:pt x="38" y="0"/>
                  </a:lnTo>
                  <a:lnTo>
                    <a:pt x="76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3" name="Freeform 242">
              <a:extLst>
                <a:ext uri="{FF2B5EF4-FFF2-40B4-BE49-F238E27FC236}">
                  <a16:creationId xmlns:a16="http://schemas.microsoft.com/office/drawing/2014/main" id="{C0C7A068-AD01-478D-9177-D1540A65A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971"/>
              <a:ext cx="76" cy="35"/>
            </a:xfrm>
            <a:custGeom>
              <a:avLst/>
              <a:gdLst>
                <a:gd name="T0" fmla="*/ 0 w 76"/>
                <a:gd name="T1" fmla="*/ 35 h 35"/>
                <a:gd name="T2" fmla="*/ 38 w 76"/>
                <a:gd name="T3" fmla="*/ 0 h 35"/>
                <a:gd name="T4" fmla="*/ 76 w 76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35">
                  <a:moveTo>
                    <a:pt x="0" y="35"/>
                  </a:moveTo>
                  <a:lnTo>
                    <a:pt x="38" y="0"/>
                  </a:lnTo>
                  <a:lnTo>
                    <a:pt x="76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4" name="Freeform 243">
              <a:extLst>
                <a:ext uri="{FF2B5EF4-FFF2-40B4-BE49-F238E27FC236}">
                  <a16:creationId xmlns:a16="http://schemas.microsoft.com/office/drawing/2014/main" id="{8C5DAA47-26E7-46F6-9BC2-EB2A292E3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968"/>
              <a:ext cx="76" cy="41"/>
            </a:xfrm>
            <a:custGeom>
              <a:avLst/>
              <a:gdLst>
                <a:gd name="T0" fmla="*/ 0 w 76"/>
                <a:gd name="T1" fmla="*/ 41 h 41"/>
                <a:gd name="T2" fmla="*/ 38 w 76"/>
                <a:gd name="T3" fmla="*/ 3 h 41"/>
                <a:gd name="T4" fmla="*/ 73 w 76"/>
                <a:gd name="T5" fmla="*/ 41 h 41"/>
                <a:gd name="T6" fmla="*/ 76 w 76"/>
                <a:gd name="T7" fmla="*/ 38 h 41"/>
                <a:gd name="T8" fmla="*/ 38 w 76"/>
                <a:gd name="T9" fmla="*/ 0 h 41"/>
                <a:gd name="T10" fmla="*/ 0 w 76"/>
                <a:gd name="T11" fmla="*/ 38 h 41"/>
                <a:gd name="T12" fmla="*/ 0 w 76"/>
                <a:gd name="T13" fmla="*/ 41 h 41"/>
                <a:gd name="T14" fmla="*/ 0 w 76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41">
                  <a:moveTo>
                    <a:pt x="0" y="41"/>
                  </a:moveTo>
                  <a:lnTo>
                    <a:pt x="38" y="3"/>
                  </a:lnTo>
                  <a:lnTo>
                    <a:pt x="73" y="41"/>
                  </a:lnTo>
                  <a:lnTo>
                    <a:pt x="76" y="38"/>
                  </a:lnTo>
                  <a:lnTo>
                    <a:pt x="38" y="0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5" name="Rectangle 244">
              <a:extLst>
                <a:ext uri="{FF2B5EF4-FFF2-40B4-BE49-F238E27FC236}">
                  <a16:creationId xmlns:a16="http://schemas.microsoft.com/office/drawing/2014/main" id="{EA7F8EEB-D04F-4A27-982A-95D8FBC710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4" y="1946"/>
              <a:ext cx="68" cy="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6" name="Freeform 245">
              <a:extLst>
                <a:ext uri="{FF2B5EF4-FFF2-40B4-BE49-F238E27FC236}">
                  <a16:creationId xmlns:a16="http://schemas.microsoft.com/office/drawing/2014/main" id="{7BA53CB6-B479-45DB-B547-1D00CCD62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1946"/>
              <a:ext cx="71" cy="291"/>
            </a:xfrm>
            <a:custGeom>
              <a:avLst/>
              <a:gdLst>
                <a:gd name="T0" fmla="*/ 71 w 71"/>
                <a:gd name="T1" fmla="*/ 288 h 291"/>
                <a:gd name="T2" fmla="*/ 71 w 71"/>
                <a:gd name="T3" fmla="*/ 288 h 291"/>
                <a:gd name="T4" fmla="*/ 3 w 71"/>
                <a:gd name="T5" fmla="*/ 288 h 291"/>
                <a:gd name="T6" fmla="*/ 3 w 71"/>
                <a:gd name="T7" fmla="*/ 0 h 291"/>
                <a:gd name="T8" fmla="*/ 68 w 71"/>
                <a:gd name="T9" fmla="*/ 0 h 291"/>
                <a:gd name="T10" fmla="*/ 68 w 71"/>
                <a:gd name="T11" fmla="*/ 288 h 291"/>
                <a:gd name="T12" fmla="*/ 71 w 71"/>
                <a:gd name="T13" fmla="*/ 288 h 291"/>
                <a:gd name="T14" fmla="*/ 71 w 71"/>
                <a:gd name="T15" fmla="*/ 288 h 291"/>
                <a:gd name="T16" fmla="*/ 71 w 71"/>
                <a:gd name="T17" fmla="*/ 288 h 291"/>
                <a:gd name="T18" fmla="*/ 71 w 71"/>
                <a:gd name="T19" fmla="*/ 288 h 291"/>
                <a:gd name="T20" fmla="*/ 71 w 71"/>
                <a:gd name="T21" fmla="*/ 0 h 291"/>
                <a:gd name="T22" fmla="*/ 0 w 71"/>
                <a:gd name="T23" fmla="*/ 0 h 291"/>
                <a:gd name="T24" fmla="*/ 0 w 71"/>
                <a:gd name="T25" fmla="*/ 291 h 291"/>
                <a:gd name="T26" fmla="*/ 71 w 71"/>
                <a:gd name="T27" fmla="*/ 291 h 291"/>
                <a:gd name="T28" fmla="*/ 71 w 71"/>
                <a:gd name="T29" fmla="*/ 288 h 291"/>
                <a:gd name="T30" fmla="*/ 71 w 71"/>
                <a:gd name="T31" fmla="*/ 288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" h="291">
                  <a:moveTo>
                    <a:pt x="71" y="288"/>
                  </a:moveTo>
                  <a:lnTo>
                    <a:pt x="71" y="288"/>
                  </a:lnTo>
                  <a:lnTo>
                    <a:pt x="3" y="288"/>
                  </a:lnTo>
                  <a:lnTo>
                    <a:pt x="3" y="0"/>
                  </a:lnTo>
                  <a:lnTo>
                    <a:pt x="68" y="0"/>
                  </a:lnTo>
                  <a:lnTo>
                    <a:pt x="68" y="288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0"/>
                  </a:lnTo>
                  <a:lnTo>
                    <a:pt x="0" y="0"/>
                  </a:lnTo>
                  <a:lnTo>
                    <a:pt x="0" y="291"/>
                  </a:lnTo>
                  <a:lnTo>
                    <a:pt x="71" y="291"/>
                  </a:lnTo>
                  <a:lnTo>
                    <a:pt x="71" y="288"/>
                  </a:lnTo>
                  <a:lnTo>
                    <a:pt x="71" y="28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7" name="Freeform 246">
              <a:extLst>
                <a:ext uri="{FF2B5EF4-FFF2-40B4-BE49-F238E27FC236}">
                  <a16:creationId xmlns:a16="http://schemas.microsoft.com/office/drawing/2014/main" id="{90D0F1AB-1378-4FA2-8D89-CF81A9DAC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196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8" name="Freeform 247">
              <a:extLst>
                <a:ext uri="{FF2B5EF4-FFF2-40B4-BE49-F238E27FC236}">
                  <a16:creationId xmlns:a16="http://schemas.microsoft.com/office/drawing/2014/main" id="{BC65A9BC-9D33-47B4-B32C-34EF40FE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196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9" name="Freeform 248">
              <a:extLst>
                <a:ext uri="{FF2B5EF4-FFF2-40B4-BE49-F238E27FC236}">
                  <a16:creationId xmlns:a16="http://schemas.microsoft.com/office/drawing/2014/main" id="{CDE82B2E-A503-45A0-A3AA-2EC9DA24B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196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0 w 10"/>
                <a:gd name="T7" fmla="*/ 28 h 28"/>
                <a:gd name="T8" fmla="*/ 0 w 10"/>
                <a:gd name="T9" fmla="*/ 3 h 28"/>
                <a:gd name="T10" fmla="*/ 10 w 10"/>
                <a:gd name="T11" fmla="*/ 3 h 28"/>
                <a:gd name="T12" fmla="*/ 10 w 10"/>
                <a:gd name="T13" fmla="*/ 0 h 28"/>
                <a:gd name="T14" fmla="*/ 10 w 10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0" name="Freeform 249">
              <a:extLst>
                <a:ext uri="{FF2B5EF4-FFF2-40B4-BE49-F238E27FC236}">
                  <a16:creationId xmlns:a16="http://schemas.microsoft.com/office/drawing/2014/main" id="{914695B2-735F-42AD-B0FC-435F5D415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196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1" name="Freeform 250">
              <a:extLst>
                <a:ext uri="{FF2B5EF4-FFF2-40B4-BE49-F238E27FC236}">
                  <a16:creationId xmlns:a16="http://schemas.microsoft.com/office/drawing/2014/main" id="{6F34CF04-A918-43C7-A26B-46E546B27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196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2" name="Freeform 251">
              <a:extLst>
                <a:ext uri="{FF2B5EF4-FFF2-40B4-BE49-F238E27FC236}">
                  <a16:creationId xmlns:a16="http://schemas.microsoft.com/office/drawing/2014/main" id="{1D8B3395-A48A-4F49-9F2A-CBC1A00E9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1968"/>
              <a:ext cx="12" cy="28"/>
            </a:xfrm>
            <a:custGeom>
              <a:avLst/>
              <a:gdLst>
                <a:gd name="T0" fmla="*/ 12 w 12"/>
                <a:gd name="T1" fmla="*/ 0 h 28"/>
                <a:gd name="T2" fmla="*/ 0 w 12"/>
                <a:gd name="T3" fmla="*/ 0 h 28"/>
                <a:gd name="T4" fmla="*/ 0 w 12"/>
                <a:gd name="T5" fmla="*/ 28 h 28"/>
                <a:gd name="T6" fmla="*/ 2 w 12"/>
                <a:gd name="T7" fmla="*/ 28 h 28"/>
                <a:gd name="T8" fmla="*/ 2 w 12"/>
                <a:gd name="T9" fmla="*/ 3 h 28"/>
                <a:gd name="T10" fmla="*/ 12 w 12"/>
                <a:gd name="T11" fmla="*/ 3 h 28"/>
                <a:gd name="T12" fmla="*/ 12 w 12"/>
                <a:gd name="T13" fmla="*/ 0 h 28"/>
                <a:gd name="T14" fmla="*/ 12 w 12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3" name="Freeform 252">
              <a:extLst>
                <a:ext uri="{FF2B5EF4-FFF2-40B4-BE49-F238E27FC236}">
                  <a16:creationId xmlns:a16="http://schemas.microsoft.com/office/drawing/2014/main" id="{D09D17DC-E0F7-4EC9-930E-C3532469D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4" name="Freeform 253">
              <a:extLst>
                <a:ext uri="{FF2B5EF4-FFF2-40B4-BE49-F238E27FC236}">
                  <a16:creationId xmlns:a16="http://schemas.microsoft.com/office/drawing/2014/main" id="{B1B9C819-1EBE-41B4-92A3-FE78094A2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5" name="Freeform 254">
              <a:extLst>
                <a:ext uri="{FF2B5EF4-FFF2-40B4-BE49-F238E27FC236}">
                  <a16:creationId xmlns:a16="http://schemas.microsoft.com/office/drawing/2014/main" id="{AC818E6E-5DBB-49EF-9C85-1E81DAB8A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0 w 10"/>
                <a:gd name="T7" fmla="*/ 28 h 28"/>
                <a:gd name="T8" fmla="*/ 0 w 10"/>
                <a:gd name="T9" fmla="*/ 0 h 28"/>
                <a:gd name="T10" fmla="*/ 10 w 10"/>
                <a:gd name="T11" fmla="*/ 0 h 28"/>
                <a:gd name="T12" fmla="*/ 10 w 10"/>
                <a:gd name="T13" fmla="*/ 0 h 28"/>
                <a:gd name="T14" fmla="*/ 10 w 10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6" name="Freeform 255">
              <a:extLst>
                <a:ext uri="{FF2B5EF4-FFF2-40B4-BE49-F238E27FC236}">
                  <a16:creationId xmlns:a16="http://schemas.microsoft.com/office/drawing/2014/main" id="{8B609E12-941A-4162-9F05-BFE6EC968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7" name="Freeform 256">
              <a:extLst>
                <a:ext uri="{FF2B5EF4-FFF2-40B4-BE49-F238E27FC236}">
                  <a16:creationId xmlns:a16="http://schemas.microsoft.com/office/drawing/2014/main" id="{92192DB0-1306-487A-AA80-A8C3A0A99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8" name="Freeform 257">
              <a:extLst>
                <a:ext uri="{FF2B5EF4-FFF2-40B4-BE49-F238E27FC236}">
                  <a16:creationId xmlns:a16="http://schemas.microsoft.com/office/drawing/2014/main" id="{720DF4C4-AEC4-4669-A702-9CB562390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2016"/>
              <a:ext cx="12" cy="28"/>
            </a:xfrm>
            <a:custGeom>
              <a:avLst/>
              <a:gdLst>
                <a:gd name="T0" fmla="*/ 12 w 12"/>
                <a:gd name="T1" fmla="*/ 0 h 28"/>
                <a:gd name="T2" fmla="*/ 0 w 12"/>
                <a:gd name="T3" fmla="*/ 0 h 28"/>
                <a:gd name="T4" fmla="*/ 0 w 12"/>
                <a:gd name="T5" fmla="*/ 28 h 28"/>
                <a:gd name="T6" fmla="*/ 2 w 12"/>
                <a:gd name="T7" fmla="*/ 28 h 28"/>
                <a:gd name="T8" fmla="*/ 2 w 12"/>
                <a:gd name="T9" fmla="*/ 0 h 28"/>
                <a:gd name="T10" fmla="*/ 12 w 12"/>
                <a:gd name="T11" fmla="*/ 0 h 28"/>
                <a:gd name="T12" fmla="*/ 12 w 12"/>
                <a:gd name="T13" fmla="*/ 0 h 28"/>
                <a:gd name="T14" fmla="*/ 12 w 12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9" name="Freeform 258">
              <a:extLst>
                <a:ext uri="{FF2B5EF4-FFF2-40B4-BE49-F238E27FC236}">
                  <a16:creationId xmlns:a16="http://schemas.microsoft.com/office/drawing/2014/main" id="{39A26947-0C9C-47B9-A1F3-088489265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65"/>
              <a:ext cx="10" cy="27"/>
            </a:xfrm>
            <a:custGeom>
              <a:avLst/>
              <a:gdLst>
                <a:gd name="T0" fmla="*/ 10 w 10"/>
                <a:gd name="T1" fmla="*/ 0 h 27"/>
                <a:gd name="T2" fmla="*/ 0 w 10"/>
                <a:gd name="T3" fmla="*/ 0 h 27"/>
                <a:gd name="T4" fmla="*/ 0 w 10"/>
                <a:gd name="T5" fmla="*/ 27 h 27"/>
                <a:gd name="T6" fmla="*/ 10 w 1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7">
                  <a:moveTo>
                    <a:pt x="10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0" name="Freeform 259">
              <a:extLst>
                <a:ext uri="{FF2B5EF4-FFF2-40B4-BE49-F238E27FC236}">
                  <a16:creationId xmlns:a16="http://schemas.microsoft.com/office/drawing/2014/main" id="{065F1C83-01C8-47FB-8DE7-C1D1BE3E0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65"/>
              <a:ext cx="10" cy="27"/>
            </a:xfrm>
            <a:custGeom>
              <a:avLst/>
              <a:gdLst>
                <a:gd name="T0" fmla="*/ 10 w 10"/>
                <a:gd name="T1" fmla="*/ 0 h 27"/>
                <a:gd name="T2" fmla="*/ 0 w 10"/>
                <a:gd name="T3" fmla="*/ 0 h 27"/>
                <a:gd name="T4" fmla="*/ 0 w 10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7">
                  <a:moveTo>
                    <a:pt x="1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1" name="Freeform 260">
              <a:extLst>
                <a:ext uri="{FF2B5EF4-FFF2-40B4-BE49-F238E27FC236}">
                  <a16:creationId xmlns:a16="http://schemas.microsoft.com/office/drawing/2014/main" id="{BF955350-37C7-4768-BA43-7E80CD9AC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065"/>
              <a:ext cx="10" cy="27"/>
            </a:xfrm>
            <a:custGeom>
              <a:avLst/>
              <a:gdLst>
                <a:gd name="T0" fmla="*/ 10 w 10"/>
                <a:gd name="T1" fmla="*/ 0 h 27"/>
                <a:gd name="T2" fmla="*/ 0 w 10"/>
                <a:gd name="T3" fmla="*/ 0 h 27"/>
                <a:gd name="T4" fmla="*/ 0 w 10"/>
                <a:gd name="T5" fmla="*/ 27 h 27"/>
                <a:gd name="T6" fmla="*/ 0 w 10"/>
                <a:gd name="T7" fmla="*/ 27 h 27"/>
                <a:gd name="T8" fmla="*/ 0 w 10"/>
                <a:gd name="T9" fmla="*/ 0 h 27"/>
                <a:gd name="T10" fmla="*/ 10 w 10"/>
                <a:gd name="T11" fmla="*/ 0 h 27"/>
                <a:gd name="T12" fmla="*/ 10 w 10"/>
                <a:gd name="T13" fmla="*/ 0 h 27"/>
                <a:gd name="T14" fmla="*/ 10 w 10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7">
                  <a:moveTo>
                    <a:pt x="10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2" name="Freeform 261">
              <a:extLst>
                <a:ext uri="{FF2B5EF4-FFF2-40B4-BE49-F238E27FC236}">
                  <a16:creationId xmlns:a16="http://schemas.microsoft.com/office/drawing/2014/main" id="{0306EC3C-379B-4A95-A185-7C15D1ED3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065"/>
              <a:ext cx="10" cy="27"/>
            </a:xfrm>
            <a:custGeom>
              <a:avLst/>
              <a:gdLst>
                <a:gd name="T0" fmla="*/ 10 w 10"/>
                <a:gd name="T1" fmla="*/ 0 h 27"/>
                <a:gd name="T2" fmla="*/ 0 w 10"/>
                <a:gd name="T3" fmla="*/ 0 h 27"/>
                <a:gd name="T4" fmla="*/ 0 w 10"/>
                <a:gd name="T5" fmla="*/ 27 h 27"/>
                <a:gd name="T6" fmla="*/ 10 w 1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7">
                  <a:moveTo>
                    <a:pt x="10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3" name="Freeform 262">
              <a:extLst>
                <a:ext uri="{FF2B5EF4-FFF2-40B4-BE49-F238E27FC236}">
                  <a16:creationId xmlns:a16="http://schemas.microsoft.com/office/drawing/2014/main" id="{46576C5D-94D3-4669-AFE0-6ACE4F9A0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065"/>
              <a:ext cx="10" cy="27"/>
            </a:xfrm>
            <a:custGeom>
              <a:avLst/>
              <a:gdLst>
                <a:gd name="T0" fmla="*/ 10 w 10"/>
                <a:gd name="T1" fmla="*/ 0 h 27"/>
                <a:gd name="T2" fmla="*/ 0 w 10"/>
                <a:gd name="T3" fmla="*/ 0 h 27"/>
                <a:gd name="T4" fmla="*/ 0 w 10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7">
                  <a:moveTo>
                    <a:pt x="1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4" name="Freeform 263">
              <a:extLst>
                <a:ext uri="{FF2B5EF4-FFF2-40B4-BE49-F238E27FC236}">
                  <a16:creationId xmlns:a16="http://schemas.microsoft.com/office/drawing/2014/main" id="{53A5EA93-7B6B-4DC2-8066-5696B7B34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2065"/>
              <a:ext cx="12" cy="27"/>
            </a:xfrm>
            <a:custGeom>
              <a:avLst/>
              <a:gdLst>
                <a:gd name="T0" fmla="*/ 12 w 12"/>
                <a:gd name="T1" fmla="*/ 0 h 27"/>
                <a:gd name="T2" fmla="*/ 0 w 12"/>
                <a:gd name="T3" fmla="*/ 0 h 27"/>
                <a:gd name="T4" fmla="*/ 0 w 12"/>
                <a:gd name="T5" fmla="*/ 27 h 27"/>
                <a:gd name="T6" fmla="*/ 2 w 12"/>
                <a:gd name="T7" fmla="*/ 27 h 27"/>
                <a:gd name="T8" fmla="*/ 2 w 12"/>
                <a:gd name="T9" fmla="*/ 0 h 27"/>
                <a:gd name="T10" fmla="*/ 12 w 12"/>
                <a:gd name="T11" fmla="*/ 0 h 27"/>
                <a:gd name="T12" fmla="*/ 12 w 12"/>
                <a:gd name="T13" fmla="*/ 0 h 27"/>
                <a:gd name="T14" fmla="*/ 12 w 12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7">
                  <a:moveTo>
                    <a:pt x="12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5" name="Freeform 264">
              <a:extLst>
                <a:ext uri="{FF2B5EF4-FFF2-40B4-BE49-F238E27FC236}">
                  <a16:creationId xmlns:a16="http://schemas.microsoft.com/office/drawing/2014/main" id="{5F9BCB96-F969-49DC-8E4A-C48BC9CD1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113"/>
              <a:ext cx="10" cy="25"/>
            </a:xfrm>
            <a:custGeom>
              <a:avLst/>
              <a:gdLst>
                <a:gd name="T0" fmla="*/ 10 w 10"/>
                <a:gd name="T1" fmla="*/ 0 h 25"/>
                <a:gd name="T2" fmla="*/ 0 w 10"/>
                <a:gd name="T3" fmla="*/ 0 h 25"/>
                <a:gd name="T4" fmla="*/ 0 w 10"/>
                <a:gd name="T5" fmla="*/ 25 h 25"/>
                <a:gd name="T6" fmla="*/ 10 w 10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10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6" name="Freeform 265">
              <a:extLst>
                <a:ext uri="{FF2B5EF4-FFF2-40B4-BE49-F238E27FC236}">
                  <a16:creationId xmlns:a16="http://schemas.microsoft.com/office/drawing/2014/main" id="{3EB99BB9-2FA4-4757-87F6-AEA5EBFD0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2113"/>
              <a:ext cx="10" cy="25"/>
            </a:xfrm>
            <a:custGeom>
              <a:avLst/>
              <a:gdLst>
                <a:gd name="T0" fmla="*/ 10 w 10"/>
                <a:gd name="T1" fmla="*/ 0 h 25"/>
                <a:gd name="T2" fmla="*/ 0 w 10"/>
                <a:gd name="T3" fmla="*/ 0 h 25"/>
                <a:gd name="T4" fmla="*/ 0 w 1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10" y="0"/>
                  </a:moveTo>
                  <a:lnTo>
                    <a:pt x="0" y="0"/>
                  </a:lnTo>
                  <a:lnTo>
                    <a:pt x="0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7" name="Freeform 266">
              <a:extLst>
                <a:ext uri="{FF2B5EF4-FFF2-40B4-BE49-F238E27FC236}">
                  <a16:creationId xmlns:a16="http://schemas.microsoft.com/office/drawing/2014/main" id="{AD989829-3C8E-44FC-A37B-DAA72A218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2110"/>
              <a:ext cx="12" cy="28"/>
            </a:xfrm>
            <a:custGeom>
              <a:avLst/>
              <a:gdLst>
                <a:gd name="T0" fmla="*/ 12 w 12"/>
                <a:gd name="T1" fmla="*/ 0 h 28"/>
                <a:gd name="T2" fmla="*/ 0 w 12"/>
                <a:gd name="T3" fmla="*/ 0 h 28"/>
                <a:gd name="T4" fmla="*/ 0 w 12"/>
                <a:gd name="T5" fmla="*/ 28 h 28"/>
                <a:gd name="T6" fmla="*/ 2 w 12"/>
                <a:gd name="T7" fmla="*/ 28 h 28"/>
                <a:gd name="T8" fmla="*/ 2 w 12"/>
                <a:gd name="T9" fmla="*/ 3 h 28"/>
                <a:gd name="T10" fmla="*/ 12 w 12"/>
                <a:gd name="T11" fmla="*/ 3 h 28"/>
                <a:gd name="T12" fmla="*/ 12 w 12"/>
                <a:gd name="T13" fmla="*/ 0 h 28"/>
                <a:gd name="T14" fmla="*/ 12 w 12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8" name="Freeform 267">
              <a:extLst>
                <a:ext uri="{FF2B5EF4-FFF2-40B4-BE49-F238E27FC236}">
                  <a16:creationId xmlns:a16="http://schemas.microsoft.com/office/drawing/2014/main" id="{FFF41A5D-0249-4405-86D4-0910D8CD9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" y="2097"/>
              <a:ext cx="1196" cy="109"/>
            </a:xfrm>
            <a:custGeom>
              <a:avLst/>
              <a:gdLst>
                <a:gd name="T0" fmla="*/ 0 w 473"/>
                <a:gd name="T1" fmla="*/ 43 h 43"/>
                <a:gd name="T2" fmla="*/ 473 w 473"/>
                <a:gd name="T3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73" h="43">
                  <a:moveTo>
                    <a:pt x="0" y="43"/>
                  </a:moveTo>
                  <a:cubicBezTo>
                    <a:pt x="107" y="19"/>
                    <a:pt x="280" y="0"/>
                    <a:pt x="473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9" name="Freeform 268">
              <a:extLst>
                <a:ext uri="{FF2B5EF4-FFF2-40B4-BE49-F238E27FC236}">
                  <a16:creationId xmlns:a16="http://schemas.microsoft.com/office/drawing/2014/main" id="{694B7FD6-3AF6-4757-B134-5CD74CF8E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" y="2138"/>
              <a:ext cx="1198" cy="68"/>
            </a:xfrm>
            <a:custGeom>
              <a:avLst/>
              <a:gdLst>
                <a:gd name="T0" fmla="*/ 0 w 474"/>
                <a:gd name="T1" fmla="*/ 27 h 27"/>
                <a:gd name="T2" fmla="*/ 247 w 474"/>
                <a:gd name="T3" fmla="*/ 1 h 27"/>
                <a:gd name="T4" fmla="*/ 473 w 474"/>
                <a:gd name="T5" fmla="*/ 23 h 27"/>
                <a:gd name="T6" fmla="*/ 474 w 474"/>
                <a:gd name="T7" fmla="*/ 22 h 27"/>
                <a:gd name="T8" fmla="*/ 247 w 474"/>
                <a:gd name="T9" fmla="*/ 0 h 27"/>
                <a:gd name="T10" fmla="*/ 0 w 474"/>
                <a:gd name="T11" fmla="*/ 26 h 27"/>
                <a:gd name="T12" fmla="*/ 0 w 474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4" h="27">
                  <a:moveTo>
                    <a:pt x="0" y="27"/>
                  </a:moveTo>
                  <a:cubicBezTo>
                    <a:pt x="63" y="13"/>
                    <a:pt x="148" y="1"/>
                    <a:pt x="247" y="1"/>
                  </a:cubicBezTo>
                  <a:cubicBezTo>
                    <a:pt x="317" y="1"/>
                    <a:pt x="393" y="7"/>
                    <a:pt x="473" y="23"/>
                  </a:cubicBezTo>
                  <a:cubicBezTo>
                    <a:pt x="474" y="22"/>
                    <a:pt x="474" y="22"/>
                    <a:pt x="474" y="22"/>
                  </a:cubicBezTo>
                  <a:cubicBezTo>
                    <a:pt x="393" y="6"/>
                    <a:pt x="317" y="0"/>
                    <a:pt x="247" y="0"/>
                  </a:cubicBezTo>
                  <a:cubicBezTo>
                    <a:pt x="148" y="0"/>
                    <a:pt x="63" y="12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0" name="Freeform 269">
              <a:extLst>
                <a:ext uri="{FF2B5EF4-FFF2-40B4-BE49-F238E27FC236}">
                  <a16:creationId xmlns:a16="http://schemas.microsoft.com/office/drawing/2014/main" id="{44ABB073-7070-4A2C-B6F1-5FC6A9AD4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" y="2049"/>
              <a:ext cx="3856" cy="453"/>
            </a:xfrm>
            <a:custGeom>
              <a:avLst/>
              <a:gdLst>
                <a:gd name="T0" fmla="*/ 7 w 1525"/>
                <a:gd name="T1" fmla="*/ 30 h 179"/>
                <a:gd name="T2" fmla="*/ 416 w 1525"/>
                <a:gd name="T3" fmla="*/ 38 h 179"/>
                <a:gd name="T4" fmla="*/ 733 w 1525"/>
                <a:gd name="T5" fmla="*/ 54 h 179"/>
                <a:gd name="T6" fmla="*/ 1053 w 1525"/>
                <a:gd name="T7" fmla="*/ 21 h 179"/>
                <a:gd name="T8" fmla="*/ 1524 w 1525"/>
                <a:gd name="T9" fmla="*/ 49 h 179"/>
                <a:gd name="T10" fmla="*/ 1525 w 1525"/>
                <a:gd name="T11" fmla="*/ 179 h 179"/>
                <a:gd name="T12" fmla="*/ 0 w 1525"/>
                <a:gd name="T13" fmla="*/ 179 h 179"/>
                <a:gd name="T14" fmla="*/ 7 w 1525"/>
                <a:gd name="T15" fmla="*/ 3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25" h="179">
                  <a:moveTo>
                    <a:pt x="7" y="30"/>
                  </a:moveTo>
                  <a:cubicBezTo>
                    <a:pt x="122" y="16"/>
                    <a:pt x="321" y="24"/>
                    <a:pt x="416" y="38"/>
                  </a:cubicBezTo>
                  <a:cubicBezTo>
                    <a:pt x="511" y="52"/>
                    <a:pt x="638" y="54"/>
                    <a:pt x="733" y="54"/>
                  </a:cubicBezTo>
                  <a:cubicBezTo>
                    <a:pt x="827" y="54"/>
                    <a:pt x="942" y="41"/>
                    <a:pt x="1053" y="21"/>
                  </a:cubicBezTo>
                  <a:cubicBezTo>
                    <a:pt x="1165" y="0"/>
                    <a:pt x="1441" y="49"/>
                    <a:pt x="1524" y="49"/>
                  </a:cubicBezTo>
                  <a:cubicBezTo>
                    <a:pt x="1525" y="179"/>
                    <a:pt x="1525" y="179"/>
                    <a:pt x="1525" y="179"/>
                  </a:cubicBezTo>
                  <a:cubicBezTo>
                    <a:pt x="0" y="179"/>
                    <a:pt x="0" y="179"/>
                    <a:pt x="0" y="179"/>
                  </a:cubicBezTo>
                  <a:lnTo>
                    <a:pt x="7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1" name="Freeform 270">
              <a:extLst>
                <a:ext uri="{FF2B5EF4-FFF2-40B4-BE49-F238E27FC236}">
                  <a16:creationId xmlns:a16="http://schemas.microsoft.com/office/drawing/2014/main" id="{3D7E2D77-87D1-4EED-9488-C562F0072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" y="2087"/>
              <a:ext cx="3835" cy="99"/>
            </a:xfrm>
            <a:custGeom>
              <a:avLst/>
              <a:gdLst>
                <a:gd name="T0" fmla="*/ 1517 w 1517"/>
                <a:gd name="T1" fmla="*/ 34 h 39"/>
                <a:gd name="T2" fmla="*/ 1340 w 1517"/>
                <a:gd name="T3" fmla="*/ 17 h 39"/>
                <a:gd name="T4" fmla="*/ 1117 w 1517"/>
                <a:gd name="T5" fmla="*/ 0 h 39"/>
                <a:gd name="T6" fmla="*/ 1046 w 1517"/>
                <a:gd name="T7" fmla="*/ 5 h 39"/>
                <a:gd name="T8" fmla="*/ 726 w 1517"/>
                <a:gd name="T9" fmla="*/ 38 h 39"/>
                <a:gd name="T10" fmla="*/ 409 w 1517"/>
                <a:gd name="T11" fmla="*/ 22 h 39"/>
                <a:gd name="T12" fmla="*/ 152 w 1517"/>
                <a:gd name="T13" fmla="*/ 7 h 39"/>
                <a:gd name="T14" fmla="*/ 0 w 1517"/>
                <a:gd name="T15" fmla="*/ 14 h 39"/>
                <a:gd name="T16" fmla="*/ 0 w 1517"/>
                <a:gd name="T17" fmla="*/ 15 h 39"/>
                <a:gd name="T18" fmla="*/ 152 w 1517"/>
                <a:gd name="T19" fmla="*/ 8 h 39"/>
                <a:gd name="T20" fmla="*/ 409 w 1517"/>
                <a:gd name="T21" fmla="*/ 23 h 39"/>
                <a:gd name="T22" fmla="*/ 726 w 1517"/>
                <a:gd name="T23" fmla="*/ 39 h 39"/>
                <a:gd name="T24" fmla="*/ 1047 w 1517"/>
                <a:gd name="T25" fmla="*/ 6 h 39"/>
                <a:gd name="T26" fmla="*/ 1117 w 1517"/>
                <a:gd name="T27" fmla="*/ 1 h 39"/>
                <a:gd name="T28" fmla="*/ 1340 w 1517"/>
                <a:gd name="T29" fmla="*/ 18 h 39"/>
                <a:gd name="T30" fmla="*/ 1517 w 1517"/>
                <a:gd name="T31" fmla="*/ 35 h 39"/>
                <a:gd name="T32" fmla="*/ 1517 w 1517"/>
                <a:gd name="T33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17" h="39">
                  <a:moveTo>
                    <a:pt x="1517" y="34"/>
                  </a:moveTo>
                  <a:cubicBezTo>
                    <a:pt x="1483" y="34"/>
                    <a:pt x="1415" y="26"/>
                    <a:pt x="1340" y="17"/>
                  </a:cubicBezTo>
                  <a:cubicBezTo>
                    <a:pt x="1265" y="9"/>
                    <a:pt x="1182" y="0"/>
                    <a:pt x="1117" y="0"/>
                  </a:cubicBezTo>
                  <a:cubicBezTo>
                    <a:pt x="1090" y="0"/>
                    <a:pt x="1066" y="2"/>
                    <a:pt x="1046" y="5"/>
                  </a:cubicBezTo>
                  <a:cubicBezTo>
                    <a:pt x="935" y="26"/>
                    <a:pt x="820" y="38"/>
                    <a:pt x="726" y="38"/>
                  </a:cubicBezTo>
                  <a:cubicBezTo>
                    <a:pt x="631" y="38"/>
                    <a:pt x="504" y="37"/>
                    <a:pt x="409" y="22"/>
                  </a:cubicBezTo>
                  <a:cubicBezTo>
                    <a:pt x="349" y="13"/>
                    <a:pt x="248" y="7"/>
                    <a:pt x="152" y="7"/>
                  </a:cubicBezTo>
                  <a:cubicBezTo>
                    <a:pt x="96" y="7"/>
                    <a:pt x="43" y="9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3" y="10"/>
                    <a:pt x="96" y="8"/>
                    <a:pt x="152" y="8"/>
                  </a:cubicBezTo>
                  <a:cubicBezTo>
                    <a:pt x="248" y="8"/>
                    <a:pt x="349" y="14"/>
                    <a:pt x="409" y="23"/>
                  </a:cubicBezTo>
                  <a:cubicBezTo>
                    <a:pt x="504" y="37"/>
                    <a:pt x="631" y="39"/>
                    <a:pt x="726" y="39"/>
                  </a:cubicBezTo>
                  <a:cubicBezTo>
                    <a:pt x="820" y="39"/>
                    <a:pt x="935" y="27"/>
                    <a:pt x="1047" y="6"/>
                  </a:cubicBezTo>
                  <a:cubicBezTo>
                    <a:pt x="1066" y="3"/>
                    <a:pt x="1090" y="1"/>
                    <a:pt x="1117" y="1"/>
                  </a:cubicBezTo>
                  <a:cubicBezTo>
                    <a:pt x="1182" y="1"/>
                    <a:pt x="1265" y="10"/>
                    <a:pt x="1340" y="18"/>
                  </a:cubicBezTo>
                  <a:cubicBezTo>
                    <a:pt x="1415" y="26"/>
                    <a:pt x="1482" y="35"/>
                    <a:pt x="1517" y="35"/>
                  </a:cubicBezTo>
                  <a:cubicBezTo>
                    <a:pt x="1517" y="34"/>
                    <a:pt x="1517" y="34"/>
                    <a:pt x="1517" y="3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2" name="Rectangle 271">
              <a:extLst>
                <a:ext uri="{FF2B5EF4-FFF2-40B4-BE49-F238E27FC236}">
                  <a16:creationId xmlns:a16="http://schemas.microsoft.com/office/drawing/2014/main" id="{B71E775C-B143-4081-A21C-F001B1E00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5" y="2070"/>
              <a:ext cx="111" cy="1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3" name="Freeform 272">
              <a:extLst>
                <a:ext uri="{FF2B5EF4-FFF2-40B4-BE49-F238E27FC236}">
                  <a16:creationId xmlns:a16="http://schemas.microsoft.com/office/drawing/2014/main" id="{82FD7CC5-04C0-4C5B-95E8-640F48747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070"/>
              <a:ext cx="116" cy="111"/>
            </a:xfrm>
            <a:custGeom>
              <a:avLst/>
              <a:gdLst>
                <a:gd name="T0" fmla="*/ 114 w 116"/>
                <a:gd name="T1" fmla="*/ 111 h 111"/>
                <a:gd name="T2" fmla="*/ 114 w 116"/>
                <a:gd name="T3" fmla="*/ 108 h 111"/>
                <a:gd name="T4" fmla="*/ 3 w 116"/>
                <a:gd name="T5" fmla="*/ 108 h 111"/>
                <a:gd name="T6" fmla="*/ 3 w 116"/>
                <a:gd name="T7" fmla="*/ 2 h 111"/>
                <a:gd name="T8" fmla="*/ 114 w 116"/>
                <a:gd name="T9" fmla="*/ 2 h 111"/>
                <a:gd name="T10" fmla="*/ 114 w 116"/>
                <a:gd name="T11" fmla="*/ 111 h 111"/>
                <a:gd name="T12" fmla="*/ 114 w 116"/>
                <a:gd name="T13" fmla="*/ 111 h 111"/>
                <a:gd name="T14" fmla="*/ 114 w 116"/>
                <a:gd name="T15" fmla="*/ 108 h 111"/>
                <a:gd name="T16" fmla="*/ 114 w 116"/>
                <a:gd name="T17" fmla="*/ 111 h 111"/>
                <a:gd name="T18" fmla="*/ 116 w 116"/>
                <a:gd name="T19" fmla="*/ 111 h 111"/>
                <a:gd name="T20" fmla="*/ 116 w 116"/>
                <a:gd name="T21" fmla="*/ 0 h 111"/>
                <a:gd name="T22" fmla="*/ 0 w 116"/>
                <a:gd name="T23" fmla="*/ 0 h 111"/>
                <a:gd name="T24" fmla="*/ 0 w 116"/>
                <a:gd name="T25" fmla="*/ 111 h 111"/>
                <a:gd name="T26" fmla="*/ 116 w 116"/>
                <a:gd name="T27" fmla="*/ 111 h 111"/>
                <a:gd name="T28" fmla="*/ 116 w 116"/>
                <a:gd name="T29" fmla="*/ 111 h 111"/>
                <a:gd name="T30" fmla="*/ 114 w 116"/>
                <a:gd name="T3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111">
                  <a:moveTo>
                    <a:pt x="114" y="111"/>
                  </a:moveTo>
                  <a:lnTo>
                    <a:pt x="114" y="108"/>
                  </a:lnTo>
                  <a:lnTo>
                    <a:pt x="3" y="108"/>
                  </a:lnTo>
                  <a:lnTo>
                    <a:pt x="3" y="2"/>
                  </a:lnTo>
                  <a:lnTo>
                    <a:pt x="114" y="2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08"/>
                  </a:lnTo>
                  <a:lnTo>
                    <a:pt x="114" y="111"/>
                  </a:lnTo>
                  <a:lnTo>
                    <a:pt x="116" y="11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11"/>
                  </a:lnTo>
                  <a:lnTo>
                    <a:pt x="116" y="111"/>
                  </a:lnTo>
                  <a:lnTo>
                    <a:pt x="116" y="111"/>
                  </a:lnTo>
                  <a:lnTo>
                    <a:pt x="114" y="11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4" name="Freeform 273">
              <a:extLst>
                <a:ext uri="{FF2B5EF4-FFF2-40B4-BE49-F238E27FC236}">
                  <a16:creationId xmlns:a16="http://schemas.microsoft.com/office/drawing/2014/main" id="{956881F0-1F0E-4DEF-8844-7A2A3C4AD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5" name="Freeform 274">
              <a:extLst>
                <a:ext uri="{FF2B5EF4-FFF2-40B4-BE49-F238E27FC236}">
                  <a16:creationId xmlns:a16="http://schemas.microsoft.com/office/drawing/2014/main" id="{6B630DA7-4ADD-4410-9908-79FAF12FD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6" name="Freeform 275">
              <a:extLst>
                <a:ext uri="{FF2B5EF4-FFF2-40B4-BE49-F238E27FC236}">
                  <a16:creationId xmlns:a16="http://schemas.microsoft.com/office/drawing/2014/main" id="{85FD1F48-36C2-4B6B-9F5F-89C817221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2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3 w 8"/>
                <a:gd name="T7" fmla="*/ 18 h 18"/>
                <a:gd name="T8" fmla="*/ 3 w 8"/>
                <a:gd name="T9" fmla="*/ 2 h 18"/>
                <a:gd name="T10" fmla="*/ 8 w 8"/>
                <a:gd name="T11" fmla="*/ 2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7" name="Freeform 276">
              <a:extLst>
                <a:ext uri="{FF2B5EF4-FFF2-40B4-BE49-F238E27FC236}">
                  <a16:creationId xmlns:a16="http://schemas.microsoft.com/office/drawing/2014/main" id="{9B1A2136-A57D-4A72-BD3E-64BB2E076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8" name="Freeform 277">
              <a:extLst>
                <a:ext uri="{FF2B5EF4-FFF2-40B4-BE49-F238E27FC236}">
                  <a16:creationId xmlns:a16="http://schemas.microsoft.com/office/drawing/2014/main" id="{529C0203-F3AC-4CDD-893D-AB229BB2B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9" name="Freeform 278">
              <a:extLst>
                <a:ext uri="{FF2B5EF4-FFF2-40B4-BE49-F238E27FC236}">
                  <a16:creationId xmlns:a16="http://schemas.microsoft.com/office/drawing/2014/main" id="{C2292530-64D3-4DE5-AA78-96C84C18C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3 w 8"/>
                <a:gd name="T7" fmla="*/ 18 h 18"/>
                <a:gd name="T8" fmla="*/ 3 w 8"/>
                <a:gd name="T9" fmla="*/ 2 h 18"/>
                <a:gd name="T10" fmla="*/ 8 w 8"/>
                <a:gd name="T11" fmla="*/ 2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0" name="Freeform 279">
              <a:extLst>
                <a:ext uri="{FF2B5EF4-FFF2-40B4-BE49-F238E27FC236}">
                  <a16:creationId xmlns:a16="http://schemas.microsoft.com/office/drawing/2014/main" id="{A5EA1EA4-0A4E-458D-AB2C-1F774C8F5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  <a:gd name="T6" fmla="*/ 5 w 5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1" name="Freeform 280">
              <a:extLst>
                <a:ext uri="{FF2B5EF4-FFF2-40B4-BE49-F238E27FC236}">
                  <a16:creationId xmlns:a16="http://schemas.microsoft.com/office/drawing/2014/main" id="{8E1948DB-7FA2-4234-8F2A-71A44E6C5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2" name="Freeform 281">
              <a:extLst>
                <a:ext uri="{FF2B5EF4-FFF2-40B4-BE49-F238E27FC236}">
                  <a16:creationId xmlns:a16="http://schemas.microsoft.com/office/drawing/2014/main" id="{7A5CF4DA-669B-47A7-94AD-C8C87297A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2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3 w 8"/>
                <a:gd name="T7" fmla="*/ 17 h 17"/>
                <a:gd name="T8" fmla="*/ 3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3" name="Freeform 282">
              <a:extLst>
                <a:ext uri="{FF2B5EF4-FFF2-40B4-BE49-F238E27FC236}">
                  <a16:creationId xmlns:a16="http://schemas.microsoft.com/office/drawing/2014/main" id="{AF84810E-30E9-4047-B6FF-4284238AD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  <a:gd name="T6" fmla="*/ 5 w 5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4" name="Freeform 283">
              <a:extLst>
                <a:ext uri="{FF2B5EF4-FFF2-40B4-BE49-F238E27FC236}">
                  <a16:creationId xmlns:a16="http://schemas.microsoft.com/office/drawing/2014/main" id="{0ED2BB55-5A5D-45B2-9F4C-F7FF73DF0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5" name="Freeform 284">
              <a:extLst>
                <a:ext uri="{FF2B5EF4-FFF2-40B4-BE49-F238E27FC236}">
                  <a16:creationId xmlns:a16="http://schemas.microsoft.com/office/drawing/2014/main" id="{420FB5E0-2992-441F-939B-D208DD56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3 w 8"/>
                <a:gd name="T7" fmla="*/ 17 h 17"/>
                <a:gd name="T8" fmla="*/ 3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6" name="Freeform 285">
              <a:extLst>
                <a:ext uri="{FF2B5EF4-FFF2-40B4-BE49-F238E27FC236}">
                  <a16:creationId xmlns:a16="http://schemas.microsoft.com/office/drawing/2014/main" id="{ED19E5EE-67EF-4C44-AC59-56D348AC3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0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7" name="Freeform 286">
              <a:extLst>
                <a:ext uri="{FF2B5EF4-FFF2-40B4-BE49-F238E27FC236}">
                  <a16:creationId xmlns:a16="http://schemas.microsoft.com/office/drawing/2014/main" id="{8FFB08E5-DC9E-4F07-9570-8985F7E0B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0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8" name="Freeform 287">
              <a:extLst>
                <a:ext uri="{FF2B5EF4-FFF2-40B4-BE49-F238E27FC236}">
                  <a16:creationId xmlns:a16="http://schemas.microsoft.com/office/drawing/2014/main" id="{EF2F3EA2-FC1F-436C-8E59-403829ADA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8" y="2095"/>
              <a:ext cx="7" cy="18"/>
            </a:xfrm>
            <a:custGeom>
              <a:avLst/>
              <a:gdLst>
                <a:gd name="T0" fmla="*/ 7 w 7"/>
                <a:gd name="T1" fmla="*/ 0 h 18"/>
                <a:gd name="T2" fmla="*/ 0 w 7"/>
                <a:gd name="T3" fmla="*/ 0 h 18"/>
                <a:gd name="T4" fmla="*/ 0 w 7"/>
                <a:gd name="T5" fmla="*/ 18 h 18"/>
                <a:gd name="T6" fmla="*/ 2 w 7"/>
                <a:gd name="T7" fmla="*/ 18 h 18"/>
                <a:gd name="T8" fmla="*/ 2 w 7"/>
                <a:gd name="T9" fmla="*/ 2 h 18"/>
                <a:gd name="T10" fmla="*/ 7 w 7"/>
                <a:gd name="T11" fmla="*/ 2 h 18"/>
                <a:gd name="T12" fmla="*/ 7 w 7"/>
                <a:gd name="T13" fmla="*/ 0 h 18"/>
                <a:gd name="T14" fmla="*/ 7 w 7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8">
                  <a:moveTo>
                    <a:pt x="7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9" name="Rectangle 288">
              <a:extLst>
                <a:ext uri="{FF2B5EF4-FFF2-40B4-BE49-F238E27FC236}">
                  <a16:creationId xmlns:a16="http://schemas.microsoft.com/office/drawing/2014/main" id="{5ACEB8E5-81C7-4C3C-96F9-7D5B6218F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" y="1951"/>
              <a:ext cx="84" cy="1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0" name="Freeform 289">
              <a:extLst>
                <a:ext uri="{FF2B5EF4-FFF2-40B4-BE49-F238E27FC236}">
                  <a16:creationId xmlns:a16="http://schemas.microsoft.com/office/drawing/2014/main" id="{68699A98-2B31-4E86-9A85-DB4F78B1E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1948"/>
              <a:ext cx="88" cy="137"/>
            </a:xfrm>
            <a:custGeom>
              <a:avLst/>
              <a:gdLst>
                <a:gd name="T0" fmla="*/ 86 w 88"/>
                <a:gd name="T1" fmla="*/ 134 h 137"/>
                <a:gd name="T2" fmla="*/ 86 w 88"/>
                <a:gd name="T3" fmla="*/ 134 h 137"/>
                <a:gd name="T4" fmla="*/ 2 w 88"/>
                <a:gd name="T5" fmla="*/ 134 h 137"/>
                <a:gd name="T6" fmla="*/ 2 w 88"/>
                <a:gd name="T7" fmla="*/ 3 h 137"/>
                <a:gd name="T8" fmla="*/ 86 w 88"/>
                <a:gd name="T9" fmla="*/ 3 h 137"/>
                <a:gd name="T10" fmla="*/ 86 w 88"/>
                <a:gd name="T11" fmla="*/ 134 h 137"/>
                <a:gd name="T12" fmla="*/ 86 w 88"/>
                <a:gd name="T13" fmla="*/ 134 h 137"/>
                <a:gd name="T14" fmla="*/ 86 w 88"/>
                <a:gd name="T15" fmla="*/ 134 h 137"/>
                <a:gd name="T16" fmla="*/ 86 w 88"/>
                <a:gd name="T17" fmla="*/ 134 h 137"/>
                <a:gd name="T18" fmla="*/ 88 w 88"/>
                <a:gd name="T19" fmla="*/ 134 h 137"/>
                <a:gd name="T20" fmla="*/ 88 w 88"/>
                <a:gd name="T21" fmla="*/ 0 h 137"/>
                <a:gd name="T22" fmla="*/ 0 w 88"/>
                <a:gd name="T23" fmla="*/ 0 h 137"/>
                <a:gd name="T24" fmla="*/ 0 w 88"/>
                <a:gd name="T25" fmla="*/ 137 h 137"/>
                <a:gd name="T26" fmla="*/ 88 w 88"/>
                <a:gd name="T27" fmla="*/ 137 h 137"/>
                <a:gd name="T28" fmla="*/ 88 w 88"/>
                <a:gd name="T29" fmla="*/ 134 h 137"/>
                <a:gd name="T30" fmla="*/ 86 w 88"/>
                <a:gd name="T31" fmla="*/ 13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137">
                  <a:moveTo>
                    <a:pt x="86" y="134"/>
                  </a:moveTo>
                  <a:lnTo>
                    <a:pt x="86" y="134"/>
                  </a:lnTo>
                  <a:lnTo>
                    <a:pt x="2" y="134"/>
                  </a:lnTo>
                  <a:lnTo>
                    <a:pt x="2" y="3"/>
                  </a:lnTo>
                  <a:lnTo>
                    <a:pt x="86" y="3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4"/>
                  </a:lnTo>
                  <a:lnTo>
                    <a:pt x="88" y="0"/>
                  </a:lnTo>
                  <a:lnTo>
                    <a:pt x="0" y="0"/>
                  </a:lnTo>
                  <a:lnTo>
                    <a:pt x="0" y="137"/>
                  </a:lnTo>
                  <a:lnTo>
                    <a:pt x="88" y="137"/>
                  </a:lnTo>
                  <a:lnTo>
                    <a:pt x="88" y="134"/>
                  </a:lnTo>
                  <a:lnTo>
                    <a:pt x="86" y="13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1" name="Rectangle 290">
              <a:extLst>
                <a:ext uri="{FF2B5EF4-FFF2-40B4-BE49-F238E27FC236}">
                  <a16:creationId xmlns:a16="http://schemas.microsoft.com/office/drawing/2014/main" id="{92997CCC-D467-452D-AF49-1E20FA918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5" y="1885"/>
              <a:ext cx="81" cy="2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2" name="Freeform 291">
              <a:extLst>
                <a:ext uri="{FF2B5EF4-FFF2-40B4-BE49-F238E27FC236}">
                  <a16:creationId xmlns:a16="http://schemas.microsoft.com/office/drawing/2014/main" id="{1E6A6598-5105-4876-BC61-E6584AB27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3" y="1882"/>
              <a:ext cx="83" cy="299"/>
            </a:xfrm>
            <a:custGeom>
              <a:avLst/>
              <a:gdLst>
                <a:gd name="T0" fmla="*/ 83 w 83"/>
                <a:gd name="T1" fmla="*/ 296 h 299"/>
                <a:gd name="T2" fmla="*/ 83 w 83"/>
                <a:gd name="T3" fmla="*/ 296 h 299"/>
                <a:gd name="T4" fmla="*/ 2 w 83"/>
                <a:gd name="T5" fmla="*/ 296 h 299"/>
                <a:gd name="T6" fmla="*/ 2 w 83"/>
                <a:gd name="T7" fmla="*/ 3 h 299"/>
                <a:gd name="T8" fmla="*/ 83 w 83"/>
                <a:gd name="T9" fmla="*/ 3 h 299"/>
                <a:gd name="T10" fmla="*/ 83 w 83"/>
                <a:gd name="T11" fmla="*/ 296 h 299"/>
                <a:gd name="T12" fmla="*/ 83 w 83"/>
                <a:gd name="T13" fmla="*/ 296 h 299"/>
                <a:gd name="T14" fmla="*/ 83 w 83"/>
                <a:gd name="T15" fmla="*/ 296 h 299"/>
                <a:gd name="T16" fmla="*/ 83 w 83"/>
                <a:gd name="T17" fmla="*/ 296 h 299"/>
                <a:gd name="T18" fmla="*/ 83 w 83"/>
                <a:gd name="T19" fmla="*/ 296 h 299"/>
                <a:gd name="T20" fmla="*/ 83 w 83"/>
                <a:gd name="T21" fmla="*/ 0 h 299"/>
                <a:gd name="T22" fmla="*/ 0 w 83"/>
                <a:gd name="T23" fmla="*/ 0 h 299"/>
                <a:gd name="T24" fmla="*/ 0 w 83"/>
                <a:gd name="T25" fmla="*/ 299 h 299"/>
                <a:gd name="T26" fmla="*/ 83 w 83"/>
                <a:gd name="T27" fmla="*/ 299 h 299"/>
                <a:gd name="T28" fmla="*/ 83 w 83"/>
                <a:gd name="T29" fmla="*/ 296 h 299"/>
                <a:gd name="T30" fmla="*/ 83 w 83"/>
                <a:gd name="T31" fmla="*/ 29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299">
                  <a:moveTo>
                    <a:pt x="83" y="296"/>
                  </a:moveTo>
                  <a:lnTo>
                    <a:pt x="83" y="296"/>
                  </a:lnTo>
                  <a:lnTo>
                    <a:pt x="2" y="296"/>
                  </a:lnTo>
                  <a:lnTo>
                    <a:pt x="2" y="3"/>
                  </a:lnTo>
                  <a:lnTo>
                    <a:pt x="83" y="3"/>
                  </a:lnTo>
                  <a:lnTo>
                    <a:pt x="83" y="296"/>
                  </a:lnTo>
                  <a:lnTo>
                    <a:pt x="83" y="296"/>
                  </a:lnTo>
                  <a:lnTo>
                    <a:pt x="83" y="296"/>
                  </a:lnTo>
                  <a:lnTo>
                    <a:pt x="83" y="296"/>
                  </a:lnTo>
                  <a:lnTo>
                    <a:pt x="83" y="296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299"/>
                  </a:lnTo>
                  <a:lnTo>
                    <a:pt x="83" y="299"/>
                  </a:lnTo>
                  <a:lnTo>
                    <a:pt x="83" y="296"/>
                  </a:lnTo>
                  <a:lnTo>
                    <a:pt x="83" y="29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3" name="Freeform 292">
              <a:extLst>
                <a:ext uri="{FF2B5EF4-FFF2-40B4-BE49-F238E27FC236}">
                  <a16:creationId xmlns:a16="http://schemas.microsoft.com/office/drawing/2014/main" id="{56C082D2-6172-4FBF-9123-773892B7A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190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4" name="Freeform 293">
              <a:extLst>
                <a:ext uri="{FF2B5EF4-FFF2-40B4-BE49-F238E27FC236}">
                  <a16:creationId xmlns:a16="http://schemas.microsoft.com/office/drawing/2014/main" id="{DF2414D9-FD39-472C-A59A-A1B44C1BE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190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5" name="Freeform 294">
              <a:extLst>
                <a:ext uri="{FF2B5EF4-FFF2-40B4-BE49-F238E27FC236}">
                  <a16:creationId xmlns:a16="http://schemas.microsoft.com/office/drawing/2014/main" id="{A8B67795-7FD7-4EC2-97E7-CF8E34995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1905"/>
              <a:ext cx="13" cy="31"/>
            </a:xfrm>
            <a:custGeom>
              <a:avLst/>
              <a:gdLst>
                <a:gd name="T0" fmla="*/ 13 w 13"/>
                <a:gd name="T1" fmla="*/ 0 h 31"/>
                <a:gd name="T2" fmla="*/ 0 w 13"/>
                <a:gd name="T3" fmla="*/ 0 h 31"/>
                <a:gd name="T4" fmla="*/ 0 w 13"/>
                <a:gd name="T5" fmla="*/ 31 h 31"/>
                <a:gd name="T6" fmla="*/ 3 w 13"/>
                <a:gd name="T7" fmla="*/ 31 h 31"/>
                <a:gd name="T8" fmla="*/ 3 w 13"/>
                <a:gd name="T9" fmla="*/ 3 h 31"/>
                <a:gd name="T10" fmla="*/ 13 w 13"/>
                <a:gd name="T11" fmla="*/ 3 h 31"/>
                <a:gd name="T12" fmla="*/ 13 w 13"/>
                <a:gd name="T13" fmla="*/ 0 h 31"/>
                <a:gd name="T14" fmla="*/ 13 w 13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1">
                  <a:moveTo>
                    <a:pt x="13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6" name="Freeform 295">
              <a:extLst>
                <a:ext uri="{FF2B5EF4-FFF2-40B4-BE49-F238E27FC236}">
                  <a16:creationId xmlns:a16="http://schemas.microsoft.com/office/drawing/2014/main" id="{A69B9708-43C5-4148-BC57-60128227A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190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7" name="Freeform 296">
              <a:extLst>
                <a:ext uri="{FF2B5EF4-FFF2-40B4-BE49-F238E27FC236}">
                  <a16:creationId xmlns:a16="http://schemas.microsoft.com/office/drawing/2014/main" id="{A2557CC2-7084-4FFF-B5EF-568070BBA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1908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8" name="Freeform 297">
              <a:extLst>
                <a:ext uri="{FF2B5EF4-FFF2-40B4-BE49-F238E27FC236}">
                  <a16:creationId xmlns:a16="http://schemas.microsoft.com/office/drawing/2014/main" id="{3E92247A-9AF8-419F-B1AC-C2D019310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1905"/>
              <a:ext cx="12" cy="31"/>
            </a:xfrm>
            <a:custGeom>
              <a:avLst/>
              <a:gdLst>
                <a:gd name="T0" fmla="*/ 12 w 12"/>
                <a:gd name="T1" fmla="*/ 0 h 31"/>
                <a:gd name="T2" fmla="*/ 0 w 12"/>
                <a:gd name="T3" fmla="*/ 0 h 31"/>
                <a:gd name="T4" fmla="*/ 0 w 12"/>
                <a:gd name="T5" fmla="*/ 31 h 31"/>
                <a:gd name="T6" fmla="*/ 2 w 12"/>
                <a:gd name="T7" fmla="*/ 31 h 31"/>
                <a:gd name="T8" fmla="*/ 2 w 12"/>
                <a:gd name="T9" fmla="*/ 3 h 31"/>
                <a:gd name="T10" fmla="*/ 12 w 12"/>
                <a:gd name="T11" fmla="*/ 3 h 31"/>
                <a:gd name="T12" fmla="*/ 12 w 12"/>
                <a:gd name="T13" fmla="*/ 0 h 31"/>
                <a:gd name="T14" fmla="*/ 12 w 1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31">
                  <a:moveTo>
                    <a:pt x="1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9" name="Freeform 298">
              <a:extLst>
                <a:ext uri="{FF2B5EF4-FFF2-40B4-BE49-F238E27FC236}">
                  <a16:creationId xmlns:a16="http://schemas.microsoft.com/office/drawing/2014/main" id="{47B32B83-DFE8-4C4A-8932-649181E52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195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0" name="Freeform 299">
              <a:extLst>
                <a:ext uri="{FF2B5EF4-FFF2-40B4-BE49-F238E27FC236}">
                  <a16:creationId xmlns:a16="http://schemas.microsoft.com/office/drawing/2014/main" id="{722DDE16-5669-4A6B-8069-496C83F38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195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1" name="Freeform 300">
              <a:extLst>
                <a:ext uri="{FF2B5EF4-FFF2-40B4-BE49-F238E27FC236}">
                  <a16:creationId xmlns:a16="http://schemas.microsoft.com/office/drawing/2014/main" id="{C8A474B9-4C57-4503-985C-26A8CB2F0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1956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3 w 13"/>
                <a:gd name="T7" fmla="*/ 28 h 28"/>
                <a:gd name="T8" fmla="*/ 3 w 13"/>
                <a:gd name="T9" fmla="*/ 2 h 28"/>
                <a:gd name="T10" fmla="*/ 13 w 13"/>
                <a:gd name="T11" fmla="*/ 2 h 28"/>
                <a:gd name="T12" fmla="*/ 13 w 13"/>
                <a:gd name="T13" fmla="*/ 0 h 28"/>
                <a:gd name="T14" fmla="*/ 13 w 13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2" name="Freeform 301">
              <a:extLst>
                <a:ext uri="{FF2B5EF4-FFF2-40B4-BE49-F238E27FC236}">
                  <a16:creationId xmlns:a16="http://schemas.microsoft.com/office/drawing/2014/main" id="{162EEAB1-04B5-4822-A44C-D0CAF13BF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195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3" name="Freeform 302">
              <a:extLst>
                <a:ext uri="{FF2B5EF4-FFF2-40B4-BE49-F238E27FC236}">
                  <a16:creationId xmlns:a16="http://schemas.microsoft.com/office/drawing/2014/main" id="{F057E707-B873-499B-A5CE-64EE3EFDE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195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4" name="Freeform 303">
              <a:extLst>
                <a:ext uri="{FF2B5EF4-FFF2-40B4-BE49-F238E27FC236}">
                  <a16:creationId xmlns:a16="http://schemas.microsoft.com/office/drawing/2014/main" id="{8F502CB4-A720-4B68-89C1-B5D760B68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1956"/>
              <a:ext cx="12" cy="28"/>
            </a:xfrm>
            <a:custGeom>
              <a:avLst/>
              <a:gdLst>
                <a:gd name="T0" fmla="*/ 12 w 12"/>
                <a:gd name="T1" fmla="*/ 0 h 28"/>
                <a:gd name="T2" fmla="*/ 0 w 12"/>
                <a:gd name="T3" fmla="*/ 0 h 28"/>
                <a:gd name="T4" fmla="*/ 0 w 12"/>
                <a:gd name="T5" fmla="*/ 28 h 28"/>
                <a:gd name="T6" fmla="*/ 2 w 12"/>
                <a:gd name="T7" fmla="*/ 28 h 28"/>
                <a:gd name="T8" fmla="*/ 2 w 12"/>
                <a:gd name="T9" fmla="*/ 2 h 28"/>
                <a:gd name="T10" fmla="*/ 12 w 12"/>
                <a:gd name="T11" fmla="*/ 2 h 28"/>
                <a:gd name="T12" fmla="*/ 12 w 12"/>
                <a:gd name="T13" fmla="*/ 0 h 28"/>
                <a:gd name="T14" fmla="*/ 12 w 12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5" name="Freeform 304">
              <a:extLst>
                <a:ext uri="{FF2B5EF4-FFF2-40B4-BE49-F238E27FC236}">
                  <a16:creationId xmlns:a16="http://schemas.microsoft.com/office/drawing/2014/main" id="{60967B4E-F44E-4511-A737-27E6B445A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200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6" name="Freeform 305">
              <a:extLst>
                <a:ext uri="{FF2B5EF4-FFF2-40B4-BE49-F238E27FC236}">
                  <a16:creationId xmlns:a16="http://schemas.microsoft.com/office/drawing/2014/main" id="{0185D787-6A64-4A1B-9AE9-D1BEF80E2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200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7" name="Freeform 306">
              <a:extLst>
                <a:ext uri="{FF2B5EF4-FFF2-40B4-BE49-F238E27FC236}">
                  <a16:creationId xmlns:a16="http://schemas.microsoft.com/office/drawing/2014/main" id="{BD77C00D-9F1F-472C-89B8-FFB9D799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004"/>
              <a:ext cx="13" cy="30"/>
            </a:xfrm>
            <a:custGeom>
              <a:avLst/>
              <a:gdLst>
                <a:gd name="T0" fmla="*/ 13 w 13"/>
                <a:gd name="T1" fmla="*/ 0 h 30"/>
                <a:gd name="T2" fmla="*/ 0 w 13"/>
                <a:gd name="T3" fmla="*/ 0 h 30"/>
                <a:gd name="T4" fmla="*/ 0 w 13"/>
                <a:gd name="T5" fmla="*/ 30 h 30"/>
                <a:gd name="T6" fmla="*/ 3 w 13"/>
                <a:gd name="T7" fmla="*/ 30 h 30"/>
                <a:gd name="T8" fmla="*/ 3 w 13"/>
                <a:gd name="T9" fmla="*/ 2 h 30"/>
                <a:gd name="T10" fmla="*/ 13 w 13"/>
                <a:gd name="T11" fmla="*/ 2 h 30"/>
                <a:gd name="T12" fmla="*/ 13 w 13"/>
                <a:gd name="T13" fmla="*/ 0 h 30"/>
                <a:gd name="T14" fmla="*/ 13 w 13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0">
                  <a:moveTo>
                    <a:pt x="13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3" y="30"/>
                  </a:lnTo>
                  <a:lnTo>
                    <a:pt x="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8" name="Freeform 307">
              <a:extLst>
                <a:ext uri="{FF2B5EF4-FFF2-40B4-BE49-F238E27FC236}">
                  <a16:creationId xmlns:a16="http://schemas.microsoft.com/office/drawing/2014/main" id="{BF201798-DC48-40F4-9A47-6524435EC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200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9" name="Freeform 308">
              <a:extLst>
                <a:ext uri="{FF2B5EF4-FFF2-40B4-BE49-F238E27FC236}">
                  <a16:creationId xmlns:a16="http://schemas.microsoft.com/office/drawing/2014/main" id="{24927BFF-41CF-4448-B54E-EA61A1755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200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0" name="Freeform 309">
              <a:extLst>
                <a:ext uri="{FF2B5EF4-FFF2-40B4-BE49-F238E27FC236}">
                  <a16:creationId xmlns:a16="http://schemas.microsoft.com/office/drawing/2014/main" id="{C350C439-AFF7-4A47-BA4E-2D4271A71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2004"/>
              <a:ext cx="12" cy="30"/>
            </a:xfrm>
            <a:custGeom>
              <a:avLst/>
              <a:gdLst>
                <a:gd name="T0" fmla="*/ 12 w 12"/>
                <a:gd name="T1" fmla="*/ 0 h 30"/>
                <a:gd name="T2" fmla="*/ 0 w 12"/>
                <a:gd name="T3" fmla="*/ 0 h 30"/>
                <a:gd name="T4" fmla="*/ 0 w 12"/>
                <a:gd name="T5" fmla="*/ 30 h 30"/>
                <a:gd name="T6" fmla="*/ 2 w 12"/>
                <a:gd name="T7" fmla="*/ 30 h 30"/>
                <a:gd name="T8" fmla="*/ 2 w 12"/>
                <a:gd name="T9" fmla="*/ 2 h 30"/>
                <a:gd name="T10" fmla="*/ 12 w 12"/>
                <a:gd name="T11" fmla="*/ 2 h 30"/>
                <a:gd name="T12" fmla="*/ 12 w 12"/>
                <a:gd name="T13" fmla="*/ 0 h 30"/>
                <a:gd name="T14" fmla="*/ 12 w 12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30">
                  <a:moveTo>
                    <a:pt x="12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1" name="Freeform 310">
              <a:extLst>
                <a:ext uri="{FF2B5EF4-FFF2-40B4-BE49-F238E27FC236}">
                  <a16:creationId xmlns:a16="http://schemas.microsoft.com/office/drawing/2014/main" id="{91FBA034-0890-49B1-B6AE-8773BE077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2054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2" name="Freeform 311">
              <a:extLst>
                <a:ext uri="{FF2B5EF4-FFF2-40B4-BE49-F238E27FC236}">
                  <a16:creationId xmlns:a16="http://schemas.microsoft.com/office/drawing/2014/main" id="{146C8CB6-9270-4338-B4C7-D316649B9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" y="2054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3" name="Freeform 312">
              <a:extLst>
                <a:ext uri="{FF2B5EF4-FFF2-40B4-BE49-F238E27FC236}">
                  <a16:creationId xmlns:a16="http://schemas.microsoft.com/office/drawing/2014/main" id="{88B5A2CF-5D47-49FF-B50A-9C8329403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2052"/>
              <a:ext cx="12" cy="30"/>
            </a:xfrm>
            <a:custGeom>
              <a:avLst/>
              <a:gdLst>
                <a:gd name="T0" fmla="*/ 12 w 12"/>
                <a:gd name="T1" fmla="*/ 0 h 30"/>
                <a:gd name="T2" fmla="*/ 0 w 12"/>
                <a:gd name="T3" fmla="*/ 0 h 30"/>
                <a:gd name="T4" fmla="*/ 0 w 12"/>
                <a:gd name="T5" fmla="*/ 30 h 30"/>
                <a:gd name="T6" fmla="*/ 2 w 12"/>
                <a:gd name="T7" fmla="*/ 30 h 30"/>
                <a:gd name="T8" fmla="*/ 2 w 12"/>
                <a:gd name="T9" fmla="*/ 2 h 30"/>
                <a:gd name="T10" fmla="*/ 12 w 12"/>
                <a:gd name="T11" fmla="*/ 2 h 30"/>
                <a:gd name="T12" fmla="*/ 12 w 12"/>
                <a:gd name="T13" fmla="*/ 0 h 30"/>
                <a:gd name="T14" fmla="*/ 12 w 12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30">
                  <a:moveTo>
                    <a:pt x="12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4" name="Freeform 313">
              <a:extLst>
                <a:ext uri="{FF2B5EF4-FFF2-40B4-BE49-F238E27FC236}">
                  <a16:creationId xmlns:a16="http://schemas.microsoft.com/office/drawing/2014/main" id="{27A0A99E-1AF5-4C74-A1B8-23349D1C3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" y="1976"/>
              <a:ext cx="76" cy="38"/>
            </a:xfrm>
            <a:custGeom>
              <a:avLst/>
              <a:gdLst>
                <a:gd name="T0" fmla="*/ 30 w 30"/>
                <a:gd name="T1" fmla="*/ 15 h 15"/>
                <a:gd name="T2" fmla="*/ 15 w 30"/>
                <a:gd name="T3" fmla="*/ 0 h 15"/>
                <a:gd name="T4" fmla="*/ 0 w 30"/>
                <a:gd name="T5" fmla="*/ 15 h 15"/>
                <a:gd name="T6" fmla="*/ 30 w 30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5">
                  <a:moveTo>
                    <a:pt x="30" y="15"/>
                  </a:moveTo>
                  <a:cubicBezTo>
                    <a:pt x="30" y="6"/>
                    <a:pt x="23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lnTo>
                    <a:pt x="3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5" name="Freeform 314">
              <a:extLst>
                <a:ext uri="{FF2B5EF4-FFF2-40B4-BE49-F238E27FC236}">
                  <a16:creationId xmlns:a16="http://schemas.microsoft.com/office/drawing/2014/main" id="{4F146FDD-B5E2-47C0-A620-D36D0DAC9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" y="1973"/>
              <a:ext cx="78" cy="41"/>
            </a:xfrm>
            <a:custGeom>
              <a:avLst/>
              <a:gdLst>
                <a:gd name="T0" fmla="*/ 31 w 31"/>
                <a:gd name="T1" fmla="*/ 16 h 16"/>
                <a:gd name="T2" fmla="*/ 31 w 31"/>
                <a:gd name="T3" fmla="*/ 16 h 16"/>
                <a:gd name="T4" fmla="*/ 16 w 31"/>
                <a:gd name="T5" fmla="*/ 0 h 16"/>
                <a:gd name="T6" fmla="*/ 0 w 31"/>
                <a:gd name="T7" fmla="*/ 16 h 16"/>
                <a:gd name="T8" fmla="*/ 0 w 31"/>
                <a:gd name="T9" fmla="*/ 16 h 16"/>
                <a:gd name="T10" fmla="*/ 31 w 31"/>
                <a:gd name="T11" fmla="*/ 16 h 16"/>
                <a:gd name="T12" fmla="*/ 31 w 31"/>
                <a:gd name="T13" fmla="*/ 16 h 16"/>
                <a:gd name="T14" fmla="*/ 31 w 31"/>
                <a:gd name="T15" fmla="*/ 16 h 16"/>
                <a:gd name="T16" fmla="*/ 31 w 31"/>
                <a:gd name="T17" fmla="*/ 15 h 16"/>
                <a:gd name="T18" fmla="*/ 1 w 31"/>
                <a:gd name="T19" fmla="*/ 15 h 16"/>
                <a:gd name="T20" fmla="*/ 1 w 31"/>
                <a:gd name="T21" fmla="*/ 16 h 16"/>
                <a:gd name="T22" fmla="*/ 1 w 31"/>
                <a:gd name="T23" fmla="*/ 16 h 16"/>
                <a:gd name="T24" fmla="*/ 16 w 31"/>
                <a:gd name="T25" fmla="*/ 1 h 16"/>
                <a:gd name="T26" fmla="*/ 30 w 31"/>
                <a:gd name="T27" fmla="*/ 16 h 16"/>
                <a:gd name="T28" fmla="*/ 31 w 31"/>
                <a:gd name="T29" fmla="*/ 16 h 16"/>
                <a:gd name="T30" fmla="*/ 31 w 31"/>
                <a:gd name="T31" fmla="*/ 15 h 16"/>
                <a:gd name="T32" fmla="*/ 31 w 31"/>
                <a:gd name="T3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16"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7"/>
                    <a:pt x="24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8"/>
                    <a:pt x="8" y="1"/>
                    <a:pt x="16" y="1"/>
                  </a:cubicBezTo>
                  <a:cubicBezTo>
                    <a:pt x="24" y="1"/>
                    <a:pt x="30" y="8"/>
                    <a:pt x="30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1" y="15"/>
                    <a:pt x="31" y="15"/>
                  </a:cubicBezTo>
                  <a:lnTo>
                    <a:pt x="31" y="1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6" name="Rectangle 315">
              <a:extLst>
                <a:ext uri="{FF2B5EF4-FFF2-40B4-BE49-F238E27FC236}">
                  <a16:creationId xmlns:a16="http://schemas.microsoft.com/office/drawing/2014/main" id="{36115591-3B7B-4986-9D37-62B41FC95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6" y="2014"/>
              <a:ext cx="76" cy="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7" name="Freeform 316">
              <a:extLst>
                <a:ext uri="{FF2B5EF4-FFF2-40B4-BE49-F238E27FC236}">
                  <a16:creationId xmlns:a16="http://schemas.microsoft.com/office/drawing/2014/main" id="{F2ECC9F8-27D5-4E32-A7CA-355BA93A5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" y="2011"/>
              <a:ext cx="78" cy="46"/>
            </a:xfrm>
            <a:custGeom>
              <a:avLst/>
              <a:gdLst>
                <a:gd name="T0" fmla="*/ 78 w 78"/>
                <a:gd name="T1" fmla="*/ 46 h 46"/>
                <a:gd name="T2" fmla="*/ 78 w 78"/>
                <a:gd name="T3" fmla="*/ 46 h 46"/>
                <a:gd name="T4" fmla="*/ 2 w 78"/>
                <a:gd name="T5" fmla="*/ 46 h 46"/>
                <a:gd name="T6" fmla="*/ 2 w 78"/>
                <a:gd name="T7" fmla="*/ 3 h 46"/>
                <a:gd name="T8" fmla="*/ 75 w 78"/>
                <a:gd name="T9" fmla="*/ 3 h 46"/>
                <a:gd name="T10" fmla="*/ 75 w 78"/>
                <a:gd name="T11" fmla="*/ 46 h 46"/>
                <a:gd name="T12" fmla="*/ 78 w 78"/>
                <a:gd name="T13" fmla="*/ 46 h 46"/>
                <a:gd name="T14" fmla="*/ 78 w 78"/>
                <a:gd name="T15" fmla="*/ 46 h 46"/>
                <a:gd name="T16" fmla="*/ 78 w 78"/>
                <a:gd name="T17" fmla="*/ 46 h 46"/>
                <a:gd name="T18" fmla="*/ 78 w 78"/>
                <a:gd name="T19" fmla="*/ 46 h 46"/>
                <a:gd name="T20" fmla="*/ 78 w 78"/>
                <a:gd name="T21" fmla="*/ 0 h 46"/>
                <a:gd name="T22" fmla="*/ 0 w 78"/>
                <a:gd name="T23" fmla="*/ 0 h 46"/>
                <a:gd name="T24" fmla="*/ 0 w 78"/>
                <a:gd name="T25" fmla="*/ 46 h 46"/>
                <a:gd name="T26" fmla="*/ 78 w 78"/>
                <a:gd name="T27" fmla="*/ 46 h 46"/>
                <a:gd name="T28" fmla="*/ 78 w 78"/>
                <a:gd name="T29" fmla="*/ 46 h 46"/>
                <a:gd name="T30" fmla="*/ 78 w 78"/>
                <a:gd name="T3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8" h="46">
                  <a:moveTo>
                    <a:pt x="78" y="46"/>
                  </a:moveTo>
                  <a:lnTo>
                    <a:pt x="78" y="46"/>
                  </a:lnTo>
                  <a:lnTo>
                    <a:pt x="2" y="46"/>
                  </a:lnTo>
                  <a:lnTo>
                    <a:pt x="2" y="3"/>
                  </a:lnTo>
                  <a:lnTo>
                    <a:pt x="75" y="3"/>
                  </a:lnTo>
                  <a:lnTo>
                    <a:pt x="75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8" name="Rectangle 317">
              <a:extLst>
                <a:ext uri="{FF2B5EF4-FFF2-40B4-BE49-F238E27FC236}">
                  <a16:creationId xmlns:a16="http://schemas.microsoft.com/office/drawing/2014/main" id="{8F30EFEF-FAE8-434D-882C-3818B044E5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0" y="2095"/>
              <a:ext cx="188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9" name="Freeform 318">
              <a:extLst>
                <a:ext uri="{FF2B5EF4-FFF2-40B4-BE49-F238E27FC236}">
                  <a16:creationId xmlns:a16="http://schemas.microsoft.com/office/drawing/2014/main" id="{04D43D4D-ADF3-4133-AA11-9A9D49FA7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8" y="2092"/>
              <a:ext cx="192" cy="89"/>
            </a:xfrm>
            <a:custGeom>
              <a:avLst/>
              <a:gdLst>
                <a:gd name="T0" fmla="*/ 190 w 192"/>
                <a:gd name="T1" fmla="*/ 89 h 89"/>
                <a:gd name="T2" fmla="*/ 190 w 192"/>
                <a:gd name="T3" fmla="*/ 86 h 89"/>
                <a:gd name="T4" fmla="*/ 2 w 192"/>
                <a:gd name="T5" fmla="*/ 86 h 89"/>
                <a:gd name="T6" fmla="*/ 2 w 192"/>
                <a:gd name="T7" fmla="*/ 3 h 89"/>
                <a:gd name="T8" fmla="*/ 190 w 192"/>
                <a:gd name="T9" fmla="*/ 3 h 89"/>
                <a:gd name="T10" fmla="*/ 190 w 192"/>
                <a:gd name="T11" fmla="*/ 89 h 89"/>
                <a:gd name="T12" fmla="*/ 190 w 192"/>
                <a:gd name="T13" fmla="*/ 89 h 89"/>
                <a:gd name="T14" fmla="*/ 190 w 192"/>
                <a:gd name="T15" fmla="*/ 86 h 89"/>
                <a:gd name="T16" fmla="*/ 190 w 192"/>
                <a:gd name="T17" fmla="*/ 89 h 89"/>
                <a:gd name="T18" fmla="*/ 192 w 192"/>
                <a:gd name="T19" fmla="*/ 89 h 89"/>
                <a:gd name="T20" fmla="*/ 192 w 192"/>
                <a:gd name="T21" fmla="*/ 0 h 89"/>
                <a:gd name="T22" fmla="*/ 0 w 192"/>
                <a:gd name="T23" fmla="*/ 0 h 89"/>
                <a:gd name="T24" fmla="*/ 0 w 192"/>
                <a:gd name="T25" fmla="*/ 89 h 89"/>
                <a:gd name="T26" fmla="*/ 192 w 192"/>
                <a:gd name="T27" fmla="*/ 89 h 89"/>
                <a:gd name="T28" fmla="*/ 192 w 192"/>
                <a:gd name="T29" fmla="*/ 89 h 89"/>
                <a:gd name="T30" fmla="*/ 190 w 192"/>
                <a:gd name="T31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2" h="89">
                  <a:moveTo>
                    <a:pt x="190" y="89"/>
                  </a:moveTo>
                  <a:lnTo>
                    <a:pt x="190" y="86"/>
                  </a:lnTo>
                  <a:lnTo>
                    <a:pt x="2" y="86"/>
                  </a:lnTo>
                  <a:lnTo>
                    <a:pt x="2" y="3"/>
                  </a:lnTo>
                  <a:lnTo>
                    <a:pt x="190" y="3"/>
                  </a:lnTo>
                  <a:lnTo>
                    <a:pt x="190" y="89"/>
                  </a:lnTo>
                  <a:lnTo>
                    <a:pt x="190" y="89"/>
                  </a:lnTo>
                  <a:lnTo>
                    <a:pt x="190" y="86"/>
                  </a:lnTo>
                  <a:lnTo>
                    <a:pt x="190" y="89"/>
                  </a:lnTo>
                  <a:lnTo>
                    <a:pt x="192" y="89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192" y="89"/>
                  </a:lnTo>
                  <a:lnTo>
                    <a:pt x="192" y="89"/>
                  </a:lnTo>
                  <a:lnTo>
                    <a:pt x="190" y="8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0" name="Rectangle 319">
              <a:extLst>
                <a:ext uri="{FF2B5EF4-FFF2-40B4-BE49-F238E27FC236}">
                  <a16:creationId xmlns:a16="http://schemas.microsoft.com/office/drawing/2014/main" id="{008D2560-769D-44AF-8444-61DD2D02A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8" y="2092"/>
              <a:ext cx="15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1" name="Freeform 320">
              <a:extLst>
                <a:ext uri="{FF2B5EF4-FFF2-40B4-BE49-F238E27FC236}">
                  <a16:creationId xmlns:a16="http://schemas.microsoft.com/office/drawing/2014/main" id="{EE21B616-6A8D-43F6-AB09-8B4623DF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" y="2092"/>
              <a:ext cx="20" cy="89"/>
            </a:xfrm>
            <a:custGeom>
              <a:avLst/>
              <a:gdLst>
                <a:gd name="T0" fmla="*/ 17 w 20"/>
                <a:gd name="T1" fmla="*/ 86 h 89"/>
                <a:gd name="T2" fmla="*/ 17 w 20"/>
                <a:gd name="T3" fmla="*/ 86 h 89"/>
                <a:gd name="T4" fmla="*/ 2 w 20"/>
                <a:gd name="T5" fmla="*/ 86 h 89"/>
                <a:gd name="T6" fmla="*/ 2 w 20"/>
                <a:gd name="T7" fmla="*/ 3 h 89"/>
                <a:gd name="T8" fmla="*/ 17 w 20"/>
                <a:gd name="T9" fmla="*/ 3 h 89"/>
                <a:gd name="T10" fmla="*/ 17 w 20"/>
                <a:gd name="T11" fmla="*/ 86 h 89"/>
                <a:gd name="T12" fmla="*/ 17 w 20"/>
                <a:gd name="T13" fmla="*/ 86 h 89"/>
                <a:gd name="T14" fmla="*/ 17 w 20"/>
                <a:gd name="T15" fmla="*/ 86 h 89"/>
                <a:gd name="T16" fmla="*/ 17 w 20"/>
                <a:gd name="T17" fmla="*/ 86 h 89"/>
                <a:gd name="T18" fmla="*/ 20 w 20"/>
                <a:gd name="T19" fmla="*/ 86 h 89"/>
                <a:gd name="T20" fmla="*/ 20 w 20"/>
                <a:gd name="T21" fmla="*/ 0 h 89"/>
                <a:gd name="T22" fmla="*/ 0 w 20"/>
                <a:gd name="T23" fmla="*/ 0 h 89"/>
                <a:gd name="T24" fmla="*/ 0 w 20"/>
                <a:gd name="T25" fmla="*/ 89 h 89"/>
                <a:gd name="T26" fmla="*/ 20 w 20"/>
                <a:gd name="T27" fmla="*/ 89 h 89"/>
                <a:gd name="T28" fmla="*/ 20 w 20"/>
                <a:gd name="T29" fmla="*/ 86 h 89"/>
                <a:gd name="T30" fmla="*/ 17 w 20"/>
                <a:gd name="T31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89">
                  <a:moveTo>
                    <a:pt x="17" y="86"/>
                  </a:moveTo>
                  <a:lnTo>
                    <a:pt x="17" y="86"/>
                  </a:lnTo>
                  <a:lnTo>
                    <a:pt x="2" y="86"/>
                  </a:lnTo>
                  <a:lnTo>
                    <a:pt x="2" y="3"/>
                  </a:lnTo>
                  <a:lnTo>
                    <a:pt x="17" y="3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20" y="86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20" y="89"/>
                  </a:lnTo>
                  <a:lnTo>
                    <a:pt x="20" y="86"/>
                  </a:lnTo>
                  <a:lnTo>
                    <a:pt x="17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2" name="Rectangle 321">
              <a:extLst>
                <a:ext uri="{FF2B5EF4-FFF2-40B4-BE49-F238E27FC236}">
                  <a16:creationId xmlns:a16="http://schemas.microsoft.com/office/drawing/2014/main" id="{9A52C522-5075-4B08-B450-1BE772BD6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" y="2092"/>
              <a:ext cx="18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3" name="Freeform 322">
              <a:extLst>
                <a:ext uri="{FF2B5EF4-FFF2-40B4-BE49-F238E27FC236}">
                  <a16:creationId xmlns:a16="http://schemas.microsoft.com/office/drawing/2014/main" id="{21F86449-6429-4E0B-B27D-B62E26F00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" y="2092"/>
              <a:ext cx="18" cy="89"/>
            </a:xfrm>
            <a:custGeom>
              <a:avLst/>
              <a:gdLst>
                <a:gd name="T0" fmla="*/ 18 w 18"/>
                <a:gd name="T1" fmla="*/ 86 h 89"/>
                <a:gd name="T2" fmla="*/ 18 w 18"/>
                <a:gd name="T3" fmla="*/ 86 h 89"/>
                <a:gd name="T4" fmla="*/ 3 w 18"/>
                <a:gd name="T5" fmla="*/ 86 h 89"/>
                <a:gd name="T6" fmla="*/ 3 w 18"/>
                <a:gd name="T7" fmla="*/ 3 h 89"/>
                <a:gd name="T8" fmla="*/ 15 w 18"/>
                <a:gd name="T9" fmla="*/ 3 h 89"/>
                <a:gd name="T10" fmla="*/ 15 w 18"/>
                <a:gd name="T11" fmla="*/ 86 h 89"/>
                <a:gd name="T12" fmla="*/ 18 w 18"/>
                <a:gd name="T13" fmla="*/ 86 h 89"/>
                <a:gd name="T14" fmla="*/ 18 w 18"/>
                <a:gd name="T15" fmla="*/ 86 h 89"/>
                <a:gd name="T16" fmla="*/ 18 w 18"/>
                <a:gd name="T17" fmla="*/ 86 h 89"/>
                <a:gd name="T18" fmla="*/ 18 w 18"/>
                <a:gd name="T19" fmla="*/ 86 h 89"/>
                <a:gd name="T20" fmla="*/ 18 w 18"/>
                <a:gd name="T21" fmla="*/ 0 h 89"/>
                <a:gd name="T22" fmla="*/ 0 w 18"/>
                <a:gd name="T23" fmla="*/ 0 h 89"/>
                <a:gd name="T24" fmla="*/ 0 w 18"/>
                <a:gd name="T25" fmla="*/ 89 h 89"/>
                <a:gd name="T26" fmla="*/ 18 w 18"/>
                <a:gd name="T27" fmla="*/ 89 h 89"/>
                <a:gd name="T28" fmla="*/ 18 w 18"/>
                <a:gd name="T29" fmla="*/ 86 h 89"/>
                <a:gd name="T30" fmla="*/ 18 w 18"/>
                <a:gd name="T31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89">
                  <a:moveTo>
                    <a:pt x="18" y="86"/>
                  </a:moveTo>
                  <a:lnTo>
                    <a:pt x="18" y="86"/>
                  </a:lnTo>
                  <a:lnTo>
                    <a:pt x="3" y="86"/>
                  </a:lnTo>
                  <a:lnTo>
                    <a:pt x="3" y="3"/>
                  </a:lnTo>
                  <a:lnTo>
                    <a:pt x="15" y="3"/>
                  </a:lnTo>
                  <a:lnTo>
                    <a:pt x="15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18" y="89"/>
                  </a:lnTo>
                  <a:lnTo>
                    <a:pt x="18" y="86"/>
                  </a:lnTo>
                  <a:lnTo>
                    <a:pt x="18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4" name="Rectangle 323">
              <a:extLst>
                <a:ext uri="{FF2B5EF4-FFF2-40B4-BE49-F238E27FC236}">
                  <a16:creationId xmlns:a16="http://schemas.microsoft.com/office/drawing/2014/main" id="{9F71DD81-262A-4587-AC96-4236C5338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6" y="2092"/>
              <a:ext cx="16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5" name="Freeform 324">
              <a:extLst>
                <a:ext uri="{FF2B5EF4-FFF2-40B4-BE49-F238E27FC236}">
                  <a16:creationId xmlns:a16="http://schemas.microsoft.com/office/drawing/2014/main" id="{AF0A583D-DFE3-4DCE-BAA3-34EC8732C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6" y="2092"/>
              <a:ext cx="18" cy="89"/>
            </a:xfrm>
            <a:custGeom>
              <a:avLst/>
              <a:gdLst>
                <a:gd name="T0" fmla="*/ 16 w 18"/>
                <a:gd name="T1" fmla="*/ 86 h 89"/>
                <a:gd name="T2" fmla="*/ 16 w 18"/>
                <a:gd name="T3" fmla="*/ 86 h 89"/>
                <a:gd name="T4" fmla="*/ 3 w 18"/>
                <a:gd name="T5" fmla="*/ 86 h 89"/>
                <a:gd name="T6" fmla="*/ 3 w 18"/>
                <a:gd name="T7" fmla="*/ 3 h 89"/>
                <a:gd name="T8" fmla="*/ 16 w 18"/>
                <a:gd name="T9" fmla="*/ 3 h 89"/>
                <a:gd name="T10" fmla="*/ 16 w 18"/>
                <a:gd name="T11" fmla="*/ 86 h 89"/>
                <a:gd name="T12" fmla="*/ 16 w 18"/>
                <a:gd name="T13" fmla="*/ 86 h 89"/>
                <a:gd name="T14" fmla="*/ 16 w 18"/>
                <a:gd name="T15" fmla="*/ 86 h 89"/>
                <a:gd name="T16" fmla="*/ 16 w 18"/>
                <a:gd name="T17" fmla="*/ 86 h 89"/>
                <a:gd name="T18" fmla="*/ 18 w 18"/>
                <a:gd name="T19" fmla="*/ 86 h 89"/>
                <a:gd name="T20" fmla="*/ 18 w 18"/>
                <a:gd name="T21" fmla="*/ 0 h 89"/>
                <a:gd name="T22" fmla="*/ 0 w 18"/>
                <a:gd name="T23" fmla="*/ 0 h 89"/>
                <a:gd name="T24" fmla="*/ 0 w 18"/>
                <a:gd name="T25" fmla="*/ 89 h 89"/>
                <a:gd name="T26" fmla="*/ 18 w 18"/>
                <a:gd name="T27" fmla="*/ 89 h 89"/>
                <a:gd name="T28" fmla="*/ 18 w 18"/>
                <a:gd name="T29" fmla="*/ 86 h 89"/>
                <a:gd name="T30" fmla="*/ 16 w 18"/>
                <a:gd name="T31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89">
                  <a:moveTo>
                    <a:pt x="16" y="86"/>
                  </a:moveTo>
                  <a:lnTo>
                    <a:pt x="16" y="86"/>
                  </a:lnTo>
                  <a:lnTo>
                    <a:pt x="3" y="86"/>
                  </a:lnTo>
                  <a:lnTo>
                    <a:pt x="3" y="3"/>
                  </a:lnTo>
                  <a:lnTo>
                    <a:pt x="16" y="3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8" y="8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18" y="89"/>
                  </a:lnTo>
                  <a:lnTo>
                    <a:pt x="18" y="86"/>
                  </a:lnTo>
                  <a:lnTo>
                    <a:pt x="16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6" name="Rectangle 325">
              <a:extLst>
                <a:ext uri="{FF2B5EF4-FFF2-40B4-BE49-F238E27FC236}">
                  <a16:creationId xmlns:a16="http://schemas.microsoft.com/office/drawing/2014/main" id="{D080280D-9934-4105-858A-FAA36C8C0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2" y="2092"/>
              <a:ext cx="15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7" name="Freeform 326">
              <a:extLst>
                <a:ext uri="{FF2B5EF4-FFF2-40B4-BE49-F238E27FC236}">
                  <a16:creationId xmlns:a16="http://schemas.microsoft.com/office/drawing/2014/main" id="{BE9BD1D6-74B4-4641-A919-5704D9636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" y="2092"/>
              <a:ext cx="18" cy="89"/>
            </a:xfrm>
            <a:custGeom>
              <a:avLst/>
              <a:gdLst>
                <a:gd name="T0" fmla="*/ 18 w 18"/>
                <a:gd name="T1" fmla="*/ 86 h 89"/>
                <a:gd name="T2" fmla="*/ 18 w 18"/>
                <a:gd name="T3" fmla="*/ 86 h 89"/>
                <a:gd name="T4" fmla="*/ 3 w 18"/>
                <a:gd name="T5" fmla="*/ 86 h 89"/>
                <a:gd name="T6" fmla="*/ 3 w 18"/>
                <a:gd name="T7" fmla="*/ 3 h 89"/>
                <a:gd name="T8" fmla="*/ 15 w 18"/>
                <a:gd name="T9" fmla="*/ 3 h 89"/>
                <a:gd name="T10" fmla="*/ 15 w 18"/>
                <a:gd name="T11" fmla="*/ 86 h 89"/>
                <a:gd name="T12" fmla="*/ 18 w 18"/>
                <a:gd name="T13" fmla="*/ 86 h 89"/>
                <a:gd name="T14" fmla="*/ 18 w 18"/>
                <a:gd name="T15" fmla="*/ 86 h 89"/>
                <a:gd name="T16" fmla="*/ 18 w 18"/>
                <a:gd name="T17" fmla="*/ 86 h 89"/>
                <a:gd name="T18" fmla="*/ 18 w 18"/>
                <a:gd name="T19" fmla="*/ 86 h 89"/>
                <a:gd name="T20" fmla="*/ 18 w 18"/>
                <a:gd name="T21" fmla="*/ 0 h 89"/>
                <a:gd name="T22" fmla="*/ 0 w 18"/>
                <a:gd name="T23" fmla="*/ 0 h 89"/>
                <a:gd name="T24" fmla="*/ 0 w 18"/>
                <a:gd name="T25" fmla="*/ 89 h 89"/>
                <a:gd name="T26" fmla="*/ 18 w 18"/>
                <a:gd name="T27" fmla="*/ 89 h 89"/>
                <a:gd name="T28" fmla="*/ 18 w 18"/>
                <a:gd name="T29" fmla="*/ 86 h 89"/>
                <a:gd name="T30" fmla="*/ 18 w 18"/>
                <a:gd name="T31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89">
                  <a:moveTo>
                    <a:pt x="18" y="86"/>
                  </a:moveTo>
                  <a:lnTo>
                    <a:pt x="18" y="86"/>
                  </a:lnTo>
                  <a:lnTo>
                    <a:pt x="3" y="86"/>
                  </a:lnTo>
                  <a:lnTo>
                    <a:pt x="3" y="3"/>
                  </a:lnTo>
                  <a:lnTo>
                    <a:pt x="15" y="3"/>
                  </a:lnTo>
                  <a:lnTo>
                    <a:pt x="15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18" y="89"/>
                  </a:lnTo>
                  <a:lnTo>
                    <a:pt x="18" y="86"/>
                  </a:lnTo>
                  <a:lnTo>
                    <a:pt x="18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8" name="Rectangle 327">
              <a:extLst>
                <a:ext uri="{FF2B5EF4-FFF2-40B4-BE49-F238E27FC236}">
                  <a16:creationId xmlns:a16="http://schemas.microsoft.com/office/drawing/2014/main" id="{D56B4803-8A72-4044-A0DE-67809AE47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92"/>
              <a:ext cx="17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9" name="Freeform 328">
              <a:extLst>
                <a:ext uri="{FF2B5EF4-FFF2-40B4-BE49-F238E27FC236}">
                  <a16:creationId xmlns:a16="http://schemas.microsoft.com/office/drawing/2014/main" id="{6B946CC3-80B1-44C6-BF57-42C73A785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5" y="2092"/>
              <a:ext cx="17" cy="89"/>
            </a:xfrm>
            <a:custGeom>
              <a:avLst/>
              <a:gdLst>
                <a:gd name="T0" fmla="*/ 17 w 17"/>
                <a:gd name="T1" fmla="*/ 86 h 89"/>
                <a:gd name="T2" fmla="*/ 17 w 17"/>
                <a:gd name="T3" fmla="*/ 86 h 89"/>
                <a:gd name="T4" fmla="*/ 2 w 17"/>
                <a:gd name="T5" fmla="*/ 86 h 89"/>
                <a:gd name="T6" fmla="*/ 2 w 17"/>
                <a:gd name="T7" fmla="*/ 3 h 89"/>
                <a:gd name="T8" fmla="*/ 15 w 17"/>
                <a:gd name="T9" fmla="*/ 3 h 89"/>
                <a:gd name="T10" fmla="*/ 15 w 17"/>
                <a:gd name="T11" fmla="*/ 86 h 89"/>
                <a:gd name="T12" fmla="*/ 17 w 17"/>
                <a:gd name="T13" fmla="*/ 86 h 89"/>
                <a:gd name="T14" fmla="*/ 17 w 17"/>
                <a:gd name="T15" fmla="*/ 86 h 89"/>
                <a:gd name="T16" fmla="*/ 17 w 17"/>
                <a:gd name="T17" fmla="*/ 86 h 89"/>
                <a:gd name="T18" fmla="*/ 17 w 17"/>
                <a:gd name="T19" fmla="*/ 86 h 89"/>
                <a:gd name="T20" fmla="*/ 17 w 17"/>
                <a:gd name="T21" fmla="*/ 0 h 89"/>
                <a:gd name="T22" fmla="*/ 0 w 17"/>
                <a:gd name="T23" fmla="*/ 0 h 89"/>
                <a:gd name="T24" fmla="*/ 0 w 17"/>
                <a:gd name="T25" fmla="*/ 89 h 89"/>
                <a:gd name="T26" fmla="*/ 17 w 17"/>
                <a:gd name="T27" fmla="*/ 89 h 89"/>
                <a:gd name="T28" fmla="*/ 17 w 17"/>
                <a:gd name="T29" fmla="*/ 86 h 89"/>
                <a:gd name="T30" fmla="*/ 17 w 17"/>
                <a:gd name="T31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89">
                  <a:moveTo>
                    <a:pt x="17" y="86"/>
                  </a:moveTo>
                  <a:lnTo>
                    <a:pt x="17" y="86"/>
                  </a:lnTo>
                  <a:lnTo>
                    <a:pt x="2" y="86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89"/>
                  </a:lnTo>
                  <a:lnTo>
                    <a:pt x="17" y="89"/>
                  </a:lnTo>
                  <a:lnTo>
                    <a:pt x="17" y="86"/>
                  </a:lnTo>
                  <a:lnTo>
                    <a:pt x="17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0" name="Rectangle 329">
              <a:extLst>
                <a:ext uri="{FF2B5EF4-FFF2-40B4-BE49-F238E27FC236}">
                  <a16:creationId xmlns:a16="http://schemas.microsoft.com/office/drawing/2014/main" id="{0A833085-8A59-4CDE-89B4-8002936AA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0" y="2095"/>
              <a:ext cx="188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1" name="Freeform 330">
              <a:extLst>
                <a:ext uri="{FF2B5EF4-FFF2-40B4-BE49-F238E27FC236}">
                  <a16:creationId xmlns:a16="http://schemas.microsoft.com/office/drawing/2014/main" id="{464E1632-7EAD-4893-AA54-01EA850C0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8" y="2092"/>
              <a:ext cx="192" cy="10"/>
            </a:xfrm>
            <a:custGeom>
              <a:avLst/>
              <a:gdLst>
                <a:gd name="T0" fmla="*/ 190 w 192"/>
                <a:gd name="T1" fmla="*/ 10 h 10"/>
                <a:gd name="T2" fmla="*/ 190 w 192"/>
                <a:gd name="T3" fmla="*/ 8 h 10"/>
                <a:gd name="T4" fmla="*/ 2 w 192"/>
                <a:gd name="T5" fmla="*/ 8 h 10"/>
                <a:gd name="T6" fmla="*/ 2 w 192"/>
                <a:gd name="T7" fmla="*/ 3 h 10"/>
                <a:gd name="T8" fmla="*/ 190 w 192"/>
                <a:gd name="T9" fmla="*/ 3 h 10"/>
                <a:gd name="T10" fmla="*/ 190 w 192"/>
                <a:gd name="T11" fmla="*/ 10 h 10"/>
                <a:gd name="T12" fmla="*/ 190 w 192"/>
                <a:gd name="T13" fmla="*/ 10 h 10"/>
                <a:gd name="T14" fmla="*/ 190 w 192"/>
                <a:gd name="T15" fmla="*/ 8 h 10"/>
                <a:gd name="T16" fmla="*/ 190 w 192"/>
                <a:gd name="T17" fmla="*/ 10 h 10"/>
                <a:gd name="T18" fmla="*/ 192 w 192"/>
                <a:gd name="T19" fmla="*/ 10 h 10"/>
                <a:gd name="T20" fmla="*/ 192 w 192"/>
                <a:gd name="T21" fmla="*/ 0 h 10"/>
                <a:gd name="T22" fmla="*/ 0 w 192"/>
                <a:gd name="T23" fmla="*/ 0 h 10"/>
                <a:gd name="T24" fmla="*/ 0 w 192"/>
                <a:gd name="T25" fmla="*/ 10 h 10"/>
                <a:gd name="T26" fmla="*/ 192 w 192"/>
                <a:gd name="T27" fmla="*/ 10 h 10"/>
                <a:gd name="T28" fmla="*/ 192 w 192"/>
                <a:gd name="T29" fmla="*/ 10 h 10"/>
                <a:gd name="T30" fmla="*/ 190 w 192"/>
                <a:gd name="T3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2" h="10">
                  <a:moveTo>
                    <a:pt x="190" y="10"/>
                  </a:moveTo>
                  <a:lnTo>
                    <a:pt x="190" y="8"/>
                  </a:lnTo>
                  <a:lnTo>
                    <a:pt x="2" y="8"/>
                  </a:lnTo>
                  <a:lnTo>
                    <a:pt x="2" y="3"/>
                  </a:lnTo>
                  <a:lnTo>
                    <a:pt x="190" y="3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92" y="10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92" y="10"/>
                  </a:lnTo>
                  <a:lnTo>
                    <a:pt x="192" y="10"/>
                  </a:lnTo>
                  <a:lnTo>
                    <a:pt x="190" y="1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2" name="Freeform 331">
              <a:extLst>
                <a:ext uri="{FF2B5EF4-FFF2-40B4-BE49-F238E27FC236}">
                  <a16:creationId xmlns:a16="http://schemas.microsoft.com/office/drawing/2014/main" id="{B97FF07D-FCD4-40D8-9FCA-00C00A06C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8" y="2037"/>
              <a:ext cx="212" cy="58"/>
            </a:xfrm>
            <a:custGeom>
              <a:avLst/>
              <a:gdLst>
                <a:gd name="T0" fmla="*/ 106 w 212"/>
                <a:gd name="T1" fmla="*/ 0 h 58"/>
                <a:gd name="T2" fmla="*/ 0 w 212"/>
                <a:gd name="T3" fmla="*/ 58 h 58"/>
                <a:gd name="T4" fmla="*/ 212 w 212"/>
                <a:gd name="T5" fmla="*/ 58 h 58"/>
                <a:gd name="T6" fmla="*/ 106 w 212"/>
                <a:gd name="T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2" h="58">
                  <a:moveTo>
                    <a:pt x="106" y="0"/>
                  </a:moveTo>
                  <a:lnTo>
                    <a:pt x="0" y="58"/>
                  </a:lnTo>
                  <a:lnTo>
                    <a:pt x="212" y="58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3" name="Freeform 332">
              <a:extLst>
                <a:ext uri="{FF2B5EF4-FFF2-40B4-BE49-F238E27FC236}">
                  <a16:creationId xmlns:a16="http://schemas.microsoft.com/office/drawing/2014/main" id="{3BAC31A2-760B-49D2-A9BB-DC003E10A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8" y="2034"/>
              <a:ext cx="212" cy="61"/>
            </a:xfrm>
            <a:custGeom>
              <a:avLst/>
              <a:gdLst>
                <a:gd name="T0" fmla="*/ 106 w 212"/>
                <a:gd name="T1" fmla="*/ 3 h 61"/>
                <a:gd name="T2" fmla="*/ 106 w 212"/>
                <a:gd name="T3" fmla="*/ 3 h 61"/>
                <a:gd name="T4" fmla="*/ 0 w 212"/>
                <a:gd name="T5" fmla="*/ 58 h 61"/>
                <a:gd name="T6" fmla="*/ 0 w 212"/>
                <a:gd name="T7" fmla="*/ 61 h 61"/>
                <a:gd name="T8" fmla="*/ 212 w 212"/>
                <a:gd name="T9" fmla="*/ 61 h 61"/>
                <a:gd name="T10" fmla="*/ 212 w 212"/>
                <a:gd name="T11" fmla="*/ 58 h 61"/>
                <a:gd name="T12" fmla="*/ 106 w 212"/>
                <a:gd name="T13" fmla="*/ 0 h 61"/>
                <a:gd name="T14" fmla="*/ 106 w 212"/>
                <a:gd name="T15" fmla="*/ 3 h 61"/>
                <a:gd name="T16" fmla="*/ 106 w 212"/>
                <a:gd name="T17" fmla="*/ 3 h 61"/>
                <a:gd name="T18" fmla="*/ 106 w 212"/>
                <a:gd name="T19" fmla="*/ 3 h 61"/>
                <a:gd name="T20" fmla="*/ 207 w 212"/>
                <a:gd name="T21" fmla="*/ 58 h 61"/>
                <a:gd name="T22" fmla="*/ 5 w 212"/>
                <a:gd name="T23" fmla="*/ 58 h 61"/>
                <a:gd name="T24" fmla="*/ 106 w 212"/>
                <a:gd name="T25" fmla="*/ 3 h 61"/>
                <a:gd name="T26" fmla="*/ 106 w 212"/>
                <a:gd name="T27" fmla="*/ 3 h 61"/>
                <a:gd name="T28" fmla="*/ 106 w 212"/>
                <a:gd name="T29" fmla="*/ 3 h 61"/>
                <a:gd name="T30" fmla="*/ 106 w 212"/>
                <a:gd name="T31" fmla="*/ 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2" h="61">
                  <a:moveTo>
                    <a:pt x="106" y="3"/>
                  </a:moveTo>
                  <a:lnTo>
                    <a:pt x="106" y="3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212" y="61"/>
                  </a:lnTo>
                  <a:lnTo>
                    <a:pt x="212" y="58"/>
                  </a:lnTo>
                  <a:lnTo>
                    <a:pt x="106" y="0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207" y="58"/>
                  </a:lnTo>
                  <a:lnTo>
                    <a:pt x="5" y="58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4" name="Freeform 333">
              <a:extLst>
                <a:ext uri="{FF2B5EF4-FFF2-40B4-BE49-F238E27FC236}">
                  <a16:creationId xmlns:a16="http://schemas.microsoft.com/office/drawing/2014/main" id="{8B38ED50-0DC2-4A25-B92F-68F78EA8B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2052"/>
              <a:ext cx="114" cy="30"/>
            </a:xfrm>
            <a:custGeom>
              <a:avLst/>
              <a:gdLst>
                <a:gd name="T0" fmla="*/ 56 w 114"/>
                <a:gd name="T1" fmla="*/ 0 h 30"/>
                <a:gd name="T2" fmla="*/ 0 w 114"/>
                <a:gd name="T3" fmla="*/ 30 h 30"/>
                <a:gd name="T4" fmla="*/ 114 w 114"/>
                <a:gd name="T5" fmla="*/ 30 h 30"/>
                <a:gd name="T6" fmla="*/ 56 w 114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30">
                  <a:moveTo>
                    <a:pt x="56" y="0"/>
                  </a:moveTo>
                  <a:lnTo>
                    <a:pt x="0" y="30"/>
                  </a:lnTo>
                  <a:lnTo>
                    <a:pt x="114" y="3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5" name="Freeform 334">
              <a:extLst>
                <a:ext uri="{FF2B5EF4-FFF2-40B4-BE49-F238E27FC236}">
                  <a16:creationId xmlns:a16="http://schemas.microsoft.com/office/drawing/2014/main" id="{B73E7E21-1D56-4E67-B448-4CC76BB35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" y="2052"/>
              <a:ext cx="116" cy="33"/>
            </a:xfrm>
            <a:custGeom>
              <a:avLst/>
              <a:gdLst>
                <a:gd name="T0" fmla="*/ 58 w 116"/>
                <a:gd name="T1" fmla="*/ 0 h 33"/>
                <a:gd name="T2" fmla="*/ 58 w 116"/>
                <a:gd name="T3" fmla="*/ 0 h 33"/>
                <a:gd name="T4" fmla="*/ 0 w 116"/>
                <a:gd name="T5" fmla="*/ 30 h 33"/>
                <a:gd name="T6" fmla="*/ 2 w 116"/>
                <a:gd name="T7" fmla="*/ 33 h 33"/>
                <a:gd name="T8" fmla="*/ 116 w 116"/>
                <a:gd name="T9" fmla="*/ 33 h 33"/>
                <a:gd name="T10" fmla="*/ 116 w 116"/>
                <a:gd name="T11" fmla="*/ 30 h 33"/>
                <a:gd name="T12" fmla="*/ 58 w 116"/>
                <a:gd name="T13" fmla="*/ 0 h 33"/>
                <a:gd name="T14" fmla="*/ 58 w 116"/>
                <a:gd name="T15" fmla="*/ 0 h 33"/>
                <a:gd name="T16" fmla="*/ 58 w 116"/>
                <a:gd name="T17" fmla="*/ 0 h 33"/>
                <a:gd name="T18" fmla="*/ 58 w 116"/>
                <a:gd name="T19" fmla="*/ 2 h 33"/>
                <a:gd name="T20" fmla="*/ 111 w 116"/>
                <a:gd name="T21" fmla="*/ 30 h 33"/>
                <a:gd name="T22" fmla="*/ 7 w 116"/>
                <a:gd name="T23" fmla="*/ 30 h 33"/>
                <a:gd name="T24" fmla="*/ 58 w 116"/>
                <a:gd name="T25" fmla="*/ 2 h 33"/>
                <a:gd name="T26" fmla="*/ 58 w 116"/>
                <a:gd name="T27" fmla="*/ 0 h 33"/>
                <a:gd name="T28" fmla="*/ 58 w 116"/>
                <a:gd name="T29" fmla="*/ 2 h 33"/>
                <a:gd name="T30" fmla="*/ 58 w 116"/>
                <a:gd name="T3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33">
                  <a:moveTo>
                    <a:pt x="58" y="0"/>
                  </a:moveTo>
                  <a:lnTo>
                    <a:pt x="58" y="0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116" y="33"/>
                  </a:lnTo>
                  <a:lnTo>
                    <a:pt x="116" y="3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111" y="30"/>
                  </a:lnTo>
                  <a:lnTo>
                    <a:pt x="7" y="30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6" name="Rectangle 335">
              <a:extLst>
                <a:ext uri="{FF2B5EF4-FFF2-40B4-BE49-F238E27FC236}">
                  <a16:creationId xmlns:a16="http://schemas.microsoft.com/office/drawing/2014/main" id="{8ACFA879-3C4D-4519-9F8A-9EB5DB046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4" y="1930"/>
              <a:ext cx="45" cy="1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7" name="Freeform 336">
              <a:extLst>
                <a:ext uri="{FF2B5EF4-FFF2-40B4-BE49-F238E27FC236}">
                  <a16:creationId xmlns:a16="http://schemas.microsoft.com/office/drawing/2014/main" id="{03900B08-7F3B-4367-8484-41FA948D0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" y="1930"/>
              <a:ext cx="51" cy="190"/>
            </a:xfrm>
            <a:custGeom>
              <a:avLst/>
              <a:gdLst>
                <a:gd name="T0" fmla="*/ 48 w 51"/>
                <a:gd name="T1" fmla="*/ 190 h 190"/>
                <a:gd name="T2" fmla="*/ 48 w 51"/>
                <a:gd name="T3" fmla="*/ 188 h 190"/>
                <a:gd name="T4" fmla="*/ 3 w 51"/>
                <a:gd name="T5" fmla="*/ 188 h 190"/>
                <a:gd name="T6" fmla="*/ 3 w 51"/>
                <a:gd name="T7" fmla="*/ 3 h 190"/>
                <a:gd name="T8" fmla="*/ 48 w 51"/>
                <a:gd name="T9" fmla="*/ 3 h 190"/>
                <a:gd name="T10" fmla="*/ 48 w 51"/>
                <a:gd name="T11" fmla="*/ 190 h 190"/>
                <a:gd name="T12" fmla="*/ 48 w 51"/>
                <a:gd name="T13" fmla="*/ 190 h 190"/>
                <a:gd name="T14" fmla="*/ 48 w 51"/>
                <a:gd name="T15" fmla="*/ 188 h 190"/>
                <a:gd name="T16" fmla="*/ 48 w 51"/>
                <a:gd name="T17" fmla="*/ 190 h 190"/>
                <a:gd name="T18" fmla="*/ 51 w 51"/>
                <a:gd name="T19" fmla="*/ 190 h 190"/>
                <a:gd name="T20" fmla="*/ 51 w 51"/>
                <a:gd name="T21" fmla="*/ 0 h 190"/>
                <a:gd name="T22" fmla="*/ 0 w 51"/>
                <a:gd name="T23" fmla="*/ 0 h 190"/>
                <a:gd name="T24" fmla="*/ 0 w 51"/>
                <a:gd name="T25" fmla="*/ 190 h 190"/>
                <a:gd name="T26" fmla="*/ 51 w 51"/>
                <a:gd name="T27" fmla="*/ 190 h 190"/>
                <a:gd name="T28" fmla="*/ 51 w 51"/>
                <a:gd name="T29" fmla="*/ 190 h 190"/>
                <a:gd name="T30" fmla="*/ 48 w 51"/>
                <a:gd name="T31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190">
                  <a:moveTo>
                    <a:pt x="48" y="190"/>
                  </a:moveTo>
                  <a:lnTo>
                    <a:pt x="48" y="188"/>
                  </a:lnTo>
                  <a:lnTo>
                    <a:pt x="3" y="188"/>
                  </a:lnTo>
                  <a:lnTo>
                    <a:pt x="3" y="3"/>
                  </a:lnTo>
                  <a:lnTo>
                    <a:pt x="48" y="3"/>
                  </a:lnTo>
                  <a:lnTo>
                    <a:pt x="48" y="190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48" y="190"/>
                  </a:lnTo>
                  <a:lnTo>
                    <a:pt x="51" y="190"/>
                  </a:lnTo>
                  <a:lnTo>
                    <a:pt x="51" y="0"/>
                  </a:lnTo>
                  <a:lnTo>
                    <a:pt x="0" y="0"/>
                  </a:lnTo>
                  <a:lnTo>
                    <a:pt x="0" y="190"/>
                  </a:lnTo>
                  <a:lnTo>
                    <a:pt x="51" y="190"/>
                  </a:lnTo>
                  <a:lnTo>
                    <a:pt x="51" y="190"/>
                  </a:lnTo>
                  <a:lnTo>
                    <a:pt x="48" y="19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8" name="Freeform 337">
              <a:extLst>
                <a:ext uri="{FF2B5EF4-FFF2-40B4-BE49-F238E27FC236}">
                  <a16:creationId xmlns:a16="http://schemas.microsoft.com/office/drawing/2014/main" id="{9C5D9B9D-AF99-4A61-AB25-89E36F74D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951"/>
              <a:ext cx="0" cy="177"/>
            </a:xfrm>
            <a:custGeom>
              <a:avLst/>
              <a:gdLst>
                <a:gd name="T0" fmla="*/ 0 h 177"/>
                <a:gd name="T1" fmla="*/ 177 h 177"/>
                <a:gd name="T2" fmla="*/ 0 h 1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7">
                  <a:moveTo>
                    <a:pt x="0" y="0"/>
                  </a:moveTo>
                  <a:lnTo>
                    <a:pt x="0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9" name="Line 338">
              <a:extLst>
                <a:ext uri="{FF2B5EF4-FFF2-40B4-BE49-F238E27FC236}">
                  <a16:creationId xmlns:a16="http://schemas.microsoft.com/office/drawing/2014/main" id="{A0001584-4C01-44BB-A284-41A46D7855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2" y="1951"/>
              <a:ext cx="0" cy="17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0" name="Rectangle 339">
              <a:extLst>
                <a:ext uri="{FF2B5EF4-FFF2-40B4-BE49-F238E27FC236}">
                  <a16:creationId xmlns:a16="http://schemas.microsoft.com/office/drawing/2014/main" id="{4274A9BE-EF21-441B-9518-BAD72DCC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2" y="1951"/>
              <a:ext cx="2" cy="17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1" name="Freeform 340">
              <a:extLst>
                <a:ext uri="{FF2B5EF4-FFF2-40B4-BE49-F238E27FC236}">
                  <a16:creationId xmlns:a16="http://schemas.microsoft.com/office/drawing/2014/main" id="{2F8FC6F2-AE1A-4A03-AC46-A851FE28A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951"/>
              <a:ext cx="2" cy="177"/>
            </a:xfrm>
            <a:custGeom>
              <a:avLst/>
              <a:gdLst>
                <a:gd name="T0" fmla="*/ 0 w 2"/>
                <a:gd name="T1" fmla="*/ 0 h 177"/>
                <a:gd name="T2" fmla="*/ 0 w 2"/>
                <a:gd name="T3" fmla="*/ 177 h 177"/>
                <a:gd name="T4" fmla="*/ 2 w 2"/>
                <a:gd name="T5" fmla="*/ 177 h 177"/>
                <a:gd name="T6" fmla="*/ 2 w 2"/>
                <a:gd name="T7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77">
                  <a:moveTo>
                    <a:pt x="0" y="0"/>
                  </a:moveTo>
                  <a:lnTo>
                    <a:pt x="0" y="177"/>
                  </a:lnTo>
                  <a:lnTo>
                    <a:pt x="2" y="177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2" name="Freeform 341">
              <a:extLst>
                <a:ext uri="{FF2B5EF4-FFF2-40B4-BE49-F238E27FC236}">
                  <a16:creationId xmlns:a16="http://schemas.microsoft.com/office/drawing/2014/main" id="{63442113-B41B-4D0D-BAEF-141DBA2B2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951"/>
              <a:ext cx="0" cy="177"/>
            </a:xfrm>
            <a:custGeom>
              <a:avLst/>
              <a:gdLst>
                <a:gd name="T0" fmla="*/ 0 h 177"/>
                <a:gd name="T1" fmla="*/ 177 h 177"/>
                <a:gd name="T2" fmla="*/ 0 h 1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7">
                  <a:moveTo>
                    <a:pt x="0" y="0"/>
                  </a:moveTo>
                  <a:lnTo>
                    <a:pt x="0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3" name="Line 342">
              <a:extLst>
                <a:ext uri="{FF2B5EF4-FFF2-40B4-BE49-F238E27FC236}">
                  <a16:creationId xmlns:a16="http://schemas.microsoft.com/office/drawing/2014/main" id="{CD596709-20B8-4D0A-8F2F-B6275C616B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2" y="1951"/>
              <a:ext cx="0" cy="17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4" name="Rectangle 343">
              <a:extLst>
                <a:ext uri="{FF2B5EF4-FFF2-40B4-BE49-F238E27FC236}">
                  <a16:creationId xmlns:a16="http://schemas.microsoft.com/office/drawing/2014/main" id="{836DD506-34BA-4536-82F3-B33C7A9012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2" y="1951"/>
              <a:ext cx="1" cy="17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5" name="Freeform 344">
              <a:extLst>
                <a:ext uri="{FF2B5EF4-FFF2-40B4-BE49-F238E27FC236}">
                  <a16:creationId xmlns:a16="http://schemas.microsoft.com/office/drawing/2014/main" id="{F7C0099F-E952-4EB5-96B3-52F8D74F3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951"/>
              <a:ext cx="0" cy="177"/>
            </a:xfrm>
            <a:custGeom>
              <a:avLst/>
              <a:gdLst>
                <a:gd name="T0" fmla="*/ 0 h 177"/>
                <a:gd name="T1" fmla="*/ 177 h 177"/>
                <a:gd name="T2" fmla="*/ 177 h 177"/>
                <a:gd name="T3" fmla="*/ 0 h 1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77">
                  <a:moveTo>
                    <a:pt x="0" y="0"/>
                  </a:moveTo>
                  <a:lnTo>
                    <a:pt x="0" y="177"/>
                  </a:lnTo>
                  <a:lnTo>
                    <a:pt x="0" y="17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6" name="Freeform 345">
              <a:extLst>
                <a:ext uri="{FF2B5EF4-FFF2-40B4-BE49-F238E27FC236}">
                  <a16:creationId xmlns:a16="http://schemas.microsoft.com/office/drawing/2014/main" id="{84FBFD0D-EB02-4F0D-B7ED-36E39B4F0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2" y="1951"/>
              <a:ext cx="0" cy="177"/>
            </a:xfrm>
            <a:custGeom>
              <a:avLst/>
              <a:gdLst>
                <a:gd name="T0" fmla="*/ 0 h 177"/>
                <a:gd name="T1" fmla="*/ 177 h 177"/>
                <a:gd name="T2" fmla="*/ 0 h 1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7">
                  <a:moveTo>
                    <a:pt x="0" y="0"/>
                  </a:moveTo>
                  <a:lnTo>
                    <a:pt x="0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7" name="Line 346">
              <a:extLst>
                <a:ext uri="{FF2B5EF4-FFF2-40B4-BE49-F238E27FC236}">
                  <a16:creationId xmlns:a16="http://schemas.microsoft.com/office/drawing/2014/main" id="{2F0CB452-CEB1-40B1-8BBD-3813C4A028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02" y="1951"/>
              <a:ext cx="0" cy="17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8" name="Rectangle 347">
              <a:extLst>
                <a:ext uri="{FF2B5EF4-FFF2-40B4-BE49-F238E27FC236}">
                  <a16:creationId xmlns:a16="http://schemas.microsoft.com/office/drawing/2014/main" id="{317BE6D7-5A44-47C3-B7F3-82BA7E3F2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9" y="1951"/>
              <a:ext cx="3" cy="17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9" name="Freeform 348">
              <a:extLst>
                <a:ext uri="{FF2B5EF4-FFF2-40B4-BE49-F238E27FC236}">
                  <a16:creationId xmlns:a16="http://schemas.microsoft.com/office/drawing/2014/main" id="{19753C33-F689-47C6-A26F-7CEBC5585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9" y="1951"/>
              <a:ext cx="3" cy="177"/>
            </a:xfrm>
            <a:custGeom>
              <a:avLst/>
              <a:gdLst>
                <a:gd name="T0" fmla="*/ 0 w 3"/>
                <a:gd name="T1" fmla="*/ 0 h 177"/>
                <a:gd name="T2" fmla="*/ 0 w 3"/>
                <a:gd name="T3" fmla="*/ 177 h 177"/>
                <a:gd name="T4" fmla="*/ 3 w 3"/>
                <a:gd name="T5" fmla="*/ 177 h 177"/>
                <a:gd name="T6" fmla="*/ 3 w 3"/>
                <a:gd name="T7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77">
                  <a:moveTo>
                    <a:pt x="0" y="0"/>
                  </a:moveTo>
                  <a:lnTo>
                    <a:pt x="0" y="177"/>
                  </a:lnTo>
                  <a:lnTo>
                    <a:pt x="3" y="17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0" name="Freeform 349">
              <a:extLst>
                <a:ext uri="{FF2B5EF4-FFF2-40B4-BE49-F238E27FC236}">
                  <a16:creationId xmlns:a16="http://schemas.microsoft.com/office/drawing/2014/main" id="{22EB19A7-7242-4AF8-B5B9-0497BC577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" y="1951"/>
              <a:ext cx="0" cy="177"/>
            </a:xfrm>
            <a:custGeom>
              <a:avLst/>
              <a:gdLst>
                <a:gd name="T0" fmla="*/ 0 h 177"/>
                <a:gd name="T1" fmla="*/ 177 h 177"/>
                <a:gd name="T2" fmla="*/ 0 h 1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7">
                  <a:moveTo>
                    <a:pt x="0" y="0"/>
                  </a:moveTo>
                  <a:lnTo>
                    <a:pt x="0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1" name="Line 350">
              <a:extLst>
                <a:ext uri="{FF2B5EF4-FFF2-40B4-BE49-F238E27FC236}">
                  <a16:creationId xmlns:a16="http://schemas.microsoft.com/office/drawing/2014/main" id="{6431ACE6-F18B-412E-B425-97B46F516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09" y="1951"/>
              <a:ext cx="0" cy="17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2" name="Rectangle 351">
              <a:extLst>
                <a:ext uri="{FF2B5EF4-FFF2-40B4-BE49-F238E27FC236}">
                  <a16:creationId xmlns:a16="http://schemas.microsoft.com/office/drawing/2014/main" id="{1372AF4B-2476-4A78-840D-CE1F76BA4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" y="1951"/>
              <a:ext cx="3" cy="17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3" name="Freeform 352">
              <a:extLst>
                <a:ext uri="{FF2B5EF4-FFF2-40B4-BE49-F238E27FC236}">
                  <a16:creationId xmlns:a16="http://schemas.microsoft.com/office/drawing/2014/main" id="{D8AA1736-3C27-4263-A71D-8CAAF67B3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" y="1951"/>
              <a:ext cx="3" cy="177"/>
            </a:xfrm>
            <a:custGeom>
              <a:avLst/>
              <a:gdLst>
                <a:gd name="T0" fmla="*/ 0 w 3"/>
                <a:gd name="T1" fmla="*/ 0 h 177"/>
                <a:gd name="T2" fmla="*/ 0 w 3"/>
                <a:gd name="T3" fmla="*/ 177 h 177"/>
                <a:gd name="T4" fmla="*/ 3 w 3"/>
                <a:gd name="T5" fmla="*/ 177 h 177"/>
                <a:gd name="T6" fmla="*/ 3 w 3"/>
                <a:gd name="T7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77">
                  <a:moveTo>
                    <a:pt x="0" y="0"/>
                  </a:moveTo>
                  <a:lnTo>
                    <a:pt x="0" y="177"/>
                  </a:lnTo>
                  <a:lnTo>
                    <a:pt x="3" y="17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4" name="Rectangle 353">
              <a:extLst>
                <a:ext uri="{FF2B5EF4-FFF2-40B4-BE49-F238E27FC236}">
                  <a16:creationId xmlns:a16="http://schemas.microsoft.com/office/drawing/2014/main" id="{2429F31A-52B0-4340-8CE5-C0AC4B9AA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5" y="1834"/>
              <a:ext cx="81" cy="34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5" name="Freeform 354">
              <a:extLst>
                <a:ext uri="{FF2B5EF4-FFF2-40B4-BE49-F238E27FC236}">
                  <a16:creationId xmlns:a16="http://schemas.microsoft.com/office/drawing/2014/main" id="{F10F073B-16D7-41D5-89C5-79E20F51E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1834"/>
              <a:ext cx="86" cy="347"/>
            </a:xfrm>
            <a:custGeom>
              <a:avLst/>
              <a:gdLst>
                <a:gd name="T0" fmla="*/ 83 w 86"/>
                <a:gd name="T1" fmla="*/ 347 h 347"/>
                <a:gd name="T2" fmla="*/ 83 w 86"/>
                <a:gd name="T3" fmla="*/ 344 h 347"/>
                <a:gd name="T4" fmla="*/ 2 w 86"/>
                <a:gd name="T5" fmla="*/ 344 h 347"/>
                <a:gd name="T6" fmla="*/ 2 w 86"/>
                <a:gd name="T7" fmla="*/ 3 h 347"/>
                <a:gd name="T8" fmla="*/ 83 w 86"/>
                <a:gd name="T9" fmla="*/ 3 h 347"/>
                <a:gd name="T10" fmla="*/ 83 w 86"/>
                <a:gd name="T11" fmla="*/ 347 h 347"/>
                <a:gd name="T12" fmla="*/ 83 w 86"/>
                <a:gd name="T13" fmla="*/ 347 h 347"/>
                <a:gd name="T14" fmla="*/ 83 w 86"/>
                <a:gd name="T15" fmla="*/ 344 h 347"/>
                <a:gd name="T16" fmla="*/ 83 w 86"/>
                <a:gd name="T17" fmla="*/ 347 h 347"/>
                <a:gd name="T18" fmla="*/ 86 w 86"/>
                <a:gd name="T19" fmla="*/ 347 h 347"/>
                <a:gd name="T20" fmla="*/ 86 w 86"/>
                <a:gd name="T21" fmla="*/ 0 h 347"/>
                <a:gd name="T22" fmla="*/ 0 w 86"/>
                <a:gd name="T23" fmla="*/ 0 h 347"/>
                <a:gd name="T24" fmla="*/ 0 w 86"/>
                <a:gd name="T25" fmla="*/ 347 h 347"/>
                <a:gd name="T26" fmla="*/ 86 w 86"/>
                <a:gd name="T27" fmla="*/ 347 h 347"/>
                <a:gd name="T28" fmla="*/ 86 w 86"/>
                <a:gd name="T29" fmla="*/ 347 h 347"/>
                <a:gd name="T30" fmla="*/ 83 w 86"/>
                <a:gd name="T31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" h="347">
                  <a:moveTo>
                    <a:pt x="83" y="347"/>
                  </a:moveTo>
                  <a:lnTo>
                    <a:pt x="83" y="344"/>
                  </a:lnTo>
                  <a:lnTo>
                    <a:pt x="2" y="344"/>
                  </a:lnTo>
                  <a:lnTo>
                    <a:pt x="2" y="3"/>
                  </a:lnTo>
                  <a:lnTo>
                    <a:pt x="83" y="3"/>
                  </a:lnTo>
                  <a:lnTo>
                    <a:pt x="83" y="347"/>
                  </a:lnTo>
                  <a:lnTo>
                    <a:pt x="83" y="347"/>
                  </a:lnTo>
                  <a:lnTo>
                    <a:pt x="83" y="344"/>
                  </a:lnTo>
                  <a:lnTo>
                    <a:pt x="83" y="347"/>
                  </a:lnTo>
                  <a:lnTo>
                    <a:pt x="86" y="347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347"/>
                  </a:lnTo>
                  <a:lnTo>
                    <a:pt x="86" y="347"/>
                  </a:lnTo>
                  <a:lnTo>
                    <a:pt x="86" y="347"/>
                  </a:lnTo>
                  <a:lnTo>
                    <a:pt x="83" y="34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6" name="Freeform 355">
              <a:extLst>
                <a:ext uri="{FF2B5EF4-FFF2-40B4-BE49-F238E27FC236}">
                  <a16:creationId xmlns:a16="http://schemas.microsoft.com/office/drawing/2014/main" id="{1242E68C-4D54-4AAC-9079-791983ABD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862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15 w 15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7" name="Freeform 356">
              <a:extLst>
                <a:ext uri="{FF2B5EF4-FFF2-40B4-BE49-F238E27FC236}">
                  <a16:creationId xmlns:a16="http://schemas.microsoft.com/office/drawing/2014/main" id="{E1FE68F9-3264-4A5A-9980-620E75FC4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862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8" name="Freeform 357">
              <a:extLst>
                <a:ext uri="{FF2B5EF4-FFF2-40B4-BE49-F238E27FC236}">
                  <a16:creationId xmlns:a16="http://schemas.microsoft.com/office/drawing/2014/main" id="{E85BAA05-8F56-442A-AA60-05251D608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862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3 w 15"/>
                <a:gd name="T7" fmla="*/ 33 h 33"/>
                <a:gd name="T8" fmla="*/ 3 w 15"/>
                <a:gd name="T9" fmla="*/ 3 h 33"/>
                <a:gd name="T10" fmla="*/ 15 w 15"/>
                <a:gd name="T11" fmla="*/ 3 h 33"/>
                <a:gd name="T12" fmla="*/ 15 w 15"/>
                <a:gd name="T13" fmla="*/ 0 h 33"/>
                <a:gd name="T14" fmla="*/ 15 w 1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3" y="33"/>
                  </a:lnTo>
                  <a:lnTo>
                    <a:pt x="3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9" name="Freeform 358">
              <a:extLst>
                <a:ext uri="{FF2B5EF4-FFF2-40B4-BE49-F238E27FC236}">
                  <a16:creationId xmlns:a16="http://schemas.microsoft.com/office/drawing/2014/main" id="{2C7AABD7-4FF5-473F-9915-5C1773039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2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  <a:gd name="T6" fmla="*/ 13 w 13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0" name="Freeform 359">
              <a:extLst>
                <a:ext uri="{FF2B5EF4-FFF2-40B4-BE49-F238E27FC236}">
                  <a16:creationId xmlns:a16="http://schemas.microsoft.com/office/drawing/2014/main" id="{B6E9BC78-2D70-421F-B000-AC7FEDDA9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2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1" name="Freeform 360">
              <a:extLst>
                <a:ext uri="{FF2B5EF4-FFF2-40B4-BE49-F238E27FC236}">
                  <a16:creationId xmlns:a16="http://schemas.microsoft.com/office/drawing/2014/main" id="{F86E4E3F-B956-4FCC-857D-3C57125E4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" y="1862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2 w 15"/>
                <a:gd name="T7" fmla="*/ 33 h 33"/>
                <a:gd name="T8" fmla="*/ 2 w 15"/>
                <a:gd name="T9" fmla="*/ 3 h 33"/>
                <a:gd name="T10" fmla="*/ 15 w 15"/>
                <a:gd name="T11" fmla="*/ 3 h 33"/>
                <a:gd name="T12" fmla="*/ 15 w 15"/>
                <a:gd name="T13" fmla="*/ 0 h 33"/>
                <a:gd name="T14" fmla="*/ 15 w 1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2" name="Freeform 361">
              <a:extLst>
                <a:ext uri="{FF2B5EF4-FFF2-40B4-BE49-F238E27FC236}">
                  <a16:creationId xmlns:a16="http://schemas.microsoft.com/office/drawing/2014/main" id="{F8F8F782-474C-4478-8DB5-35ED0399D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20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15 w 15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3" name="Freeform 362">
              <a:extLst>
                <a:ext uri="{FF2B5EF4-FFF2-40B4-BE49-F238E27FC236}">
                  <a16:creationId xmlns:a16="http://schemas.microsoft.com/office/drawing/2014/main" id="{AAE55F57-01AC-4FA2-80B6-16F2C0FD4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20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4" name="Freeform 363">
              <a:extLst>
                <a:ext uri="{FF2B5EF4-FFF2-40B4-BE49-F238E27FC236}">
                  <a16:creationId xmlns:a16="http://schemas.microsoft.com/office/drawing/2014/main" id="{B2A82268-7370-405F-95DA-A29E42385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18"/>
              <a:ext cx="15" cy="35"/>
            </a:xfrm>
            <a:custGeom>
              <a:avLst/>
              <a:gdLst>
                <a:gd name="T0" fmla="*/ 15 w 15"/>
                <a:gd name="T1" fmla="*/ 0 h 35"/>
                <a:gd name="T2" fmla="*/ 0 w 15"/>
                <a:gd name="T3" fmla="*/ 0 h 35"/>
                <a:gd name="T4" fmla="*/ 0 w 15"/>
                <a:gd name="T5" fmla="*/ 35 h 35"/>
                <a:gd name="T6" fmla="*/ 3 w 15"/>
                <a:gd name="T7" fmla="*/ 35 h 35"/>
                <a:gd name="T8" fmla="*/ 3 w 15"/>
                <a:gd name="T9" fmla="*/ 2 h 35"/>
                <a:gd name="T10" fmla="*/ 15 w 15"/>
                <a:gd name="T11" fmla="*/ 2 h 35"/>
                <a:gd name="T12" fmla="*/ 15 w 15"/>
                <a:gd name="T13" fmla="*/ 0 h 35"/>
                <a:gd name="T14" fmla="*/ 15 w 15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5" name="Freeform 364">
              <a:extLst>
                <a:ext uri="{FF2B5EF4-FFF2-40B4-BE49-F238E27FC236}">
                  <a16:creationId xmlns:a16="http://schemas.microsoft.com/office/drawing/2014/main" id="{21D24AB2-6502-4CBD-BBF8-13547ACBA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20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  <a:gd name="T6" fmla="*/ 13 w 13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6" name="Freeform 365">
              <a:extLst>
                <a:ext uri="{FF2B5EF4-FFF2-40B4-BE49-F238E27FC236}">
                  <a16:creationId xmlns:a16="http://schemas.microsoft.com/office/drawing/2014/main" id="{847867B5-FAEA-4F86-89AA-AD620F1D7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20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7" name="Freeform 366">
              <a:extLst>
                <a:ext uri="{FF2B5EF4-FFF2-40B4-BE49-F238E27FC236}">
                  <a16:creationId xmlns:a16="http://schemas.microsoft.com/office/drawing/2014/main" id="{EDF83916-F39E-4F28-8225-22E4430A3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" y="1918"/>
              <a:ext cx="15" cy="35"/>
            </a:xfrm>
            <a:custGeom>
              <a:avLst/>
              <a:gdLst>
                <a:gd name="T0" fmla="*/ 15 w 15"/>
                <a:gd name="T1" fmla="*/ 0 h 35"/>
                <a:gd name="T2" fmla="*/ 0 w 15"/>
                <a:gd name="T3" fmla="*/ 0 h 35"/>
                <a:gd name="T4" fmla="*/ 0 w 15"/>
                <a:gd name="T5" fmla="*/ 35 h 35"/>
                <a:gd name="T6" fmla="*/ 2 w 15"/>
                <a:gd name="T7" fmla="*/ 35 h 35"/>
                <a:gd name="T8" fmla="*/ 2 w 15"/>
                <a:gd name="T9" fmla="*/ 2 h 35"/>
                <a:gd name="T10" fmla="*/ 15 w 15"/>
                <a:gd name="T11" fmla="*/ 2 h 35"/>
                <a:gd name="T12" fmla="*/ 15 w 15"/>
                <a:gd name="T13" fmla="*/ 0 h 35"/>
                <a:gd name="T14" fmla="*/ 15 w 15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8" name="Freeform 367">
              <a:extLst>
                <a:ext uri="{FF2B5EF4-FFF2-40B4-BE49-F238E27FC236}">
                  <a16:creationId xmlns:a16="http://schemas.microsoft.com/office/drawing/2014/main" id="{F8AE1986-CA27-4B1A-BD74-B3B846750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79"/>
              <a:ext cx="15" cy="30"/>
            </a:xfrm>
            <a:custGeom>
              <a:avLst/>
              <a:gdLst>
                <a:gd name="T0" fmla="*/ 15 w 15"/>
                <a:gd name="T1" fmla="*/ 0 h 30"/>
                <a:gd name="T2" fmla="*/ 0 w 15"/>
                <a:gd name="T3" fmla="*/ 0 h 30"/>
                <a:gd name="T4" fmla="*/ 0 w 15"/>
                <a:gd name="T5" fmla="*/ 30 h 30"/>
                <a:gd name="T6" fmla="*/ 15 w 15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0">
                  <a:moveTo>
                    <a:pt x="15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9" name="Freeform 368">
              <a:extLst>
                <a:ext uri="{FF2B5EF4-FFF2-40B4-BE49-F238E27FC236}">
                  <a16:creationId xmlns:a16="http://schemas.microsoft.com/office/drawing/2014/main" id="{4D890AE0-53F3-402F-BA2F-A138F3ABA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79"/>
              <a:ext cx="15" cy="30"/>
            </a:xfrm>
            <a:custGeom>
              <a:avLst/>
              <a:gdLst>
                <a:gd name="T0" fmla="*/ 15 w 15"/>
                <a:gd name="T1" fmla="*/ 0 h 30"/>
                <a:gd name="T2" fmla="*/ 0 w 15"/>
                <a:gd name="T3" fmla="*/ 0 h 30"/>
                <a:gd name="T4" fmla="*/ 0 w 15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0">
                  <a:moveTo>
                    <a:pt x="15" y="0"/>
                  </a:moveTo>
                  <a:lnTo>
                    <a:pt x="0" y="0"/>
                  </a:lnTo>
                  <a:lnTo>
                    <a:pt x="0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0" name="Freeform 369">
              <a:extLst>
                <a:ext uri="{FF2B5EF4-FFF2-40B4-BE49-F238E27FC236}">
                  <a16:creationId xmlns:a16="http://schemas.microsoft.com/office/drawing/2014/main" id="{5C94C690-6E5E-48F3-99A3-276D186D8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1976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3 w 15"/>
                <a:gd name="T7" fmla="*/ 33 h 33"/>
                <a:gd name="T8" fmla="*/ 3 w 15"/>
                <a:gd name="T9" fmla="*/ 3 h 33"/>
                <a:gd name="T10" fmla="*/ 15 w 15"/>
                <a:gd name="T11" fmla="*/ 3 h 33"/>
                <a:gd name="T12" fmla="*/ 15 w 15"/>
                <a:gd name="T13" fmla="*/ 0 h 33"/>
                <a:gd name="T14" fmla="*/ 15 w 1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3" y="33"/>
                  </a:lnTo>
                  <a:lnTo>
                    <a:pt x="3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1" name="Freeform 370">
              <a:extLst>
                <a:ext uri="{FF2B5EF4-FFF2-40B4-BE49-F238E27FC236}">
                  <a16:creationId xmlns:a16="http://schemas.microsoft.com/office/drawing/2014/main" id="{CAAE99C1-0F95-4B8A-BA5E-22077E98F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9"/>
              <a:ext cx="13" cy="30"/>
            </a:xfrm>
            <a:custGeom>
              <a:avLst/>
              <a:gdLst>
                <a:gd name="T0" fmla="*/ 13 w 13"/>
                <a:gd name="T1" fmla="*/ 0 h 30"/>
                <a:gd name="T2" fmla="*/ 0 w 13"/>
                <a:gd name="T3" fmla="*/ 0 h 30"/>
                <a:gd name="T4" fmla="*/ 0 w 13"/>
                <a:gd name="T5" fmla="*/ 30 h 30"/>
                <a:gd name="T6" fmla="*/ 13 w 13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0">
                  <a:moveTo>
                    <a:pt x="13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2" name="Freeform 371">
              <a:extLst>
                <a:ext uri="{FF2B5EF4-FFF2-40B4-BE49-F238E27FC236}">
                  <a16:creationId xmlns:a16="http://schemas.microsoft.com/office/drawing/2014/main" id="{21FE312D-5EA6-4E7D-8CB2-27066C49E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9"/>
              <a:ext cx="13" cy="30"/>
            </a:xfrm>
            <a:custGeom>
              <a:avLst/>
              <a:gdLst>
                <a:gd name="T0" fmla="*/ 13 w 13"/>
                <a:gd name="T1" fmla="*/ 0 h 30"/>
                <a:gd name="T2" fmla="*/ 0 w 13"/>
                <a:gd name="T3" fmla="*/ 0 h 30"/>
                <a:gd name="T4" fmla="*/ 0 w 13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0"/>
                  </a:moveTo>
                  <a:lnTo>
                    <a:pt x="0" y="0"/>
                  </a:lnTo>
                  <a:lnTo>
                    <a:pt x="0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3" name="Freeform 372">
              <a:extLst>
                <a:ext uri="{FF2B5EF4-FFF2-40B4-BE49-F238E27FC236}">
                  <a16:creationId xmlns:a16="http://schemas.microsoft.com/office/drawing/2014/main" id="{B60BF16E-2035-4A52-8164-278470037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" y="1976"/>
              <a:ext cx="15" cy="33"/>
            </a:xfrm>
            <a:custGeom>
              <a:avLst/>
              <a:gdLst>
                <a:gd name="T0" fmla="*/ 15 w 15"/>
                <a:gd name="T1" fmla="*/ 0 h 33"/>
                <a:gd name="T2" fmla="*/ 0 w 15"/>
                <a:gd name="T3" fmla="*/ 0 h 33"/>
                <a:gd name="T4" fmla="*/ 0 w 15"/>
                <a:gd name="T5" fmla="*/ 33 h 33"/>
                <a:gd name="T6" fmla="*/ 2 w 15"/>
                <a:gd name="T7" fmla="*/ 33 h 33"/>
                <a:gd name="T8" fmla="*/ 2 w 15"/>
                <a:gd name="T9" fmla="*/ 3 h 33"/>
                <a:gd name="T10" fmla="*/ 15 w 15"/>
                <a:gd name="T11" fmla="*/ 3 h 33"/>
                <a:gd name="T12" fmla="*/ 15 w 15"/>
                <a:gd name="T13" fmla="*/ 0 h 33"/>
                <a:gd name="T14" fmla="*/ 15 w 1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1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4" name="Freeform 373">
              <a:extLst>
                <a:ext uri="{FF2B5EF4-FFF2-40B4-BE49-F238E27FC236}">
                  <a16:creationId xmlns:a16="http://schemas.microsoft.com/office/drawing/2014/main" id="{BC2F74B3-5AD8-4AD3-BFBF-98A38C966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2034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  <a:gd name="T6" fmla="*/ 13 w 13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5" name="Freeform 374">
              <a:extLst>
                <a:ext uri="{FF2B5EF4-FFF2-40B4-BE49-F238E27FC236}">
                  <a16:creationId xmlns:a16="http://schemas.microsoft.com/office/drawing/2014/main" id="{91F74B99-EA51-4D95-9E58-8BFA576CD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2034"/>
              <a:ext cx="13" cy="33"/>
            </a:xfrm>
            <a:custGeom>
              <a:avLst/>
              <a:gdLst>
                <a:gd name="T0" fmla="*/ 13 w 13"/>
                <a:gd name="T1" fmla="*/ 0 h 33"/>
                <a:gd name="T2" fmla="*/ 0 w 13"/>
                <a:gd name="T3" fmla="*/ 0 h 33"/>
                <a:gd name="T4" fmla="*/ 0 w 13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3">
                  <a:moveTo>
                    <a:pt x="13" y="0"/>
                  </a:move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6" name="Freeform 375">
              <a:extLst>
                <a:ext uri="{FF2B5EF4-FFF2-40B4-BE49-F238E27FC236}">
                  <a16:creationId xmlns:a16="http://schemas.microsoft.com/office/drawing/2014/main" id="{389E2CB1-4F66-408E-A665-49231D1E7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" y="2032"/>
              <a:ext cx="15" cy="35"/>
            </a:xfrm>
            <a:custGeom>
              <a:avLst/>
              <a:gdLst>
                <a:gd name="T0" fmla="*/ 15 w 15"/>
                <a:gd name="T1" fmla="*/ 0 h 35"/>
                <a:gd name="T2" fmla="*/ 0 w 15"/>
                <a:gd name="T3" fmla="*/ 0 h 35"/>
                <a:gd name="T4" fmla="*/ 0 w 15"/>
                <a:gd name="T5" fmla="*/ 35 h 35"/>
                <a:gd name="T6" fmla="*/ 2 w 15"/>
                <a:gd name="T7" fmla="*/ 35 h 35"/>
                <a:gd name="T8" fmla="*/ 2 w 15"/>
                <a:gd name="T9" fmla="*/ 2 h 35"/>
                <a:gd name="T10" fmla="*/ 15 w 15"/>
                <a:gd name="T11" fmla="*/ 2 h 35"/>
                <a:gd name="T12" fmla="*/ 15 w 15"/>
                <a:gd name="T13" fmla="*/ 0 h 35"/>
                <a:gd name="T14" fmla="*/ 15 w 15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7" name="Rectangle 376">
              <a:extLst>
                <a:ext uri="{FF2B5EF4-FFF2-40B4-BE49-F238E27FC236}">
                  <a16:creationId xmlns:a16="http://schemas.microsoft.com/office/drawing/2014/main" id="{85B0E407-7D5A-43C2-97DE-BE31BBCD94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5" y="1887"/>
              <a:ext cx="106" cy="29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8" name="Freeform 377">
              <a:extLst>
                <a:ext uri="{FF2B5EF4-FFF2-40B4-BE49-F238E27FC236}">
                  <a16:creationId xmlns:a16="http://schemas.microsoft.com/office/drawing/2014/main" id="{1140CB16-724F-4D83-B853-8B99A5F1C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1887"/>
              <a:ext cx="108" cy="294"/>
            </a:xfrm>
            <a:custGeom>
              <a:avLst/>
              <a:gdLst>
                <a:gd name="T0" fmla="*/ 106 w 108"/>
                <a:gd name="T1" fmla="*/ 294 h 294"/>
                <a:gd name="T2" fmla="*/ 106 w 108"/>
                <a:gd name="T3" fmla="*/ 291 h 294"/>
                <a:gd name="T4" fmla="*/ 2 w 108"/>
                <a:gd name="T5" fmla="*/ 291 h 294"/>
                <a:gd name="T6" fmla="*/ 2 w 108"/>
                <a:gd name="T7" fmla="*/ 0 h 294"/>
                <a:gd name="T8" fmla="*/ 106 w 108"/>
                <a:gd name="T9" fmla="*/ 0 h 294"/>
                <a:gd name="T10" fmla="*/ 106 w 108"/>
                <a:gd name="T11" fmla="*/ 294 h 294"/>
                <a:gd name="T12" fmla="*/ 106 w 108"/>
                <a:gd name="T13" fmla="*/ 294 h 294"/>
                <a:gd name="T14" fmla="*/ 106 w 108"/>
                <a:gd name="T15" fmla="*/ 291 h 294"/>
                <a:gd name="T16" fmla="*/ 106 w 108"/>
                <a:gd name="T17" fmla="*/ 294 h 294"/>
                <a:gd name="T18" fmla="*/ 108 w 108"/>
                <a:gd name="T19" fmla="*/ 294 h 294"/>
                <a:gd name="T20" fmla="*/ 108 w 108"/>
                <a:gd name="T21" fmla="*/ 0 h 294"/>
                <a:gd name="T22" fmla="*/ 0 w 108"/>
                <a:gd name="T23" fmla="*/ 0 h 294"/>
                <a:gd name="T24" fmla="*/ 0 w 108"/>
                <a:gd name="T25" fmla="*/ 294 h 294"/>
                <a:gd name="T26" fmla="*/ 108 w 108"/>
                <a:gd name="T27" fmla="*/ 294 h 294"/>
                <a:gd name="T28" fmla="*/ 108 w 108"/>
                <a:gd name="T29" fmla="*/ 294 h 294"/>
                <a:gd name="T30" fmla="*/ 106 w 108"/>
                <a:gd name="T31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294">
                  <a:moveTo>
                    <a:pt x="106" y="294"/>
                  </a:moveTo>
                  <a:lnTo>
                    <a:pt x="106" y="291"/>
                  </a:lnTo>
                  <a:lnTo>
                    <a:pt x="2" y="291"/>
                  </a:lnTo>
                  <a:lnTo>
                    <a:pt x="2" y="0"/>
                  </a:lnTo>
                  <a:lnTo>
                    <a:pt x="106" y="0"/>
                  </a:lnTo>
                  <a:lnTo>
                    <a:pt x="106" y="294"/>
                  </a:lnTo>
                  <a:lnTo>
                    <a:pt x="106" y="294"/>
                  </a:lnTo>
                  <a:lnTo>
                    <a:pt x="106" y="291"/>
                  </a:lnTo>
                  <a:lnTo>
                    <a:pt x="106" y="294"/>
                  </a:lnTo>
                  <a:lnTo>
                    <a:pt x="108" y="294"/>
                  </a:lnTo>
                  <a:lnTo>
                    <a:pt x="108" y="0"/>
                  </a:lnTo>
                  <a:lnTo>
                    <a:pt x="0" y="0"/>
                  </a:lnTo>
                  <a:lnTo>
                    <a:pt x="0" y="294"/>
                  </a:lnTo>
                  <a:lnTo>
                    <a:pt x="108" y="294"/>
                  </a:lnTo>
                  <a:lnTo>
                    <a:pt x="108" y="294"/>
                  </a:lnTo>
                  <a:lnTo>
                    <a:pt x="106" y="29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9" name="Rectangle 378">
              <a:extLst>
                <a:ext uri="{FF2B5EF4-FFF2-40B4-BE49-F238E27FC236}">
                  <a16:creationId xmlns:a16="http://schemas.microsoft.com/office/drawing/2014/main" id="{C1562AFA-AD94-42A2-9164-F30F0E347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5" y="2105"/>
              <a:ext cx="106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0" name="Freeform 379">
              <a:extLst>
                <a:ext uri="{FF2B5EF4-FFF2-40B4-BE49-F238E27FC236}">
                  <a16:creationId xmlns:a16="http://schemas.microsoft.com/office/drawing/2014/main" id="{7321D9FF-1A44-4817-8B94-81778CD7D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2105"/>
              <a:ext cx="106" cy="3"/>
            </a:xfrm>
            <a:custGeom>
              <a:avLst/>
              <a:gdLst>
                <a:gd name="T0" fmla="*/ 0 w 106"/>
                <a:gd name="T1" fmla="*/ 3 h 3"/>
                <a:gd name="T2" fmla="*/ 106 w 106"/>
                <a:gd name="T3" fmla="*/ 3 h 3"/>
                <a:gd name="T4" fmla="*/ 106 w 106"/>
                <a:gd name="T5" fmla="*/ 0 h 3"/>
                <a:gd name="T6" fmla="*/ 0 w 10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3">
                  <a:moveTo>
                    <a:pt x="0" y="3"/>
                  </a:moveTo>
                  <a:lnTo>
                    <a:pt x="106" y="3"/>
                  </a:lnTo>
                  <a:lnTo>
                    <a:pt x="10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1" name="Freeform 380">
              <a:extLst>
                <a:ext uri="{FF2B5EF4-FFF2-40B4-BE49-F238E27FC236}">
                  <a16:creationId xmlns:a16="http://schemas.microsoft.com/office/drawing/2014/main" id="{4CFB1341-D9A1-44F0-B0E9-3729FEF52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108"/>
              <a:ext cx="0" cy="68"/>
            </a:xfrm>
            <a:custGeom>
              <a:avLst/>
              <a:gdLst>
                <a:gd name="T0" fmla="*/ 0 h 68"/>
                <a:gd name="T1" fmla="*/ 68 h 68"/>
                <a:gd name="T2" fmla="*/ 0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2" name="Line 381">
              <a:extLst>
                <a:ext uri="{FF2B5EF4-FFF2-40B4-BE49-F238E27FC236}">
                  <a16:creationId xmlns:a16="http://schemas.microsoft.com/office/drawing/2014/main" id="{5A2F6540-FDDE-4893-BA4A-359BEEF79A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2" y="2108"/>
              <a:ext cx="0" cy="6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3" name="Rectangle 382">
              <a:extLst>
                <a:ext uri="{FF2B5EF4-FFF2-40B4-BE49-F238E27FC236}">
                  <a16:creationId xmlns:a16="http://schemas.microsoft.com/office/drawing/2014/main" id="{CE27532F-EE57-40DF-B529-1C775359D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0" y="2108"/>
              <a:ext cx="2" cy="6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4" name="Freeform 383">
              <a:extLst>
                <a:ext uri="{FF2B5EF4-FFF2-40B4-BE49-F238E27FC236}">
                  <a16:creationId xmlns:a16="http://schemas.microsoft.com/office/drawing/2014/main" id="{BDAFAB38-6BB2-44C4-A068-300D42EE3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2108"/>
              <a:ext cx="2" cy="68"/>
            </a:xfrm>
            <a:custGeom>
              <a:avLst/>
              <a:gdLst>
                <a:gd name="T0" fmla="*/ 0 w 2"/>
                <a:gd name="T1" fmla="*/ 0 h 68"/>
                <a:gd name="T2" fmla="*/ 0 w 2"/>
                <a:gd name="T3" fmla="*/ 68 h 68"/>
                <a:gd name="T4" fmla="*/ 2 w 2"/>
                <a:gd name="T5" fmla="*/ 68 h 68"/>
                <a:gd name="T6" fmla="*/ 2 w 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8">
                  <a:moveTo>
                    <a:pt x="0" y="0"/>
                  </a:moveTo>
                  <a:lnTo>
                    <a:pt x="0" y="68"/>
                  </a:lnTo>
                  <a:lnTo>
                    <a:pt x="2" y="6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5" name="Freeform 384">
              <a:extLst>
                <a:ext uri="{FF2B5EF4-FFF2-40B4-BE49-F238E27FC236}">
                  <a16:creationId xmlns:a16="http://schemas.microsoft.com/office/drawing/2014/main" id="{7E3AE52E-19DB-43A9-8454-9F1317D03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2108"/>
              <a:ext cx="0" cy="68"/>
            </a:xfrm>
            <a:custGeom>
              <a:avLst/>
              <a:gdLst>
                <a:gd name="T0" fmla="*/ 0 h 68"/>
                <a:gd name="T1" fmla="*/ 68 h 68"/>
                <a:gd name="T2" fmla="*/ 0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6" name="Line 385">
              <a:extLst>
                <a:ext uri="{FF2B5EF4-FFF2-40B4-BE49-F238E27FC236}">
                  <a16:creationId xmlns:a16="http://schemas.microsoft.com/office/drawing/2014/main" id="{553D1726-0E2D-4F3C-85C6-7EEACCD2A7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96" y="2108"/>
              <a:ext cx="0" cy="6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7" name="Rectangle 386">
              <a:extLst>
                <a:ext uri="{FF2B5EF4-FFF2-40B4-BE49-F238E27FC236}">
                  <a16:creationId xmlns:a16="http://schemas.microsoft.com/office/drawing/2014/main" id="{A044CCDA-2FA9-49E0-8001-EEB87D9A15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6" y="2108"/>
              <a:ext cx="2" cy="6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8" name="Freeform 387">
              <a:extLst>
                <a:ext uri="{FF2B5EF4-FFF2-40B4-BE49-F238E27FC236}">
                  <a16:creationId xmlns:a16="http://schemas.microsoft.com/office/drawing/2014/main" id="{D276A886-A801-4387-871C-EF05D10A2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2108"/>
              <a:ext cx="2" cy="68"/>
            </a:xfrm>
            <a:custGeom>
              <a:avLst/>
              <a:gdLst>
                <a:gd name="T0" fmla="*/ 0 w 2"/>
                <a:gd name="T1" fmla="*/ 0 h 68"/>
                <a:gd name="T2" fmla="*/ 0 w 2"/>
                <a:gd name="T3" fmla="*/ 68 h 68"/>
                <a:gd name="T4" fmla="*/ 2 w 2"/>
                <a:gd name="T5" fmla="*/ 68 h 68"/>
                <a:gd name="T6" fmla="*/ 2 w 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8">
                  <a:moveTo>
                    <a:pt x="0" y="0"/>
                  </a:moveTo>
                  <a:lnTo>
                    <a:pt x="0" y="68"/>
                  </a:lnTo>
                  <a:lnTo>
                    <a:pt x="2" y="6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9" name="Freeform 388">
              <a:extLst>
                <a:ext uri="{FF2B5EF4-FFF2-40B4-BE49-F238E27FC236}">
                  <a16:creationId xmlns:a16="http://schemas.microsoft.com/office/drawing/2014/main" id="{56BC124D-DCD0-46A1-987A-A742EE4C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" y="2108"/>
              <a:ext cx="0" cy="68"/>
            </a:xfrm>
            <a:custGeom>
              <a:avLst/>
              <a:gdLst>
                <a:gd name="T0" fmla="*/ 0 h 68"/>
                <a:gd name="T1" fmla="*/ 68 h 68"/>
                <a:gd name="T2" fmla="*/ 0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0" name="Line 389">
              <a:extLst>
                <a:ext uri="{FF2B5EF4-FFF2-40B4-BE49-F238E27FC236}">
                  <a16:creationId xmlns:a16="http://schemas.microsoft.com/office/drawing/2014/main" id="{ADB7DBA8-A7BB-4EEF-86DB-EF29E2367A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0" y="2108"/>
              <a:ext cx="0" cy="6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1" name="Rectangle 390">
              <a:extLst>
                <a:ext uri="{FF2B5EF4-FFF2-40B4-BE49-F238E27FC236}">
                  <a16:creationId xmlns:a16="http://schemas.microsoft.com/office/drawing/2014/main" id="{F424716F-952B-4705-8DC0-F208B9290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8" y="2108"/>
              <a:ext cx="2" cy="6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2" name="Freeform 391">
              <a:extLst>
                <a:ext uri="{FF2B5EF4-FFF2-40B4-BE49-F238E27FC236}">
                  <a16:creationId xmlns:a16="http://schemas.microsoft.com/office/drawing/2014/main" id="{1E002BCE-1088-4A31-9FC7-912751063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8" y="2108"/>
              <a:ext cx="2" cy="68"/>
            </a:xfrm>
            <a:custGeom>
              <a:avLst/>
              <a:gdLst>
                <a:gd name="T0" fmla="*/ 0 w 2"/>
                <a:gd name="T1" fmla="*/ 0 h 68"/>
                <a:gd name="T2" fmla="*/ 0 w 2"/>
                <a:gd name="T3" fmla="*/ 68 h 68"/>
                <a:gd name="T4" fmla="*/ 2 w 2"/>
                <a:gd name="T5" fmla="*/ 68 h 68"/>
                <a:gd name="T6" fmla="*/ 2 w 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8">
                  <a:moveTo>
                    <a:pt x="0" y="0"/>
                  </a:moveTo>
                  <a:lnTo>
                    <a:pt x="0" y="68"/>
                  </a:lnTo>
                  <a:lnTo>
                    <a:pt x="2" y="6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3" name="Freeform 392">
              <a:extLst>
                <a:ext uri="{FF2B5EF4-FFF2-40B4-BE49-F238E27FC236}">
                  <a16:creationId xmlns:a16="http://schemas.microsoft.com/office/drawing/2014/main" id="{249BE978-3478-445A-BAE2-0C3429109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2143"/>
              <a:ext cx="76" cy="0"/>
            </a:xfrm>
            <a:custGeom>
              <a:avLst/>
              <a:gdLst>
                <a:gd name="T0" fmla="*/ 0 w 76"/>
                <a:gd name="T1" fmla="*/ 76 w 76"/>
                <a:gd name="T2" fmla="*/ 0 w 7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6">
                  <a:moveTo>
                    <a:pt x="0" y="0"/>
                  </a:move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4" name="Line 393">
              <a:extLst>
                <a:ext uri="{FF2B5EF4-FFF2-40B4-BE49-F238E27FC236}">
                  <a16:creationId xmlns:a16="http://schemas.microsoft.com/office/drawing/2014/main" id="{CD085ACE-7296-48BA-B822-E0AA2C61B0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0" y="2143"/>
              <a:ext cx="76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5" name="Rectangle 394">
              <a:extLst>
                <a:ext uri="{FF2B5EF4-FFF2-40B4-BE49-F238E27FC236}">
                  <a16:creationId xmlns:a16="http://schemas.microsoft.com/office/drawing/2014/main" id="{EEAB4770-6D4D-4F8F-BEE4-1B97579EE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0" y="2143"/>
              <a:ext cx="76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6" name="Freeform 395">
              <a:extLst>
                <a:ext uri="{FF2B5EF4-FFF2-40B4-BE49-F238E27FC236}">
                  <a16:creationId xmlns:a16="http://schemas.microsoft.com/office/drawing/2014/main" id="{268838FC-2C41-454C-BB63-5A20BCEE5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2143"/>
              <a:ext cx="76" cy="2"/>
            </a:xfrm>
            <a:custGeom>
              <a:avLst/>
              <a:gdLst>
                <a:gd name="T0" fmla="*/ 0 w 76"/>
                <a:gd name="T1" fmla="*/ 2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2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7" name="Freeform 396">
              <a:extLst>
                <a:ext uri="{FF2B5EF4-FFF2-40B4-BE49-F238E27FC236}">
                  <a16:creationId xmlns:a16="http://schemas.microsoft.com/office/drawing/2014/main" id="{744FBC7E-FBD1-4364-ABC2-8CD1285A9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2143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8" name="Line 397">
              <a:extLst>
                <a:ext uri="{FF2B5EF4-FFF2-40B4-BE49-F238E27FC236}">
                  <a16:creationId xmlns:a16="http://schemas.microsoft.com/office/drawing/2014/main" id="{86069404-A145-471D-A231-2A6653F230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7" y="2143"/>
              <a:ext cx="0" cy="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9" name="Rectangle 398">
              <a:extLst>
                <a:ext uri="{FF2B5EF4-FFF2-40B4-BE49-F238E27FC236}">
                  <a16:creationId xmlns:a16="http://schemas.microsoft.com/office/drawing/2014/main" id="{CEB84425-63DE-4018-9285-24A8DDD6E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7" y="2143"/>
              <a:ext cx="3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0" name="Freeform 399">
              <a:extLst>
                <a:ext uri="{FF2B5EF4-FFF2-40B4-BE49-F238E27FC236}">
                  <a16:creationId xmlns:a16="http://schemas.microsoft.com/office/drawing/2014/main" id="{D3CB8E00-1D72-4AFD-BCAF-6FE3C857A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2143"/>
              <a:ext cx="3" cy="35"/>
            </a:xfrm>
            <a:custGeom>
              <a:avLst/>
              <a:gdLst>
                <a:gd name="T0" fmla="*/ 0 w 3"/>
                <a:gd name="T1" fmla="*/ 0 h 35"/>
                <a:gd name="T2" fmla="*/ 0 w 3"/>
                <a:gd name="T3" fmla="*/ 35 h 35"/>
                <a:gd name="T4" fmla="*/ 3 w 3"/>
                <a:gd name="T5" fmla="*/ 35 h 35"/>
                <a:gd name="T6" fmla="*/ 3 w 3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5">
                  <a:moveTo>
                    <a:pt x="0" y="0"/>
                  </a:moveTo>
                  <a:lnTo>
                    <a:pt x="0" y="35"/>
                  </a:lnTo>
                  <a:lnTo>
                    <a:pt x="3" y="35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1" name="Freeform 400">
              <a:extLst>
                <a:ext uri="{FF2B5EF4-FFF2-40B4-BE49-F238E27FC236}">
                  <a16:creationId xmlns:a16="http://schemas.microsoft.com/office/drawing/2014/main" id="{A5A15A72-2BC1-48A4-A7D5-417B8734C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43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2" name="Line 401">
              <a:extLst>
                <a:ext uri="{FF2B5EF4-FFF2-40B4-BE49-F238E27FC236}">
                  <a16:creationId xmlns:a16="http://schemas.microsoft.com/office/drawing/2014/main" id="{A92E7F3D-176E-4516-B2C8-AE874D68A9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2143"/>
              <a:ext cx="0" cy="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3" name="Rectangle 402">
              <a:extLst>
                <a:ext uri="{FF2B5EF4-FFF2-40B4-BE49-F238E27FC236}">
                  <a16:creationId xmlns:a16="http://schemas.microsoft.com/office/drawing/2014/main" id="{5BDD485A-0E2C-4DB3-9FD4-3CB7A5300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5" y="2143"/>
              <a:ext cx="3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4" name="Freeform 403">
              <a:extLst>
                <a:ext uri="{FF2B5EF4-FFF2-40B4-BE49-F238E27FC236}">
                  <a16:creationId xmlns:a16="http://schemas.microsoft.com/office/drawing/2014/main" id="{C67A2F80-D5DB-4797-AC6C-1D2512296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2143"/>
              <a:ext cx="3" cy="35"/>
            </a:xfrm>
            <a:custGeom>
              <a:avLst/>
              <a:gdLst>
                <a:gd name="T0" fmla="*/ 0 w 3"/>
                <a:gd name="T1" fmla="*/ 0 h 35"/>
                <a:gd name="T2" fmla="*/ 0 w 3"/>
                <a:gd name="T3" fmla="*/ 35 h 35"/>
                <a:gd name="T4" fmla="*/ 3 w 3"/>
                <a:gd name="T5" fmla="*/ 35 h 35"/>
                <a:gd name="T6" fmla="*/ 3 w 3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5">
                  <a:moveTo>
                    <a:pt x="0" y="0"/>
                  </a:moveTo>
                  <a:lnTo>
                    <a:pt x="0" y="35"/>
                  </a:lnTo>
                  <a:lnTo>
                    <a:pt x="3" y="35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5" name="Freeform 404">
              <a:extLst>
                <a:ext uri="{FF2B5EF4-FFF2-40B4-BE49-F238E27FC236}">
                  <a16:creationId xmlns:a16="http://schemas.microsoft.com/office/drawing/2014/main" id="{1239062C-68C4-4810-BC2F-85893A181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1961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13 w 1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6" name="Freeform 405">
              <a:extLst>
                <a:ext uri="{FF2B5EF4-FFF2-40B4-BE49-F238E27FC236}">
                  <a16:creationId xmlns:a16="http://schemas.microsoft.com/office/drawing/2014/main" id="{D917A605-4A45-4E9F-A34B-86891E1F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1961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34" name="Group 607">
            <a:extLst>
              <a:ext uri="{FF2B5EF4-FFF2-40B4-BE49-F238E27FC236}">
                <a16:creationId xmlns:a16="http://schemas.microsoft.com/office/drawing/2014/main" id="{A7C3082D-F3F5-49B2-BD53-303192D29527}"/>
              </a:ext>
            </a:extLst>
          </p:cNvPr>
          <p:cNvGrpSpPr>
            <a:grpSpLocks/>
          </p:cNvGrpSpPr>
          <p:nvPr/>
        </p:nvGrpSpPr>
        <p:grpSpPr bwMode="auto">
          <a:xfrm>
            <a:off x="156823" y="2951508"/>
            <a:ext cx="8394189" cy="1555785"/>
            <a:chOff x="718" y="1807"/>
            <a:chExt cx="3793" cy="703"/>
          </a:xfrm>
        </p:grpSpPr>
        <p:sp>
          <p:nvSpPr>
            <p:cNvPr id="1937" name="Freeform 407">
              <a:extLst>
                <a:ext uri="{FF2B5EF4-FFF2-40B4-BE49-F238E27FC236}">
                  <a16:creationId xmlns:a16="http://schemas.microsoft.com/office/drawing/2014/main" id="{30A3209E-8A10-4740-9C6B-D93D2867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1958"/>
              <a:ext cx="13" cy="31"/>
            </a:xfrm>
            <a:custGeom>
              <a:avLst/>
              <a:gdLst>
                <a:gd name="T0" fmla="*/ 13 w 13"/>
                <a:gd name="T1" fmla="*/ 0 h 31"/>
                <a:gd name="T2" fmla="*/ 0 w 13"/>
                <a:gd name="T3" fmla="*/ 0 h 31"/>
                <a:gd name="T4" fmla="*/ 0 w 13"/>
                <a:gd name="T5" fmla="*/ 31 h 31"/>
                <a:gd name="T6" fmla="*/ 3 w 13"/>
                <a:gd name="T7" fmla="*/ 31 h 31"/>
                <a:gd name="T8" fmla="*/ 3 w 13"/>
                <a:gd name="T9" fmla="*/ 3 h 31"/>
                <a:gd name="T10" fmla="*/ 13 w 13"/>
                <a:gd name="T11" fmla="*/ 3 h 31"/>
                <a:gd name="T12" fmla="*/ 13 w 13"/>
                <a:gd name="T13" fmla="*/ 0 h 31"/>
                <a:gd name="T14" fmla="*/ 13 w 13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1">
                  <a:moveTo>
                    <a:pt x="13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38" name="Freeform 408">
              <a:extLst>
                <a:ext uri="{FF2B5EF4-FFF2-40B4-BE49-F238E27FC236}">
                  <a16:creationId xmlns:a16="http://schemas.microsoft.com/office/drawing/2014/main" id="{F0094A69-6085-4DFB-92CA-697955246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1961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13 w 1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39" name="Freeform 409">
              <a:extLst>
                <a:ext uri="{FF2B5EF4-FFF2-40B4-BE49-F238E27FC236}">
                  <a16:creationId xmlns:a16="http://schemas.microsoft.com/office/drawing/2014/main" id="{E8FFDE63-B2C5-47D9-B1D5-3FD2401A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1961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0" name="Freeform 410">
              <a:extLst>
                <a:ext uri="{FF2B5EF4-FFF2-40B4-BE49-F238E27FC236}">
                  <a16:creationId xmlns:a16="http://schemas.microsoft.com/office/drawing/2014/main" id="{25BADEB9-8F0E-4E87-87DB-921189BE0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958"/>
              <a:ext cx="15" cy="31"/>
            </a:xfrm>
            <a:custGeom>
              <a:avLst/>
              <a:gdLst>
                <a:gd name="T0" fmla="*/ 15 w 15"/>
                <a:gd name="T1" fmla="*/ 0 h 31"/>
                <a:gd name="T2" fmla="*/ 0 w 15"/>
                <a:gd name="T3" fmla="*/ 0 h 31"/>
                <a:gd name="T4" fmla="*/ 0 w 15"/>
                <a:gd name="T5" fmla="*/ 31 h 31"/>
                <a:gd name="T6" fmla="*/ 2 w 15"/>
                <a:gd name="T7" fmla="*/ 31 h 31"/>
                <a:gd name="T8" fmla="*/ 2 w 15"/>
                <a:gd name="T9" fmla="*/ 3 h 31"/>
                <a:gd name="T10" fmla="*/ 15 w 15"/>
                <a:gd name="T11" fmla="*/ 3 h 31"/>
                <a:gd name="T12" fmla="*/ 15 w 15"/>
                <a:gd name="T13" fmla="*/ 0 h 31"/>
                <a:gd name="T14" fmla="*/ 15 w 15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1" name="Freeform 411">
              <a:extLst>
                <a:ext uri="{FF2B5EF4-FFF2-40B4-BE49-F238E27FC236}">
                  <a16:creationId xmlns:a16="http://schemas.microsoft.com/office/drawing/2014/main" id="{B5A10B64-A172-47D7-96D3-404939E92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961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2" name="Freeform 412">
              <a:extLst>
                <a:ext uri="{FF2B5EF4-FFF2-40B4-BE49-F238E27FC236}">
                  <a16:creationId xmlns:a16="http://schemas.microsoft.com/office/drawing/2014/main" id="{B7199ED4-7A09-424C-AB6B-3F3EECC96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961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3" name="Freeform 413">
              <a:extLst>
                <a:ext uri="{FF2B5EF4-FFF2-40B4-BE49-F238E27FC236}">
                  <a16:creationId xmlns:a16="http://schemas.microsoft.com/office/drawing/2014/main" id="{563B4FB9-63A2-4BF4-A37B-AFDED7D0B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1958"/>
              <a:ext cx="13" cy="31"/>
            </a:xfrm>
            <a:custGeom>
              <a:avLst/>
              <a:gdLst>
                <a:gd name="T0" fmla="*/ 13 w 13"/>
                <a:gd name="T1" fmla="*/ 0 h 31"/>
                <a:gd name="T2" fmla="*/ 0 w 13"/>
                <a:gd name="T3" fmla="*/ 0 h 31"/>
                <a:gd name="T4" fmla="*/ 0 w 13"/>
                <a:gd name="T5" fmla="*/ 31 h 31"/>
                <a:gd name="T6" fmla="*/ 3 w 13"/>
                <a:gd name="T7" fmla="*/ 31 h 31"/>
                <a:gd name="T8" fmla="*/ 3 w 13"/>
                <a:gd name="T9" fmla="*/ 3 h 31"/>
                <a:gd name="T10" fmla="*/ 13 w 13"/>
                <a:gd name="T11" fmla="*/ 3 h 31"/>
                <a:gd name="T12" fmla="*/ 13 w 13"/>
                <a:gd name="T13" fmla="*/ 0 h 31"/>
                <a:gd name="T14" fmla="*/ 13 w 13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1">
                  <a:moveTo>
                    <a:pt x="13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4" name="Freeform 414">
              <a:extLst>
                <a:ext uri="{FF2B5EF4-FFF2-40B4-BE49-F238E27FC236}">
                  <a16:creationId xmlns:a16="http://schemas.microsoft.com/office/drawing/2014/main" id="{306CB9BC-4C11-4957-8692-645F221AE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09"/>
              <a:ext cx="0" cy="28"/>
            </a:xfrm>
            <a:custGeom>
              <a:avLst/>
              <a:gdLst>
                <a:gd name="T0" fmla="*/ 0 h 28"/>
                <a:gd name="T1" fmla="*/ 28 h 28"/>
                <a:gd name="T2" fmla="*/ 0 h 2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8">
                  <a:moveTo>
                    <a:pt x="0" y="0"/>
                  </a:move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5" name="Line 415">
              <a:extLst>
                <a:ext uri="{FF2B5EF4-FFF2-40B4-BE49-F238E27FC236}">
                  <a16:creationId xmlns:a16="http://schemas.microsoft.com/office/drawing/2014/main" id="{43877FE3-DF95-4C26-AFB6-B4B9CA1539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2" y="2009"/>
              <a:ext cx="0" cy="2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6" name="Rectangle 416">
              <a:extLst>
                <a:ext uri="{FF2B5EF4-FFF2-40B4-BE49-F238E27FC236}">
                  <a16:creationId xmlns:a16="http://schemas.microsoft.com/office/drawing/2014/main" id="{F5304EBB-6AE3-4DB4-9A01-414FB261F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2009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7" name="Freeform 417">
              <a:extLst>
                <a:ext uri="{FF2B5EF4-FFF2-40B4-BE49-F238E27FC236}">
                  <a16:creationId xmlns:a16="http://schemas.microsoft.com/office/drawing/2014/main" id="{358521EF-5D19-48DB-816D-30A0388CD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09"/>
              <a:ext cx="3" cy="28"/>
            </a:xfrm>
            <a:custGeom>
              <a:avLst/>
              <a:gdLst>
                <a:gd name="T0" fmla="*/ 0 w 3"/>
                <a:gd name="T1" fmla="*/ 0 h 28"/>
                <a:gd name="T2" fmla="*/ 0 w 3"/>
                <a:gd name="T3" fmla="*/ 28 h 28"/>
                <a:gd name="T4" fmla="*/ 3 w 3"/>
                <a:gd name="T5" fmla="*/ 28 h 28"/>
                <a:gd name="T6" fmla="*/ 3 w 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0" y="0"/>
                  </a:moveTo>
                  <a:lnTo>
                    <a:pt x="0" y="28"/>
                  </a:lnTo>
                  <a:lnTo>
                    <a:pt x="3" y="2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8" name="Freeform 418">
              <a:extLst>
                <a:ext uri="{FF2B5EF4-FFF2-40B4-BE49-F238E27FC236}">
                  <a16:creationId xmlns:a16="http://schemas.microsoft.com/office/drawing/2014/main" id="{F87B0AF5-9075-4BAD-ABF3-EE92422A5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09"/>
              <a:ext cx="13" cy="0"/>
            </a:xfrm>
            <a:custGeom>
              <a:avLst/>
              <a:gdLst>
                <a:gd name="T0" fmla="*/ 13 w 13"/>
                <a:gd name="T1" fmla="*/ 0 w 13"/>
                <a:gd name="T2" fmla="*/ 13 w 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3">
                  <a:moveTo>
                    <a:pt x="13" y="0"/>
                  </a:moveTo>
                  <a:lnTo>
                    <a:pt x="0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9" name="Line 419">
              <a:extLst>
                <a:ext uri="{FF2B5EF4-FFF2-40B4-BE49-F238E27FC236}">
                  <a16:creationId xmlns:a16="http://schemas.microsoft.com/office/drawing/2014/main" id="{A4B986F8-5686-462B-8CB5-F8C5A48E31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22" y="2009"/>
              <a:ext cx="13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0" name="Rectangle 420">
              <a:extLst>
                <a:ext uri="{FF2B5EF4-FFF2-40B4-BE49-F238E27FC236}">
                  <a16:creationId xmlns:a16="http://schemas.microsoft.com/office/drawing/2014/main" id="{7EF1E4F3-7DD4-4801-ABA3-C1C0C1D83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2006"/>
              <a:ext cx="13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1" name="Freeform 421">
              <a:extLst>
                <a:ext uri="{FF2B5EF4-FFF2-40B4-BE49-F238E27FC236}">
                  <a16:creationId xmlns:a16="http://schemas.microsoft.com/office/drawing/2014/main" id="{98F669B5-2A57-4D0B-8FBE-BE615AF85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06"/>
              <a:ext cx="13" cy="3"/>
            </a:xfrm>
            <a:custGeom>
              <a:avLst/>
              <a:gdLst>
                <a:gd name="T0" fmla="*/ 13 w 13"/>
                <a:gd name="T1" fmla="*/ 0 h 3"/>
                <a:gd name="T2" fmla="*/ 0 w 13"/>
                <a:gd name="T3" fmla="*/ 0 h 3"/>
                <a:gd name="T4" fmla="*/ 0 w 13"/>
                <a:gd name="T5" fmla="*/ 3 h 3"/>
                <a:gd name="T6" fmla="*/ 13 w 1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">
                  <a:moveTo>
                    <a:pt x="1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3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2" name="Freeform 422">
              <a:extLst>
                <a:ext uri="{FF2B5EF4-FFF2-40B4-BE49-F238E27FC236}">
                  <a16:creationId xmlns:a16="http://schemas.microsoft.com/office/drawing/2014/main" id="{2DC65D48-378C-4E20-BA9E-0F84770DD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2009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13 w 1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3" name="Freeform 423">
              <a:extLst>
                <a:ext uri="{FF2B5EF4-FFF2-40B4-BE49-F238E27FC236}">
                  <a16:creationId xmlns:a16="http://schemas.microsoft.com/office/drawing/2014/main" id="{976624F1-0804-4D04-B29E-56E34C7E0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2009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4" name="Freeform 424">
              <a:extLst>
                <a:ext uri="{FF2B5EF4-FFF2-40B4-BE49-F238E27FC236}">
                  <a16:creationId xmlns:a16="http://schemas.microsoft.com/office/drawing/2014/main" id="{86C65A3B-8D50-4EEE-AE0D-464713FC9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2006"/>
              <a:ext cx="15" cy="31"/>
            </a:xfrm>
            <a:custGeom>
              <a:avLst/>
              <a:gdLst>
                <a:gd name="T0" fmla="*/ 15 w 15"/>
                <a:gd name="T1" fmla="*/ 0 h 31"/>
                <a:gd name="T2" fmla="*/ 0 w 15"/>
                <a:gd name="T3" fmla="*/ 0 h 31"/>
                <a:gd name="T4" fmla="*/ 0 w 15"/>
                <a:gd name="T5" fmla="*/ 31 h 31"/>
                <a:gd name="T6" fmla="*/ 2 w 15"/>
                <a:gd name="T7" fmla="*/ 31 h 31"/>
                <a:gd name="T8" fmla="*/ 2 w 15"/>
                <a:gd name="T9" fmla="*/ 3 h 31"/>
                <a:gd name="T10" fmla="*/ 15 w 15"/>
                <a:gd name="T11" fmla="*/ 3 h 31"/>
                <a:gd name="T12" fmla="*/ 15 w 15"/>
                <a:gd name="T13" fmla="*/ 0 h 31"/>
                <a:gd name="T14" fmla="*/ 15 w 15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5" name="Freeform 425">
              <a:extLst>
                <a:ext uri="{FF2B5EF4-FFF2-40B4-BE49-F238E27FC236}">
                  <a16:creationId xmlns:a16="http://schemas.microsoft.com/office/drawing/2014/main" id="{8088A930-F855-406F-952F-59BB86D17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009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6" name="Freeform 426">
              <a:extLst>
                <a:ext uri="{FF2B5EF4-FFF2-40B4-BE49-F238E27FC236}">
                  <a16:creationId xmlns:a16="http://schemas.microsoft.com/office/drawing/2014/main" id="{2D4B7BEE-228E-49DC-AF31-3804728F7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009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7" name="Freeform 427">
              <a:extLst>
                <a:ext uri="{FF2B5EF4-FFF2-40B4-BE49-F238E27FC236}">
                  <a16:creationId xmlns:a16="http://schemas.microsoft.com/office/drawing/2014/main" id="{FEDC698B-E0F6-4FBE-8CCD-FDE2BE2C0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2006"/>
              <a:ext cx="13" cy="31"/>
            </a:xfrm>
            <a:custGeom>
              <a:avLst/>
              <a:gdLst>
                <a:gd name="T0" fmla="*/ 13 w 13"/>
                <a:gd name="T1" fmla="*/ 0 h 31"/>
                <a:gd name="T2" fmla="*/ 0 w 13"/>
                <a:gd name="T3" fmla="*/ 0 h 31"/>
                <a:gd name="T4" fmla="*/ 0 w 13"/>
                <a:gd name="T5" fmla="*/ 31 h 31"/>
                <a:gd name="T6" fmla="*/ 3 w 13"/>
                <a:gd name="T7" fmla="*/ 31 h 31"/>
                <a:gd name="T8" fmla="*/ 3 w 13"/>
                <a:gd name="T9" fmla="*/ 3 h 31"/>
                <a:gd name="T10" fmla="*/ 13 w 13"/>
                <a:gd name="T11" fmla="*/ 3 h 31"/>
                <a:gd name="T12" fmla="*/ 13 w 13"/>
                <a:gd name="T13" fmla="*/ 0 h 31"/>
                <a:gd name="T14" fmla="*/ 13 w 13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1">
                  <a:moveTo>
                    <a:pt x="13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8" name="Freeform 428">
              <a:extLst>
                <a:ext uri="{FF2B5EF4-FFF2-40B4-BE49-F238E27FC236}">
                  <a16:creationId xmlns:a16="http://schemas.microsoft.com/office/drawing/2014/main" id="{2D8665B9-D97F-4700-A2B6-AC4A6FF74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57"/>
              <a:ext cx="0" cy="28"/>
            </a:xfrm>
            <a:custGeom>
              <a:avLst/>
              <a:gdLst>
                <a:gd name="T0" fmla="*/ 0 h 28"/>
                <a:gd name="T1" fmla="*/ 28 h 28"/>
                <a:gd name="T2" fmla="*/ 0 h 2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8">
                  <a:moveTo>
                    <a:pt x="0" y="0"/>
                  </a:move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9" name="Line 429">
              <a:extLst>
                <a:ext uri="{FF2B5EF4-FFF2-40B4-BE49-F238E27FC236}">
                  <a16:creationId xmlns:a16="http://schemas.microsoft.com/office/drawing/2014/main" id="{6616D67A-75CC-4135-B560-2FD2B378C2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2" y="2057"/>
              <a:ext cx="0" cy="2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0" name="Rectangle 430">
              <a:extLst>
                <a:ext uri="{FF2B5EF4-FFF2-40B4-BE49-F238E27FC236}">
                  <a16:creationId xmlns:a16="http://schemas.microsoft.com/office/drawing/2014/main" id="{D0C014AC-CBFF-4CA8-AA46-BD387B76F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2057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1" name="Freeform 431">
              <a:extLst>
                <a:ext uri="{FF2B5EF4-FFF2-40B4-BE49-F238E27FC236}">
                  <a16:creationId xmlns:a16="http://schemas.microsoft.com/office/drawing/2014/main" id="{0D9B3E7A-2A35-42F7-AD48-1AA36DE42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57"/>
              <a:ext cx="3" cy="28"/>
            </a:xfrm>
            <a:custGeom>
              <a:avLst/>
              <a:gdLst>
                <a:gd name="T0" fmla="*/ 0 w 3"/>
                <a:gd name="T1" fmla="*/ 0 h 28"/>
                <a:gd name="T2" fmla="*/ 0 w 3"/>
                <a:gd name="T3" fmla="*/ 28 h 28"/>
                <a:gd name="T4" fmla="*/ 3 w 3"/>
                <a:gd name="T5" fmla="*/ 28 h 28"/>
                <a:gd name="T6" fmla="*/ 3 w 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0" y="0"/>
                  </a:moveTo>
                  <a:lnTo>
                    <a:pt x="0" y="28"/>
                  </a:lnTo>
                  <a:lnTo>
                    <a:pt x="3" y="2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2" name="Freeform 432">
              <a:extLst>
                <a:ext uri="{FF2B5EF4-FFF2-40B4-BE49-F238E27FC236}">
                  <a16:creationId xmlns:a16="http://schemas.microsoft.com/office/drawing/2014/main" id="{047E2932-032F-45E7-8B4E-B5C64522A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57"/>
              <a:ext cx="13" cy="0"/>
            </a:xfrm>
            <a:custGeom>
              <a:avLst/>
              <a:gdLst>
                <a:gd name="T0" fmla="*/ 13 w 13"/>
                <a:gd name="T1" fmla="*/ 0 w 13"/>
                <a:gd name="T2" fmla="*/ 13 w 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3">
                  <a:moveTo>
                    <a:pt x="13" y="0"/>
                  </a:moveTo>
                  <a:lnTo>
                    <a:pt x="0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3" name="Line 433">
              <a:extLst>
                <a:ext uri="{FF2B5EF4-FFF2-40B4-BE49-F238E27FC236}">
                  <a16:creationId xmlns:a16="http://schemas.microsoft.com/office/drawing/2014/main" id="{B21758CD-D40A-4304-95AD-FFD663478A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22" y="2057"/>
              <a:ext cx="13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4" name="Rectangle 434">
              <a:extLst>
                <a:ext uri="{FF2B5EF4-FFF2-40B4-BE49-F238E27FC236}">
                  <a16:creationId xmlns:a16="http://schemas.microsoft.com/office/drawing/2014/main" id="{A0A3D2EB-7981-4AA4-83E2-88A97124D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2057"/>
              <a:ext cx="1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5" name="Freeform 435">
              <a:extLst>
                <a:ext uri="{FF2B5EF4-FFF2-40B4-BE49-F238E27FC236}">
                  <a16:creationId xmlns:a16="http://schemas.microsoft.com/office/drawing/2014/main" id="{33CDEDEE-37E6-4A87-984A-F3513072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057"/>
              <a:ext cx="13" cy="2"/>
            </a:xfrm>
            <a:custGeom>
              <a:avLst/>
              <a:gdLst>
                <a:gd name="T0" fmla="*/ 13 w 13"/>
                <a:gd name="T1" fmla="*/ 0 h 2"/>
                <a:gd name="T2" fmla="*/ 0 w 13"/>
                <a:gd name="T3" fmla="*/ 0 h 2"/>
                <a:gd name="T4" fmla="*/ 0 w 13"/>
                <a:gd name="T5" fmla="*/ 2 h 2"/>
                <a:gd name="T6" fmla="*/ 13 w 1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">
                  <a:moveTo>
                    <a:pt x="1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3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6" name="Freeform 436">
              <a:extLst>
                <a:ext uri="{FF2B5EF4-FFF2-40B4-BE49-F238E27FC236}">
                  <a16:creationId xmlns:a16="http://schemas.microsoft.com/office/drawing/2014/main" id="{BE2F9D11-87A7-4385-8E98-DE6983B9E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2057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13 w 13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7" name="Freeform 437">
              <a:extLst>
                <a:ext uri="{FF2B5EF4-FFF2-40B4-BE49-F238E27FC236}">
                  <a16:creationId xmlns:a16="http://schemas.microsoft.com/office/drawing/2014/main" id="{D9D80B67-2CB7-4964-B80A-A39977385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2057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8" name="Freeform 438">
              <a:extLst>
                <a:ext uri="{FF2B5EF4-FFF2-40B4-BE49-F238E27FC236}">
                  <a16:creationId xmlns:a16="http://schemas.microsoft.com/office/drawing/2014/main" id="{C9D4C864-C436-4161-9C46-B550ACB18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2057"/>
              <a:ext cx="15" cy="28"/>
            </a:xfrm>
            <a:custGeom>
              <a:avLst/>
              <a:gdLst>
                <a:gd name="T0" fmla="*/ 15 w 15"/>
                <a:gd name="T1" fmla="*/ 0 h 28"/>
                <a:gd name="T2" fmla="*/ 0 w 15"/>
                <a:gd name="T3" fmla="*/ 0 h 28"/>
                <a:gd name="T4" fmla="*/ 0 w 15"/>
                <a:gd name="T5" fmla="*/ 28 h 28"/>
                <a:gd name="T6" fmla="*/ 2 w 15"/>
                <a:gd name="T7" fmla="*/ 28 h 28"/>
                <a:gd name="T8" fmla="*/ 2 w 15"/>
                <a:gd name="T9" fmla="*/ 2 h 28"/>
                <a:gd name="T10" fmla="*/ 15 w 15"/>
                <a:gd name="T11" fmla="*/ 2 h 28"/>
                <a:gd name="T12" fmla="*/ 15 w 15"/>
                <a:gd name="T13" fmla="*/ 0 h 28"/>
                <a:gd name="T14" fmla="*/ 15 w 15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8">
                  <a:moveTo>
                    <a:pt x="15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9" name="Freeform 439">
              <a:extLst>
                <a:ext uri="{FF2B5EF4-FFF2-40B4-BE49-F238E27FC236}">
                  <a16:creationId xmlns:a16="http://schemas.microsoft.com/office/drawing/2014/main" id="{D67C3222-5267-4BCF-A0AF-16C81914A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057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  <a:gd name="T6" fmla="*/ 10 w 1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0" name="Freeform 440">
              <a:extLst>
                <a:ext uri="{FF2B5EF4-FFF2-40B4-BE49-F238E27FC236}">
                  <a16:creationId xmlns:a16="http://schemas.microsoft.com/office/drawing/2014/main" id="{13F83DB1-D6C9-4EB8-8192-56C88C1F9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057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0 w 10"/>
                <a:gd name="T3" fmla="*/ 0 h 28"/>
                <a:gd name="T4" fmla="*/ 0 w 10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8">
                  <a:moveTo>
                    <a:pt x="10" y="0"/>
                  </a:move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1" name="Freeform 441">
              <a:extLst>
                <a:ext uri="{FF2B5EF4-FFF2-40B4-BE49-F238E27FC236}">
                  <a16:creationId xmlns:a16="http://schemas.microsoft.com/office/drawing/2014/main" id="{25D82339-4DED-430C-9747-EDE954A8F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2057"/>
              <a:ext cx="13" cy="28"/>
            </a:xfrm>
            <a:custGeom>
              <a:avLst/>
              <a:gdLst>
                <a:gd name="T0" fmla="*/ 13 w 13"/>
                <a:gd name="T1" fmla="*/ 0 h 28"/>
                <a:gd name="T2" fmla="*/ 0 w 13"/>
                <a:gd name="T3" fmla="*/ 0 h 28"/>
                <a:gd name="T4" fmla="*/ 0 w 13"/>
                <a:gd name="T5" fmla="*/ 28 h 28"/>
                <a:gd name="T6" fmla="*/ 3 w 13"/>
                <a:gd name="T7" fmla="*/ 28 h 28"/>
                <a:gd name="T8" fmla="*/ 3 w 13"/>
                <a:gd name="T9" fmla="*/ 2 h 28"/>
                <a:gd name="T10" fmla="*/ 13 w 13"/>
                <a:gd name="T11" fmla="*/ 2 h 28"/>
                <a:gd name="T12" fmla="*/ 13 w 13"/>
                <a:gd name="T13" fmla="*/ 0 h 28"/>
                <a:gd name="T14" fmla="*/ 13 w 13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8">
                  <a:moveTo>
                    <a:pt x="13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2" name="Freeform 442">
              <a:extLst>
                <a:ext uri="{FF2B5EF4-FFF2-40B4-BE49-F238E27FC236}">
                  <a16:creationId xmlns:a16="http://schemas.microsoft.com/office/drawing/2014/main" id="{EC3B4305-A4B1-4040-AA5F-9AA007759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807"/>
              <a:ext cx="12" cy="78"/>
            </a:xfrm>
            <a:custGeom>
              <a:avLst/>
              <a:gdLst>
                <a:gd name="T0" fmla="*/ 0 w 12"/>
                <a:gd name="T1" fmla="*/ 78 h 78"/>
                <a:gd name="T2" fmla="*/ 7 w 12"/>
                <a:gd name="T3" fmla="*/ 0 h 78"/>
                <a:gd name="T4" fmla="*/ 12 w 12"/>
                <a:gd name="T5" fmla="*/ 78 h 78"/>
                <a:gd name="T6" fmla="*/ 0 w 12"/>
                <a:gd name="T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8">
                  <a:moveTo>
                    <a:pt x="0" y="78"/>
                  </a:moveTo>
                  <a:lnTo>
                    <a:pt x="7" y="0"/>
                  </a:lnTo>
                  <a:lnTo>
                    <a:pt x="12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3" name="Freeform 443">
              <a:extLst>
                <a:ext uri="{FF2B5EF4-FFF2-40B4-BE49-F238E27FC236}">
                  <a16:creationId xmlns:a16="http://schemas.microsoft.com/office/drawing/2014/main" id="{4DBFBEE8-89E9-46F4-9D46-B520059F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807"/>
              <a:ext cx="12" cy="78"/>
            </a:xfrm>
            <a:custGeom>
              <a:avLst/>
              <a:gdLst>
                <a:gd name="T0" fmla="*/ 0 w 12"/>
                <a:gd name="T1" fmla="*/ 78 h 78"/>
                <a:gd name="T2" fmla="*/ 7 w 12"/>
                <a:gd name="T3" fmla="*/ 0 h 78"/>
                <a:gd name="T4" fmla="*/ 12 w 12"/>
                <a:gd name="T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8">
                  <a:moveTo>
                    <a:pt x="0" y="78"/>
                  </a:moveTo>
                  <a:lnTo>
                    <a:pt x="7" y="0"/>
                  </a:lnTo>
                  <a:lnTo>
                    <a:pt x="12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4" name="Freeform 444">
              <a:extLst>
                <a:ext uri="{FF2B5EF4-FFF2-40B4-BE49-F238E27FC236}">
                  <a16:creationId xmlns:a16="http://schemas.microsoft.com/office/drawing/2014/main" id="{6BE76804-7EF8-450D-B4B9-A2A45FC6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807"/>
              <a:ext cx="15" cy="78"/>
            </a:xfrm>
            <a:custGeom>
              <a:avLst/>
              <a:gdLst>
                <a:gd name="T0" fmla="*/ 2 w 15"/>
                <a:gd name="T1" fmla="*/ 78 h 78"/>
                <a:gd name="T2" fmla="*/ 7 w 15"/>
                <a:gd name="T3" fmla="*/ 15 h 78"/>
                <a:gd name="T4" fmla="*/ 12 w 15"/>
                <a:gd name="T5" fmla="*/ 78 h 78"/>
                <a:gd name="T6" fmla="*/ 15 w 15"/>
                <a:gd name="T7" fmla="*/ 78 h 78"/>
                <a:gd name="T8" fmla="*/ 7 w 15"/>
                <a:gd name="T9" fmla="*/ 0 h 78"/>
                <a:gd name="T10" fmla="*/ 5 w 15"/>
                <a:gd name="T11" fmla="*/ 0 h 78"/>
                <a:gd name="T12" fmla="*/ 0 w 15"/>
                <a:gd name="T13" fmla="*/ 78 h 78"/>
                <a:gd name="T14" fmla="*/ 2 w 15"/>
                <a:gd name="T15" fmla="*/ 78 h 78"/>
                <a:gd name="T16" fmla="*/ 2 w 15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8">
                  <a:moveTo>
                    <a:pt x="2" y="78"/>
                  </a:moveTo>
                  <a:lnTo>
                    <a:pt x="7" y="15"/>
                  </a:lnTo>
                  <a:lnTo>
                    <a:pt x="12" y="78"/>
                  </a:lnTo>
                  <a:lnTo>
                    <a:pt x="15" y="78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2" y="7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5" name="Rectangle 445">
              <a:extLst>
                <a:ext uri="{FF2B5EF4-FFF2-40B4-BE49-F238E27FC236}">
                  <a16:creationId xmlns:a16="http://schemas.microsoft.com/office/drawing/2014/main" id="{4CE15A4B-18DE-4F12-A0FF-71F5B2B1E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9" y="2077"/>
              <a:ext cx="111" cy="1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6" name="Freeform 446">
              <a:extLst>
                <a:ext uri="{FF2B5EF4-FFF2-40B4-BE49-F238E27FC236}">
                  <a16:creationId xmlns:a16="http://schemas.microsoft.com/office/drawing/2014/main" id="{58EC5685-C58F-4FAD-B640-E8088D5D4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077"/>
              <a:ext cx="116" cy="104"/>
            </a:xfrm>
            <a:custGeom>
              <a:avLst/>
              <a:gdLst>
                <a:gd name="T0" fmla="*/ 114 w 116"/>
                <a:gd name="T1" fmla="*/ 104 h 104"/>
                <a:gd name="T2" fmla="*/ 114 w 116"/>
                <a:gd name="T3" fmla="*/ 101 h 104"/>
                <a:gd name="T4" fmla="*/ 3 w 116"/>
                <a:gd name="T5" fmla="*/ 101 h 104"/>
                <a:gd name="T6" fmla="*/ 3 w 116"/>
                <a:gd name="T7" fmla="*/ 3 h 104"/>
                <a:gd name="T8" fmla="*/ 114 w 116"/>
                <a:gd name="T9" fmla="*/ 3 h 104"/>
                <a:gd name="T10" fmla="*/ 114 w 116"/>
                <a:gd name="T11" fmla="*/ 104 h 104"/>
                <a:gd name="T12" fmla="*/ 114 w 116"/>
                <a:gd name="T13" fmla="*/ 104 h 104"/>
                <a:gd name="T14" fmla="*/ 114 w 116"/>
                <a:gd name="T15" fmla="*/ 101 h 104"/>
                <a:gd name="T16" fmla="*/ 114 w 116"/>
                <a:gd name="T17" fmla="*/ 104 h 104"/>
                <a:gd name="T18" fmla="*/ 116 w 116"/>
                <a:gd name="T19" fmla="*/ 104 h 104"/>
                <a:gd name="T20" fmla="*/ 116 w 116"/>
                <a:gd name="T21" fmla="*/ 0 h 104"/>
                <a:gd name="T22" fmla="*/ 0 w 116"/>
                <a:gd name="T23" fmla="*/ 0 h 104"/>
                <a:gd name="T24" fmla="*/ 0 w 116"/>
                <a:gd name="T25" fmla="*/ 104 h 104"/>
                <a:gd name="T26" fmla="*/ 116 w 116"/>
                <a:gd name="T27" fmla="*/ 104 h 104"/>
                <a:gd name="T28" fmla="*/ 116 w 116"/>
                <a:gd name="T29" fmla="*/ 104 h 104"/>
                <a:gd name="T30" fmla="*/ 114 w 116"/>
                <a:gd name="T3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104">
                  <a:moveTo>
                    <a:pt x="114" y="104"/>
                  </a:moveTo>
                  <a:lnTo>
                    <a:pt x="114" y="101"/>
                  </a:lnTo>
                  <a:lnTo>
                    <a:pt x="3" y="101"/>
                  </a:lnTo>
                  <a:lnTo>
                    <a:pt x="3" y="3"/>
                  </a:lnTo>
                  <a:lnTo>
                    <a:pt x="114" y="3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4" y="101"/>
                  </a:lnTo>
                  <a:lnTo>
                    <a:pt x="114" y="104"/>
                  </a:lnTo>
                  <a:lnTo>
                    <a:pt x="116" y="104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4" y="10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7" name="Freeform 447">
              <a:extLst>
                <a:ext uri="{FF2B5EF4-FFF2-40B4-BE49-F238E27FC236}">
                  <a16:creationId xmlns:a16="http://schemas.microsoft.com/office/drawing/2014/main" id="{EA63DF6D-EB5F-4E93-80FF-ED3E80E26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8 w 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8" name="Freeform 448">
              <a:extLst>
                <a:ext uri="{FF2B5EF4-FFF2-40B4-BE49-F238E27FC236}">
                  <a16:creationId xmlns:a16="http://schemas.microsoft.com/office/drawing/2014/main" id="{DA685269-4BEE-4457-826F-2816E779D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9" name="Freeform 449">
              <a:extLst>
                <a:ext uri="{FF2B5EF4-FFF2-40B4-BE49-F238E27FC236}">
                  <a16:creationId xmlns:a16="http://schemas.microsoft.com/office/drawing/2014/main" id="{C4A41F76-B2FF-4A7C-A826-7D5D7CD69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3 w 8"/>
                <a:gd name="T7" fmla="*/ 18 h 18"/>
                <a:gd name="T8" fmla="*/ 3 w 8"/>
                <a:gd name="T9" fmla="*/ 2 h 18"/>
                <a:gd name="T10" fmla="*/ 8 w 8"/>
                <a:gd name="T11" fmla="*/ 2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0" name="Freeform 450">
              <a:extLst>
                <a:ext uri="{FF2B5EF4-FFF2-40B4-BE49-F238E27FC236}">
                  <a16:creationId xmlns:a16="http://schemas.microsoft.com/office/drawing/2014/main" id="{2768FD8F-9C98-469B-BA3F-A227737F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1" name="Freeform 451">
              <a:extLst>
                <a:ext uri="{FF2B5EF4-FFF2-40B4-BE49-F238E27FC236}">
                  <a16:creationId xmlns:a16="http://schemas.microsoft.com/office/drawing/2014/main" id="{E02DC37D-F79C-4076-BD70-D8870F900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2" name="Freeform 452">
              <a:extLst>
                <a:ext uri="{FF2B5EF4-FFF2-40B4-BE49-F238E27FC236}">
                  <a16:creationId xmlns:a16="http://schemas.microsoft.com/office/drawing/2014/main" id="{95025BD1-543E-44F9-8A09-C72630465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2095"/>
              <a:ext cx="8" cy="18"/>
            </a:xfrm>
            <a:custGeom>
              <a:avLst/>
              <a:gdLst>
                <a:gd name="T0" fmla="*/ 8 w 8"/>
                <a:gd name="T1" fmla="*/ 0 h 18"/>
                <a:gd name="T2" fmla="*/ 0 w 8"/>
                <a:gd name="T3" fmla="*/ 0 h 18"/>
                <a:gd name="T4" fmla="*/ 0 w 8"/>
                <a:gd name="T5" fmla="*/ 18 h 18"/>
                <a:gd name="T6" fmla="*/ 3 w 8"/>
                <a:gd name="T7" fmla="*/ 18 h 18"/>
                <a:gd name="T8" fmla="*/ 3 w 8"/>
                <a:gd name="T9" fmla="*/ 2 h 18"/>
                <a:gd name="T10" fmla="*/ 8 w 8"/>
                <a:gd name="T11" fmla="*/ 2 h 18"/>
                <a:gd name="T12" fmla="*/ 8 w 8"/>
                <a:gd name="T13" fmla="*/ 0 h 18"/>
                <a:gd name="T14" fmla="*/ 8 w 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3" name="Freeform 453">
              <a:extLst>
                <a:ext uri="{FF2B5EF4-FFF2-40B4-BE49-F238E27FC236}">
                  <a16:creationId xmlns:a16="http://schemas.microsoft.com/office/drawing/2014/main" id="{F6ABCD62-13AE-4161-87B4-D1170B41D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8 w 8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4" name="Freeform 454">
              <a:extLst>
                <a:ext uri="{FF2B5EF4-FFF2-40B4-BE49-F238E27FC236}">
                  <a16:creationId xmlns:a16="http://schemas.microsoft.com/office/drawing/2014/main" id="{3769DF63-8160-47EE-839A-8BE8CA188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5" name="Freeform 455">
              <a:extLst>
                <a:ext uri="{FF2B5EF4-FFF2-40B4-BE49-F238E27FC236}">
                  <a16:creationId xmlns:a16="http://schemas.microsoft.com/office/drawing/2014/main" id="{A9538BC6-8A1D-4426-9137-BDE3B0361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3 w 8"/>
                <a:gd name="T7" fmla="*/ 17 h 17"/>
                <a:gd name="T8" fmla="*/ 3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6" name="Freeform 456">
              <a:extLst>
                <a:ext uri="{FF2B5EF4-FFF2-40B4-BE49-F238E27FC236}">
                  <a16:creationId xmlns:a16="http://schemas.microsoft.com/office/drawing/2014/main" id="{6F964268-325B-4819-8955-4479D9BB0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  <a:gd name="T6" fmla="*/ 5 w 5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7" name="Freeform 457">
              <a:extLst>
                <a:ext uri="{FF2B5EF4-FFF2-40B4-BE49-F238E27FC236}">
                  <a16:creationId xmlns:a16="http://schemas.microsoft.com/office/drawing/2014/main" id="{F5AA36E1-221F-479F-BBEA-985BCEA93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2123"/>
              <a:ext cx="5" cy="17"/>
            </a:xfrm>
            <a:custGeom>
              <a:avLst/>
              <a:gdLst>
                <a:gd name="T0" fmla="*/ 5 w 5"/>
                <a:gd name="T1" fmla="*/ 0 h 17"/>
                <a:gd name="T2" fmla="*/ 0 w 5"/>
                <a:gd name="T3" fmla="*/ 0 h 17"/>
                <a:gd name="T4" fmla="*/ 0 w 5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7">
                  <a:moveTo>
                    <a:pt x="5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8" name="Freeform 458">
              <a:extLst>
                <a:ext uri="{FF2B5EF4-FFF2-40B4-BE49-F238E27FC236}">
                  <a16:creationId xmlns:a16="http://schemas.microsoft.com/office/drawing/2014/main" id="{E60325E2-A1F5-4D4E-A18D-8455573EA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2123"/>
              <a:ext cx="8" cy="17"/>
            </a:xfrm>
            <a:custGeom>
              <a:avLst/>
              <a:gdLst>
                <a:gd name="T0" fmla="*/ 8 w 8"/>
                <a:gd name="T1" fmla="*/ 0 h 17"/>
                <a:gd name="T2" fmla="*/ 0 w 8"/>
                <a:gd name="T3" fmla="*/ 0 h 17"/>
                <a:gd name="T4" fmla="*/ 0 w 8"/>
                <a:gd name="T5" fmla="*/ 17 h 17"/>
                <a:gd name="T6" fmla="*/ 3 w 8"/>
                <a:gd name="T7" fmla="*/ 17 h 17"/>
                <a:gd name="T8" fmla="*/ 3 w 8"/>
                <a:gd name="T9" fmla="*/ 2 h 17"/>
                <a:gd name="T10" fmla="*/ 8 w 8"/>
                <a:gd name="T11" fmla="*/ 2 h 17"/>
                <a:gd name="T12" fmla="*/ 8 w 8"/>
                <a:gd name="T13" fmla="*/ 0 h 17"/>
                <a:gd name="T14" fmla="*/ 8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9" name="Freeform 459">
              <a:extLst>
                <a:ext uri="{FF2B5EF4-FFF2-40B4-BE49-F238E27FC236}">
                  <a16:creationId xmlns:a16="http://schemas.microsoft.com/office/drawing/2014/main" id="{5A204745-86FE-4228-90C1-8E6DE7EAA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  <a:gd name="T6" fmla="*/ 5 w 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0" name="Freeform 460">
              <a:extLst>
                <a:ext uri="{FF2B5EF4-FFF2-40B4-BE49-F238E27FC236}">
                  <a16:creationId xmlns:a16="http://schemas.microsoft.com/office/drawing/2014/main" id="{6800CAB6-A406-4E91-BA2D-9A7E72DAE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" y="2095"/>
              <a:ext cx="5" cy="18"/>
            </a:xfrm>
            <a:custGeom>
              <a:avLst/>
              <a:gdLst>
                <a:gd name="T0" fmla="*/ 5 w 5"/>
                <a:gd name="T1" fmla="*/ 0 h 18"/>
                <a:gd name="T2" fmla="*/ 0 w 5"/>
                <a:gd name="T3" fmla="*/ 0 h 18"/>
                <a:gd name="T4" fmla="*/ 0 w 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1" name="Freeform 461">
              <a:extLst>
                <a:ext uri="{FF2B5EF4-FFF2-40B4-BE49-F238E27FC236}">
                  <a16:creationId xmlns:a16="http://schemas.microsoft.com/office/drawing/2014/main" id="{D1E651DF-69C5-4495-9FD6-4542E5A8B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2" y="2095"/>
              <a:ext cx="7" cy="18"/>
            </a:xfrm>
            <a:custGeom>
              <a:avLst/>
              <a:gdLst>
                <a:gd name="T0" fmla="*/ 7 w 7"/>
                <a:gd name="T1" fmla="*/ 0 h 18"/>
                <a:gd name="T2" fmla="*/ 0 w 7"/>
                <a:gd name="T3" fmla="*/ 0 h 18"/>
                <a:gd name="T4" fmla="*/ 0 w 7"/>
                <a:gd name="T5" fmla="*/ 18 h 18"/>
                <a:gd name="T6" fmla="*/ 2 w 7"/>
                <a:gd name="T7" fmla="*/ 18 h 18"/>
                <a:gd name="T8" fmla="*/ 2 w 7"/>
                <a:gd name="T9" fmla="*/ 2 h 18"/>
                <a:gd name="T10" fmla="*/ 7 w 7"/>
                <a:gd name="T11" fmla="*/ 2 h 18"/>
                <a:gd name="T12" fmla="*/ 7 w 7"/>
                <a:gd name="T13" fmla="*/ 0 h 18"/>
                <a:gd name="T14" fmla="*/ 7 w 7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8">
                  <a:moveTo>
                    <a:pt x="7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2" name="Rectangle 462">
              <a:extLst>
                <a:ext uri="{FF2B5EF4-FFF2-40B4-BE49-F238E27FC236}">
                  <a16:creationId xmlns:a16="http://schemas.microsoft.com/office/drawing/2014/main" id="{DEFD8724-3F0A-43D1-ACF2-49F5C358B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" y="2348"/>
              <a:ext cx="314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3" name="Freeform 463">
              <a:extLst>
                <a:ext uri="{FF2B5EF4-FFF2-40B4-BE49-F238E27FC236}">
                  <a16:creationId xmlns:a16="http://schemas.microsoft.com/office/drawing/2014/main" id="{47708B96-9869-4A1F-A08D-6EC82C375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" y="2348"/>
              <a:ext cx="314" cy="2"/>
            </a:xfrm>
            <a:custGeom>
              <a:avLst/>
              <a:gdLst>
                <a:gd name="T0" fmla="*/ 0 w 314"/>
                <a:gd name="T1" fmla="*/ 2 h 2"/>
                <a:gd name="T2" fmla="*/ 314 w 314"/>
                <a:gd name="T3" fmla="*/ 2 h 2"/>
                <a:gd name="T4" fmla="*/ 314 w 314"/>
                <a:gd name="T5" fmla="*/ 0 h 2"/>
                <a:gd name="T6" fmla="*/ 0 w 31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4" h="2">
                  <a:moveTo>
                    <a:pt x="0" y="2"/>
                  </a:moveTo>
                  <a:lnTo>
                    <a:pt x="314" y="2"/>
                  </a:lnTo>
                  <a:lnTo>
                    <a:pt x="31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4" name="Rectangle 464">
              <a:extLst>
                <a:ext uri="{FF2B5EF4-FFF2-40B4-BE49-F238E27FC236}">
                  <a16:creationId xmlns:a16="http://schemas.microsoft.com/office/drawing/2014/main" id="{A367D32C-84F1-4E10-B071-0B8C2790B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5" name="Freeform 465">
              <a:extLst>
                <a:ext uri="{FF2B5EF4-FFF2-40B4-BE49-F238E27FC236}">
                  <a16:creationId xmlns:a16="http://schemas.microsoft.com/office/drawing/2014/main" id="{208629CB-7058-4EC3-B84B-DF99A34A0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6" name="Rectangle 466">
              <a:extLst>
                <a:ext uri="{FF2B5EF4-FFF2-40B4-BE49-F238E27FC236}">
                  <a16:creationId xmlns:a16="http://schemas.microsoft.com/office/drawing/2014/main" id="{2D87850A-514C-4C06-8F55-B52761C94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7" name="Freeform 467">
              <a:extLst>
                <a:ext uri="{FF2B5EF4-FFF2-40B4-BE49-F238E27FC236}">
                  <a16:creationId xmlns:a16="http://schemas.microsoft.com/office/drawing/2014/main" id="{C88D1ACF-19A2-49DC-919C-C87EC5DCE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8" name="Rectangle 468">
              <a:extLst>
                <a:ext uri="{FF2B5EF4-FFF2-40B4-BE49-F238E27FC236}">
                  <a16:creationId xmlns:a16="http://schemas.microsoft.com/office/drawing/2014/main" id="{CF6C3EAF-80B4-4117-8133-950559E15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" y="2345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9" name="Freeform 469">
              <a:extLst>
                <a:ext uri="{FF2B5EF4-FFF2-40B4-BE49-F238E27FC236}">
                  <a16:creationId xmlns:a16="http://schemas.microsoft.com/office/drawing/2014/main" id="{B2F4F3EF-BD25-4306-8EB9-6DE63FC4C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" y="2345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13 h 13"/>
                <a:gd name="T3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0" name="Rectangle 470">
              <a:extLst>
                <a:ext uri="{FF2B5EF4-FFF2-40B4-BE49-F238E27FC236}">
                  <a16:creationId xmlns:a16="http://schemas.microsoft.com/office/drawing/2014/main" id="{60FED3F3-83D6-4B00-AC66-6C26A914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1" name="Freeform 471">
              <a:extLst>
                <a:ext uri="{FF2B5EF4-FFF2-40B4-BE49-F238E27FC236}">
                  <a16:creationId xmlns:a16="http://schemas.microsoft.com/office/drawing/2014/main" id="{F387637F-126A-4516-8B40-3281461F2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2" name="Rectangle 472">
              <a:extLst>
                <a:ext uri="{FF2B5EF4-FFF2-40B4-BE49-F238E27FC236}">
                  <a16:creationId xmlns:a16="http://schemas.microsoft.com/office/drawing/2014/main" id="{1D9C8968-B19D-47D7-A63C-93B00977A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3" name="Freeform 473">
              <a:extLst>
                <a:ext uri="{FF2B5EF4-FFF2-40B4-BE49-F238E27FC236}">
                  <a16:creationId xmlns:a16="http://schemas.microsoft.com/office/drawing/2014/main" id="{6C578E77-63EB-4C28-BE0D-76322A157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4" name="Rectangle 474">
              <a:extLst>
                <a:ext uri="{FF2B5EF4-FFF2-40B4-BE49-F238E27FC236}">
                  <a16:creationId xmlns:a16="http://schemas.microsoft.com/office/drawing/2014/main" id="{1D729A6C-6CDD-4D79-9AD6-7D08789B00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" y="2348"/>
              <a:ext cx="31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5" name="Freeform 475">
              <a:extLst>
                <a:ext uri="{FF2B5EF4-FFF2-40B4-BE49-F238E27FC236}">
                  <a16:creationId xmlns:a16="http://schemas.microsoft.com/office/drawing/2014/main" id="{0A7E4DD8-B79B-4C53-B480-4B5431A05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348"/>
              <a:ext cx="311" cy="2"/>
            </a:xfrm>
            <a:custGeom>
              <a:avLst/>
              <a:gdLst>
                <a:gd name="T0" fmla="*/ 0 w 311"/>
                <a:gd name="T1" fmla="*/ 2 h 2"/>
                <a:gd name="T2" fmla="*/ 311 w 311"/>
                <a:gd name="T3" fmla="*/ 2 h 2"/>
                <a:gd name="T4" fmla="*/ 311 w 311"/>
                <a:gd name="T5" fmla="*/ 0 h 2"/>
                <a:gd name="T6" fmla="*/ 0 w 3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1" h="2">
                  <a:moveTo>
                    <a:pt x="0" y="2"/>
                  </a:moveTo>
                  <a:lnTo>
                    <a:pt x="311" y="2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6" name="Rectangle 476">
              <a:extLst>
                <a:ext uri="{FF2B5EF4-FFF2-40B4-BE49-F238E27FC236}">
                  <a16:creationId xmlns:a16="http://schemas.microsoft.com/office/drawing/2014/main" id="{FA2F033B-2EFC-406D-B690-C46F91F7BB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7" name="Freeform 477">
              <a:extLst>
                <a:ext uri="{FF2B5EF4-FFF2-40B4-BE49-F238E27FC236}">
                  <a16:creationId xmlns:a16="http://schemas.microsoft.com/office/drawing/2014/main" id="{965354DB-0C7F-427B-A968-5043718A7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8" name="Rectangle 478">
              <a:extLst>
                <a:ext uri="{FF2B5EF4-FFF2-40B4-BE49-F238E27FC236}">
                  <a16:creationId xmlns:a16="http://schemas.microsoft.com/office/drawing/2014/main" id="{0BA66CA2-FB2F-4F92-857D-02F6B0F6D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3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9" name="Freeform 479">
              <a:extLst>
                <a:ext uri="{FF2B5EF4-FFF2-40B4-BE49-F238E27FC236}">
                  <a16:creationId xmlns:a16="http://schemas.microsoft.com/office/drawing/2014/main" id="{4DB26183-E75B-482A-A2AB-D990C87E2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0" name="Rectangle 480">
              <a:extLst>
                <a:ext uri="{FF2B5EF4-FFF2-40B4-BE49-F238E27FC236}">
                  <a16:creationId xmlns:a16="http://schemas.microsoft.com/office/drawing/2014/main" id="{1F92D3CF-7501-4C7C-836A-5CC2EA1FFE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6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1" name="Freeform 481">
              <a:extLst>
                <a:ext uri="{FF2B5EF4-FFF2-40B4-BE49-F238E27FC236}">
                  <a16:creationId xmlns:a16="http://schemas.microsoft.com/office/drawing/2014/main" id="{C9214F34-6986-4A68-80B4-1947EB98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2" name="Rectangle 482">
              <a:extLst>
                <a:ext uri="{FF2B5EF4-FFF2-40B4-BE49-F238E27FC236}">
                  <a16:creationId xmlns:a16="http://schemas.microsoft.com/office/drawing/2014/main" id="{17270791-14CE-4403-B2F9-F030D8A29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9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3" name="Freeform 483">
              <a:extLst>
                <a:ext uri="{FF2B5EF4-FFF2-40B4-BE49-F238E27FC236}">
                  <a16:creationId xmlns:a16="http://schemas.microsoft.com/office/drawing/2014/main" id="{AB9BDFFD-34CD-484F-B082-22747BBC2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4" name="Rectangle 484">
              <a:extLst>
                <a:ext uri="{FF2B5EF4-FFF2-40B4-BE49-F238E27FC236}">
                  <a16:creationId xmlns:a16="http://schemas.microsoft.com/office/drawing/2014/main" id="{1B44D5DE-108D-404C-A57E-09DB37600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5" name="Freeform 485">
              <a:extLst>
                <a:ext uri="{FF2B5EF4-FFF2-40B4-BE49-F238E27FC236}">
                  <a16:creationId xmlns:a16="http://schemas.microsoft.com/office/drawing/2014/main" id="{BC8AB35F-53BD-4994-82A4-105E87CE6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6" name="Rectangle 486">
              <a:extLst>
                <a:ext uri="{FF2B5EF4-FFF2-40B4-BE49-F238E27FC236}">
                  <a16:creationId xmlns:a16="http://schemas.microsoft.com/office/drawing/2014/main" id="{AC652BEC-BBBB-4D65-9D0C-41FCBDD09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2" y="2348"/>
              <a:ext cx="31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7" name="Freeform 487">
              <a:extLst>
                <a:ext uri="{FF2B5EF4-FFF2-40B4-BE49-F238E27FC236}">
                  <a16:creationId xmlns:a16="http://schemas.microsoft.com/office/drawing/2014/main" id="{C39B3597-745B-4F43-A0F7-EE059410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2348"/>
              <a:ext cx="311" cy="2"/>
            </a:xfrm>
            <a:custGeom>
              <a:avLst/>
              <a:gdLst>
                <a:gd name="T0" fmla="*/ 0 w 311"/>
                <a:gd name="T1" fmla="*/ 2 h 2"/>
                <a:gd name="T2" fmla="*/ 311 w 311"/>
                <a:gd name="T3" fmla="*/ 2 h 2"/>
                <a:gd name="T4" fmla="*/ 311 w 311"/>
                <a:gd name="T5" fmla="*/ 0 h 2"/>
                <a:gd name="T6" fmla="*/ 0 w 3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1" h="2">
                  <a:moveTo>
                    <a:pt x="0" y="2"/>
                  </a:moveTo>
                  <a:lnTo>
                    <a:pt x="311" y="2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8" name="Rectangle 488">
              <a:extLst>
                <a:ext uri="{FF2B5EF4-FFF2-40B4-BE49-F238E27FC236}">
                  <a16:creationId xmlns:a16="http://schemas.microsoft.com/office/drawing/2014/main" id="{FBCF7F8E-2452-4801-9BA1-D8CB7C956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" y="2345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9" name="Freeform 489">
              <a:extLst>
                <a:ext uri="{FF2B5EF4-FFF2-40B4-BE49-F238E27FC236}">
                  <a16:creationId xmlns:a16="http://schemas.microsoft.com/office/drawing/2014/main" id="{7970C58A-640C-49A8-8669-9605D0D3A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2345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13 h 13"/>
                <a:gd name="T3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0" name="Rectangle 490">
              <a:extLst>
                <a:ext uri="{FF2B5EF4-FFF2-40B4-BE49-F238E27FC236}">
                  <a16:creationId xmlns:a16="http://schemas.microsoft.com/office/drawing/2014/main" id="{0FF16B8B-77CC-4BF6-94CF-655BD4FDB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1" name="Freeform 491">
              <a:extLst>
                <a:ext uri="{FF2B5EF4-FFF2-40B4-BE49-F238E27FC236}">
                  <a16:creationId xmlns:a16="http://schemas.microsoft.com/office/drawing/2014/main" id="{E6570C3B-F984-463A-A2A2-931A012BF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3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2" name="Rectangle 492">
              <a:extLst>
                <a:ext uri="{FF2B5EF4-FFF2-40B4-BE49-F238E27FC236}">
                  <a16:creationId xmlns:a16="http://schemas.microsoft.com/office/drawing/2014/main" id="{66E38EE6-BE27-4F49-BA99-39BDF45F7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3" name="Freeform 493">
              <a:extLst>
                <a:ext uri="{FF2B5EF4-FFF2-40B4-BE49-F238E27FC236}">
                  <a16:creationId xmlns:a16="http://schemas.microsoft.com/office/drawing/2014/main" id="{94ABBCC2-4CFF-4EB5-8E58-20ED0DC48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4" name="Rectangle 494">
              <a:extLst>
                <a:ext uri="{FF2B5EF4-FFF2-40B4-BE49-F238E27FC236}">
                  <a16:creationId xmlns:a16="http://schemas.microsoft.com/office/drawing/2014/main" id="{45DB5E4E-DE15-48AA-B586-4A0B5E918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9" y="2345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5" name="Freeform 495">
              <a:extLst>
                <a:ext uri="{FF2B5EF4-FFF2-40B4-BE49-F238E27FC236}">
                  <a16:creationId xmlns:a16="http://schemas.microsoft.com/office/drawing/2014/main" id="{B2E5ADD8-7BEC-4BF2-AC5A-5D8FC15E7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" y="2345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13 h 13"/>
                <a:gd name="T3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6" name="Rectangle 496">
              <a:extLst>
                <a:ext uri="{FF2B5EF4-FFF2-40B4-BE49-F238E27FC236}">
                  <a16:creationId xmlns:a16="http://schemas.microsoft.com/office/drawing/2014/main" id="{ECDF8C40-0AA6-4728-8B00-A662039B8D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0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7" name="Freeform 497">
              <a:extLst>
                <a:ext uri="{FF2B5EF4-FFF2-40B4-BE49-F238E27FC236}">
                  <a16:creationId xmlns:a16="http://schemas.microsoft.com/office/drawing/2014/main" id="{2E146FF8-9DC1-4729-8667-E7B1E9346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8" name="Rectangle 498">
              <a:extLst>
                <a:ext uri="{FF2B5EF4-FFF2-40B4-BE49-F238E27FC236}">
                  <a16:creationId xmlns:a16="http://schemas.microsoft.com/office/drawing/2014/main" id="{C8758C88-1A13-4793-97F9-7261719145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" y="2348"/>
              <a:ext cx="31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9" name="Freeform 499">
              <a:extLst>
                <a:ext uri="{FF2B5EF4-FFF2-40B4-BE49-F238E27FC236}">
                  <a16:creationId xmlns:a16="http://schemas.microsoft.com/office/drawing/2014/main" id="{7D8CE871-FB99-4383-A2A9-1AAB0D3A1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" y="2348"/>
              <a:ext cx="313" cy="2"/>
            </a:xfrm>
            <a:custGeom>
              <a:avLst/>
              <a:gdLst>
                <a:gd name="T0" fmla="*/ 0 w 313"/>
                <a:gd name="T1" fmla="*/ 2 h 2"/>
                <a:gd name="T2" fmla="*/ 313 w 313"/>
                <a:gd name="T3" fmla="*/ 2 h 2"/>
                <a:gd name="T4" fmla="*/ 313 w 313"/>
                <a:gd name="T5" fmla="*/ 0 h 2"/>
                <a:gd name="T6" fmla="*/ 0 w 31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3" h="2">
                  <a:moveTo>
                    <a:pt x="0" y="2"/>
                  </a:moveTo>
                  <a:lnTo>
                    <a:pt x="313" y="2"/>
                  </a:lnTo>
                  <a:lnTo>
                    <a:pt x="31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0" name="Rectangle 500">
              <a:extLst>
                <a:ext uri="{FF2B5EF4-FFF2-40B4-BE49-F238E27FC236}">
                  <a16:creationId xmlns:a16="http://schemas.microsoft.com/office/drawing/2014/main" id="{D35B2B74-2399-4300-B2C2-06A023C47E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1" name="Freeform 501">
              <a:extLst>
                <a:ext uri="{FF2B5EF4-FFF2-40B4-BE49-F238E27FC236}">
                  <a16:creationId xmlns:a16="http://schemas.microsoft.com/office/drawing/2014/main" id="{D44CD09F-F068-44CE-AA09-2D2BAF030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2" name="Rectangle 502">
              <a:extLst>
                <a:ext uri="{FF2B5EF4-FFF2-40B4-BE49-F238E27FC236}">
                  <a16:creationId xmlns:a16="http://schemas.microsoft.com/office/drawing/2014/main" id="{AD2179E0-1DD2-4F72-B414-E1BB01F49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6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3" name="Freeform 503">
              <a:extLst>
                <a:ext uri="{FF2B5EF4-FFF2-40B4-BE49-F238E27FC236}">
                  <a16:creationId xmlns:a16="http://schemas.microsoft.com/office/drawing/2014/main" id="{E7BB4407-996D-4541-8F8A-77B421EF5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4" name="Rectangle 504">
              <a:extLst>
                <a:ext uri="{FF2B5EF4-FFF2-40B4-BE49-F238E27FC236}">
                  <a16:creationId xmlns:a16="http://schemas.microsoft.com/office/drawing/2014/main" id="{8155A5DB-DAB4-4A63-A4D4-39D45E744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5" name="Freeform 505">
              <a:extLst>
                <a:ext uri="{FF2B5EF4-FFF2-40B4-BE49-F238E27FC236}">
                  <a16:creationId xmlns:a16="http://schemas.microsoft.com/office/drawing/2014/main" id="{296C4514-4C5F-41E8-B699-C391FF6F1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7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6" name="Rectangle 506">
              <a:extLst>
                <a:ext uri="{FF2B5EF4-FFF2-40B4-BE49-F238E27FC236}">
                  <a16:creationId xmlns:a16="http://schemas.microsoft.com/office/drawing/2014/main" id="{A0C6BB03-FD01-4563-8770-F5BDF4CF0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7" name="Freeform 507">
              <a:extLst>
                <a:ext uri="{FF2B5EF4-FFF2-40B4-BE49-F238E27FC236}">
                  <a16:creationId xmlns:a16="http://schemas.microsoft.com/office/drawing/2014/main" id="{8F243947-61FD-4D57-B421-4CD576145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8" name="Rectangle 508">
              <a:extLst>
                <a:ext uri="{FF2B5EF4-FFF2-40B4-BE49-F238E27FC236}">
                  <a16:creationId xmlns:a16="http://schemas.microsoft.com/office/drawing/2014/main" id="{5812C96A-9A6E-42A5-AE5B-FD68104DE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3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9" name="Freeform 509">
              <a:extLst>
                <a:ext uri="{FF2B5EF4-FFF2-40B4-BE49-F238E27FC236}">
                  <a16:creationId xmlns:a16="http://schemas.microsoft.com/office/drawing/2014/main" id="{6A1C1044-606A-4EA6-93E8-1EA4B36AA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0" name="Rectangle 510">
              <a:extLst>
                <a:ext uri="{FF2B5EF4-FFF2-40B4-BE49-F238E27FC236}">
                  <a16:creationId xmlns:a16="http://schemas.microsoft.com/office/drawing/2014/main" id="{000C968F-E333-4A8E-A5C3-808989B4E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2348"/>
              <a:ext cx="31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1" name="Freeform 511">
              <a:extLst>
                <a:ext uri="{FF2B5EF4-FFF2-40B4-BE49-F238E27FC236}">
                  <a16:creationId xmlns:a16="http://schemas.microsoft.com/office/drawing/2014/main" id="{F2CCC206-CAFD-4E5A-B084-74027CBA8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" y="2348"/>
              <a:ext cx="311" cy="2"/>
            </a:xfrm>
            <a:custGeom>
              <a:avLst/>
              <a:gdLst>
                <a:gd name="T0" fmla="*/ 0 w 311"/>
                <a:gd name="T1" fmla="*/ 2 h 2"/>
                <a:gd name="T2" fmla="*/ 311 w 311"/>
                <a:gd name="T3" fmla="*/ 2 h 2"/>
                <a:gd name="T4" fmla="*/ 311 w 311"/>
                <a:gd name="T5" fmla="*/ 0 h 2"/>
                <a:gd name="T6" fmla="*/ 0 w 3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1" h="2">
                  <a:moveTo>
                    <a:pt x="0" y="2"/>
                  </a:moveTo>
                  <a:lnTo>
                    <a:pt x="311" y="2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2" name="Rectangle 512">
              <a:extLst>
                <a:ext uri="{FF2B5EF4-FFF2-40B4-BE49-F238E27FC236}">
                  <a16:creationId xmlns:a16="http://schemas.microsoft.com/office/drawing/2014/main" id="{B0F1F286-D78F-4DD9-A838-98915E209F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3" name="Freeform 513">
              <a:extLst>
                <a:ext uri="{FF2B5EF4-FFF2-40B4-BE49-F238E27FC236}">
                  <a16:creationId xmlns:a16="http://schemas.microsoft.com/office/drawing/2014/main" id="{93DB5130-6301-4F47-83C3-C94C4F052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4" name="Rectangle 514">
              <a:extLst>
                <a:ext uri="{FF2B5EF4-FFF2-40B4-BE49-F238E27FC236}">
                  <a16:creationId xmlns:a16="http://schemas.microsoft.com/office/drawing/2014/main" id="{19674F86-04DC-48B0-A613-069D64583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7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5" name="Freeform 515">
              <a:extLst>
                <a:ext uri="{FF2B5EF4-FFF2-40B4-BE49-F238E27FC236}">
                  <a16:creationId xmlns:a16="http://schemas.microsoft.com/office/drawing/2014/main" id="{B3C95C73-36D9-4DBB-B9D1-33DD27EF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6" name="Rectangle 516">
              <a:extLst>
                <a:ext uri="{FF2B5EF4-FFF2-40B4-BE49-F238E27FC236}">
                  <a16:creationId xmlns:a16="http://schemas.microsoft.com/office/drawing/2014/main" id="{E8F8F9C8-2242-46D5-87EF-54F0EF29C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1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7" name="Freeform 517">
              <a:extLst>
                <a:ext uri="{FF2B5EF4-FFF2-40B4-BE49-F238E27FC236}">
                  <a16:creationId xmlns:a16="http://schemas.microsoft.com/office/drawing/2014/main" id="{021775F0-31A0-4EB6-8D02-0F422382B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8" name="Rectangle 518">
              <a:extLst>
                <a:ext uri="{FF2B5EF4-FFF2-40B4-BE49-F238E27FC236}">
                  <a16:creationId xmlns:a16="http://schemas.microsoft.com/office/drawing/2014/main" id="{E0D11BE0-91EA-4B5B-839D-8D33430E6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4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9" name="Freeform 519">
              <a:extLst>
                <a:ext uri="{FF2B5EF4-FFF2-40B4-BE49-F238E27FC236}">
                  <a16:creationId xmlns:a16="http://schemas.microsoft.com/office/drawing/2014/main" id="{34C72449-D6D6-431A-8869-4D29F2CF1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0" name="Rectangle 520">
              <a:extLst>
                <a:ext uri="{FF2B5EF4-FFF2-40B4-BE49-F238E27FC236}">
                  <a16:creationId xmlns:a16="http://schemas.microsoft.com/office/drawing/2014/main" id="{4C2AC7F6-069E-4A82-ABF4-733D7490A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4" y="2345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1" name="Freeform 521">
              <a:extLst>
                <a:ext uri="{FF2B5EF4-FFF2-40B4-BE49-F238E27FC236}">
                  <a16:creationId xmlns:a16="http://schemas.microsoft.com/office/drawing/2014/main" id="{DCCEE39D-80DE-4121-99F9-A20856276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2345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2" name="Rectangle 522">
              <a:extLst>
                <a:ext uri="{FF2B5EF4-FFF2-40B4-BE49-F238E27FC236}">
                  <a16:creationId xmlns:a16="http://schemas.microsoft.com/office/drawing/2014/main" id="{A13B62BA-ED45-4315-9682-5F13B9C67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" y="2348"/>
              <a:ext cx="314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3" name="Freeform 523">
              <a:extLst>
                <a:ext uri="{FF2B5EF4-FFF2-40B4-BE49-F238E27FC236}">
                  <a16:creationId xmlns:a16="http://schemas.microsoft.com/office/drawing/2014/main" id="{5EC2C86C-B79A-4883-B128-840F83BA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" y="2348"/>
              <a:ext cx="314" cy="2"/>
            </a:xfrm>
            <a:custGeom>
              <a:avLst/>
              <a:gdLst>
                <a:gd name="T0" fmla="*/ 0 w 314"/>
                <a:gd name="T1" fmla="*/ 2 h 2"/>
                <a:gd name="T2" fmla="*/ 314 w 314"/>
                <a:gd name="T3" fmla="*/ 2 h 2"/>
                <a:gd name="T4" fmla="*/ 314 w 314"/>
                <a:gd name="T5" fmla="*/ 0 h 2"/>
                <a:gd name="T6" fmla="*/ 0 w 31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4" h="2">
                  <a:moveTo>
                    <a:pt x="0" y="2"/>
                  </a:moveTo>
                  <a:lnTo>
                    <a:pt x="314" y="2"/>
                  </a:lnTo>
                  <a:lnTo>
                    <a:pt x="31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4" name="Rectangle 524">
              <a:extLst>
                <a:ext uri="{FF2B5EF4-FFF2-40B4-BE49-F238E27FC236}">
                  <a16:creationId xmlns:a16="http://schemas.microsoft.com/office/drawing/2014/main" id="{74407C5A-A772-46E8-A3D4-88E57AFE6C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8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5" name="Freeform 525">
              <a:extLst>
                <a:ext uri="{FF2B5EF4-FFF2-40B4-BE49-F238E27FC236}">
                  <a16:creationId xmlns:a16="http://schemas.microsoft.com/office/drawing/2014/main" id="{AEA680E9-B13F-49AE-9851-4B0576C70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8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6" name="Rectangle 526">
              <a:extLst>
                <a:ext uri="{FF2B5EF4-FFF2-40B4-BE49-F238E27FC236}">
                  <a16:creationId xmlns:a16="http://schemas.microsoft.com/office/drawing/2014/main" id="{F01BE0A0-AA20-414D-B2C8-06C097F8B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1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7" name="Freeform 527">
              <a:extLst>
                <a:ext uri="{FF2B5EF4-FFF2-40B4-BE49-F238E27FC236}">
                  <a16:creationId xmlns:a16="http://schemas.microsoft.com/office/drawing/2014/main" id="{8870AB04-776F-4AB0-AC0F-BB7ADBA20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8" name="Rectangle 528">
              <a:extLst>
                <a:ext uri="{FF2B5EF4-FFF2-40B4-BE49-F238E27FC236}">
                  <a16:creationId xmlns:a16="http://schemas.microsoft.com/office/drawing/2014/main" id="{58563E01-5C4E-4EFD-A95D-7AF759194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2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9" name="Freeform 529">
              <a:extLst>
                <a:ext uri="{FF2B5EF4-FFF2-40B4-BE49-F238E27FC236}">
                  <a16:creationId xmlns:a16="http://schemas.microsoft.com/office/drawing/2014/main" id="{8823F382-1D7A-47D7-820B-13AAA3E64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0" name="Rectangle 530">
              <a:extLst>
                <a:ext uri="{FF2B5EF4-FFF2-40B4-BE49-F238E27FC236}">
                  <a16:creationId xmlns:a16="http://schemas.microsoft.com/office/drawing/2014/main" id="{9B426988-DB92-4D06-8FAF-5C422C92A0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5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1" name="Freeform 531">
              <a:extLst>
                <a:ext uri="{FF2B5EF4-FFF2-40B4-BE49-F238E27FC236}">
                  <a16:creationId xmlns:a16="http://schemas.microsoft.com/office/drawing/2014/main" id="{6D0E84D7-ABDE-404D-9CE5-15D01E6C7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2" name="Rectangle 532">
              <a:extLst>
                <a:ext uri="{FF2B5EF4-FFF2-40B4-BE49-F238E27FC236}">
                  <a16:creationId xmlns:a16="http://schemas.microsoft.com/office/drawing/2014/main" id="{2DCE7A46-3599-47DD-8642-A7327F59B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8" y="234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3" name="Freeform 533">
              <a:extLst>
                <a:ext uri="{FF2B5EF4-FFF2-40B4-BE49-F238E27FC236}">
                  <a16:creationId xmlns:a16="http://schemas.microsoft.com/office/drawing/2014/main" id="{A8501009-0CAF-44B0-8D38-1114BD8B4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34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4" name="Rectangle 534">
              <a:extLst>
                <a:ext uri="{FF2B5EF4-FFF2-40B4-BE49-F238E27FC236}">
                  <a16:creationId xmlns:a16="http://schemas.microsoft.com/office/drawing/2014/main" id="{81216E7A-68BD-41A8-A80D-AE72D46AA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" y="2224"/>
              <a:ext cx="314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5" name="Freeform 535">
              <a:extLst>
                <a:ext uri="{FF2B5EF4-FFF2-40B4-BE49-F238E27FC236}">
                  <a16:creationId xmlns:a16="http://schemas.microsoft.com/office/drawing/2014/main" id="{5C1DC92F-725A-4FFE-B76E-C81417B63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" y="2224"/>
              <a:ext cx="314" cy="2"/>
            </a:xfrm>
            <a:custGeom>
              <a:avLst/>
              <a:gdLst>
                <a:gd name="T0" fmla="*/ 0 w 314"/>
                <a:gd name="T1" fmla="*/ 2 h 2"/>
                <a:gd name="T2" fmla="*/ 314 w 314"/>
                <a:gd name="T3" fmla="*/ 2 h 2"/>
                <a:gd name="T4" fmla="*/ 314 w 314"/>
                <a:gd name="T5" fmla="*/ 0 h 2"/>
                <a:gd name="T6" fmla="*/ 0 w 31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4" h="2">
                  <a:moveTo>
                    <a:pt x="0" y="2"/>
                  </a:moveTo>
                  <a:lnTo>
                    <a:pt x="314" y="2"/>
                  </a:lnTo>
                  <a:lnTo>
                    <a:pt x="31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6" name="Rectangle 536">
              <a:extLst>
                <a:ext uri="{FF2B5EF4-FFF2-40B4-BE49-F238E27FC236}">
                  <a16:creationId xmlns:a16="http://schemas.microsoft.com/office/drawing/2014/main" id="{023BB135-7A07-4A52-8A40-3836CD17F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7" name="Freeform 537">
              <a:extLst>
                <a:ext uri="{FF2B5EF4-FFF2-40B4-BE49-F238E27FC236}">
                  <a16:creationId xmlns:a16="http://schemas.microsoft.com/office/drawing/2014/main" id="{5B8FAA8C-89BB-4E9C-845F-39566498B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8" name="Rectangle 538">
              <a:extLst>
                <a:ext uri="{FF2B5EF4-FFF2-40B4-BE49-F238E27FC236}">
                  <a16:creationId xmlns:a16="http://schemas.microsoft.com/office/drawing/2014/main" id="{16361B25-84C1-4477-B181-ADA0057DB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9" name="Freeform 539">
              <a:extLst>
                <a:ext uri="{FF2B5EF4-FFF2-40B4-BE49-F238E27FC236}">
                  <a16:creationId xmlns:a16="http://schemas.microsoft.com/office/drawing/2014/main" id="{5A6C0049-39D5-4F71-BD9F-A7D5FCB70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0" name="Rectangle 540">
              <a:extLst>
                <a:ext uri="{FF2B5EF4-FFF2-40B4-BE49-F238E27FC236}">
                  <a16:creationId xmlns:a16="http://schemas.microsoft.com/office/drawing/2014/main" id="{A5071432-6A65-4E32-9BF0-B311F326B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1" name="Freeform 541">
              <a:extLst>
                <a:ext uri="{FF2B5EF4-FFF2-40B4-BE49-F238E27FC236}">
                  <a16:creationId xmlns:a16="http://schemas.microsoft.com/office/drawing/2014/main" id="{CD6369C5-E137-40E4-A252-78072ACBE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2" name="Rectangle 542">
              <a:extLst>
                <a:ext uri="{FF2B5EF4-FFF2-40B4-BE49-F238E27FC236}">
                  <a16:creationId xmlns:a16="http://schemas.microsoft.com/office/drawing/2014/main" id="{FFB62F29-2205-4ECF-A73E-A29A5E802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3" name="Freeform 543">
              <a:extLst>
                <a:ext uri="{FF2B5EF4-FFF2-40B4-BE49-F238E27FC236}">
                  <a16:creationId xmlns:a16="http://schemas.microsoft.com/office/drawing/2014/main" id="{5887C1CC-B225-4FFC-A3B8-558284AEE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4" name="Rectangle 544">
              <a:extLst>
                <a:ext uri="{FF2B5EF4-FFF2-40B4-BE49-F238E27FC236}">
                  <a16:creationId xmlns:a16="http://schemas.microsoft.com/office/drawing/2014/main" id="{08810292-04AA-4A19-ACFF-4DC2BDC8B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5" name="Freeform 545">
              <a:extLst>
                <a:ext uri="{FF2B5EF4-FFF2-40B4-BE49-F238E27FC236}">
                  <a16:creationId xmlns:a16="http://schemas.microsoft.com/office/drawing/2014/main" id="{27E00D46-2A19-455B-89A9-83F5F0818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6" name="Rectangle 546">
              <a:extLst>
                <a:ext uri="{FF2B5EF4-FFF2-40B4-BE49-F238E27FC236}">
                  <a16:creationId xmlns:a16="http://schemas.microsoft.com/office/drawing/2014/main" id="{0E865D8F-04A8-4F3A-A3BC-CA629697AB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" y="2224"/>
              <a:ext cx="31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7" name="Freeform 547">
              <a:extLst>
                <a:ext uri="{FF2B5EF4-FFF2-40B4-BE49-F238E27FC236}">
                  <a16:creationId xmlns:a16="http://schemas.microsoft.com/office/drawing/2014/main" id="{7945E440-513C-477C-A3C5-D86D3C3FC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" y="2224"/>
              <a:ext cx="311" cy="2"/>
            </a:xfrm>
            <a:custGeom>
              <a:avLst/>
              <a:gdLst>
                <a:gd name="T0" fmla="*/ 0 w 311"/>
                <a:gd name="T1" fmla="*/ 2 h 2"/>
                <a:gd name="T2" fmla="*/ 311 w 311"/>
                <a:gd name="T3" fmla="*/ 2 h 2"/>
                <a:gd name="T4" fmla="*/ 311 w 311"/>
                <a:gd name="T5" fmla="*/ 0 h 2"/>
                <a:gd name="T6" fmla="*/ 0 w 3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1" h="2">
                  <a:moveTo>
                    <a:pt x="0" y="2"/>
                  </a:moveTo>
                  <a:lnTo>
                    <a:pt x="311" y="2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8" name="Rectangle 548">
              <a:extLst>
                <a:ext uri="{FF2B5EF4-FFF2-40B4-BE49-F238E27FC236}">
                  <a16:creationId xmlns:a16="http://schemas.microsoft.com/office/drawing/2014/main" id="{02EF9494-41E8-4820-84D0-31CCE3B8A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9" name="Freeform 549">
              <a:extLst>
                <a:ext uri="{FF2B5EF4-FFF2-40B4-BE49-F238E27FC236}">
                  <a16:creationId xmlns:a16="http://schemas.microsoft.com/office/drawing/2014/main" id="{A6FEB2AA-1250-4BBB-ACDC-508657A2D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0" name="Rectangle 550">
              <a:extLst>
                <a:ext uri="{FF2B5EF4-FFF2-40B4-BE49-F238E27FC236}">
                  <a16:creationId xmlns:a16="http://schemas.microsoft.com/office/drawing/2014/main" id="{CD3B29DB-A392-4246-98D0-0FB9E8A9A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0" y="2221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1" name="Freeform 551">
              <a:extLst>
                <a:ext uri="{FF2B5EF4-FFF2-40B4-BE49-F238E27FC236}">
                  <a16:creationId xmlns:a16="http://schemas.microsoft.com/office/drawing/2014/main" id="{486841B1-811C-49BF-A284-03834A4E0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221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13 h 13"/>
                <a:gd name="T3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2" name="Rectangle 552">
              <a:extLst>
                <a:ext uri="{FF2B5EF4-FFF2-40B4-BE49-F238E27FC236}">
                  <a16:creationId xmlns:a16="http://schemas.microsoft.com/office/drawing/2014/main" id="{F371AFCB-0850-489E-8F2E-B7A1E25167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3" name="Freeform 553">
              <a:extLst>
                <a:ext uri="{FF2B5EF4-FFF2-40B4-BE49-F238E27FC236}">
                  <a16:creationId xmlns:a16="http://schemas.microsoft.com/office/drawing/2014/main" id="{B798B6DD-B3FE-4E31-B243-52E3247FC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4" name="Rectangle 554">
              <a:extLst>
                <a:ext uri="{FF2B5EF4-FFF2-40B4-BE49-F238E27FC236}">
                  <a16:creationId xmlns:a16="http://schemas.microsoft.com/office/drawing/2014/main" id="{8C3290F0-8D08-4336-A511-5FDA8C97F2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5" name="Freeform 555">
              <a:extLst>
                <a:ext uri="{FF2B5EF4-FFF2-40B4-BE49-F238E27FC236}">
                  <a16:creationId xmlns:a16="http://schemas.microsoft.com/office/drawing/2014/main" id="{AF960913-7772-4323-8CD7-210333EE8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6" name="Rectangle 556">
              <a:extLst>
                <a:ext uri="{FF2B5EF4-FFF2-40B4-BE49-F238E27FC236}">
                  <a16:creationId xmlns:a16="http://schemas.microsoft.com/office/drawing/2014/main" id="{674AB46D-4EA5-491D-9F5F-058BC8EFC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" y="2221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7" name="Freeform 557">
              <a:extLst>
                <a:ext uri="{FF2B5EF4-FFF2-40B4-BE49-F238E27FC236}">
                  <a16:creationId xmlns:a16="http://schemas.microsoft.com/office/drawing/2014/main" id="{4BC85C2C-2ABF-405F-A0BB-92052ADEF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2221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13 h 13"/>
                <a:gd name="T3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8" name="Rectangle 558">
              <a:extLst>
                <a:ext uri="{FF2B5EF4-FFF2-40B4-BE49-F238E27FC236}">
                  <a16:creationId xmlns:a16="http://schemas.microsoft.com/office/drawing/2014/main" id="{118C307B-FAAD-462A-99FB-793BC0F0E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2224"/>
              <a:ext cx="31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9" name="Freeform 559">
              <a:extLst>
                <a:ext uri="{FF2B5EF4-FFF2-40B4-BE49-F238E27FC236}">
                  <a16:creationId xmlns:a16="http://schemas.microsoft.com/office/drawing/2014/main" id="{2ED208BD-3ACD-48F2-91B2-D817025BD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3" y="2224"/>
              <a:ext cx="311" cy="2"/>
            </a:xfrm>
            <a:custGeom>
              <a:avLst/>
              <a:gdLst>
                <a:gd name="T0" fmla="*/ 0 w 311"/>
                <a:gd name="T1" fmla="*/ 2 h 2"/>
                <a:gd name="T2" fmla="*/ 311 w 311"/>
                <a:gd name="T3" fmla="*/ 2 h 2"/>
                <a:gd name="T4" fmla="*/ 311 w 311"/>
                <a:gd name="T5" fmla="*/ 0 h 2"/>
                <a:gd name="T6" fmla="*/ 0 w 3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1" h="2">
                  <a:moveTo>
                    <a:pt x="0" y="2"/>
                  </a:moveTo>
                  <a:lnTo>
                    <a:pt x="311" y="2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0" name="Rectangle 560">
              <a:extLst>
                <a:ext uri="{FF2B5EF4-FFF2-40B4-BE49-F238E27FC236}">
                  <a16:creationId xmlns:a16="http://schemas.microsoft.com/office/drawing/2014/main" id="{A64C85E2-05A9-4EB5-B7A1-C49D7452C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3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1" name="Freeform 561">
              <a:extLst>
                <a:ext uri="{FF2B5EF4-FFF2-40B4-BE49-F238E27FC236}">
                  <a16:creationId xmlns:a16="http://schemas.microsoft.com/office/drawing/2014/main" id="{2011FC14-DA0D-4888-91B6-D17FE24C8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2" name="Rectangle 562">
              <a:extLst>
                <a:ext uri="{FF2B5EF4-FFF2-40B4-BE49-F238E27FC236}">
                  <a16:creationId xmlns:a16="http://schemas.microsoft.com/office/drawing/2014/main" id="{E2093B76-EE1D-4FB8-8268-B0B81739C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4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3" name="Freeform 563">
              <a:extLst>
                <a:ext uri="{FF2B5EF4-FFF2-40B4-BE49-F238E27FC236}">
                  <a16:creationId xmlns:a16="http://schemas.microsoft.com/office/drawing/2014/main" id="{0A145A7F-A191-46B6-B8F1-DD0361382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4" name="Rectangle 564">
              <a:extLst>
                <a:ext uri="{FF2B5EF4-FFF2-40B4-BE49-F238E27FC236}">
                  <a16:creationId xmlns:a16="http://schemas.microsoft.com/office/drawing/2014/main" id="{5EFA3ADB-069A-47D3-91E0-F956DC503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7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5" name="Freeform 565">
              <a:extLst>
                <a:ext uri="{FF2B5EF4-FFF2-40B4-BE49-F238E27FC236}">
                  <a16:creationId xmlns:a16="http://schemas.microsoft.com/office/drawing/2014/main" id="{CBCA066B-F9B6-4A4B-924F-88965F711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6" name="Rectangle 566">
              <a:extLst>
                <a:ext uri="{FF2B5EF4-FFF2-40B4-BE49-F238E27FC236}">
                  <a16:creationId xmlns:a16="http://schemas.microsoft.com/office/drawing/2014/main" id="{38DBEE5B-677B-439A-AA8D-364958B9A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7" name="Freeform 567">
              <a:extLst>
                <a:ext uri="{FF2B5EF4-FFF2-40B4-BE49-F238E27FC236}">
                  <a16:creationId xmlns:a16="http://schemas.microsoft.com/office/drawing/2014/main" id="{E0E70204-DCF6-4FC6-A09D-36F18383E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8" name="Rectangle 568">
              <a:extLst>
                <a:ext uri="{FF2B5EF4-FFF2-40B4-BE49-F238E27FC236}">
                  <a16:creationId xmlns:a16="http://schemas.microsoft.com/office/drawing/2014/main" id="{D8590D56-83D7-4016-A976-6517FAA1F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1" y="2221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9" name="Freeform 569">
              <a:extLst>
                <a:ext uri="{FF2B5EF4-FFF2-40B4-BE49-F238E27FC236}">
                  <a16:creationId xmlns:a16="http://schemas.microsoft.com/office/drawing/2014/main" id="{FDEE06A2-C89B-41A8-AC8E-C63B5CF0E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221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0" name="Rectangle 570">
              <a:extLst>
                <a:ext uri="{FF2B5EF4-FFF2-40B4-BE49-F238E27FC236}">
                  <a16:creationId xmlns:a16="http://schemas.microsoft.com/office/drawing/2014/main" id="{555671AB-EEC0-4322-9F41-638DF92C6D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" y="2224"/>
              <a:ext cx="31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1" name="Freeform 571">
              <a:extLst>
                <a:ext uri="{FF2B5EF4-FFF2-40B4-BE49-F238E27FC236}">
                  <a16:creationId xmlns:a16="http://schemas.microsoft.com/office/drawing/2014/main" id="{93D07E56-5226-42A6-8E91-17F4F41EE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" y="2224"/>
              <a:ext cx="313" cy="2"/>
            </a:xfrm>
            <a:custGeom>
              <a:avLst/>
              <a:gdLst>
                <a:gd name="T0" fmla="*/ 0 w 313"/>
                <a:gd name="T1" fmla="*/ 2 h 2"/>
                <a:gd name="T2" fmla="*/ 313 w 313"/>
                <a:gd name="T3" fmla="*/ 2 h 2"/>
                <a:gd name="T4" fmla="*/ 313 w 313"/>
                <a:gd name="T5" fmla="*/ 0 h 2"/>
                <a:gd name="T6" fmla="*/ 0 w 31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3" h="2">
                  <a:moveTo>
                    <a:pt x="0" y="2"/>
                  </a:moveTo>
                  <a:lnTo>
                    <a:pt x="313" y="2"/>
                  </a:lnTo>
                  <a:lnTo>
                    <a:pt x="31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2" name="Rectangle 572">
              <a:extLst>
                <a:ext uri="{FF2B5EF4-FFF2-40B4-BE49-F238E27FC236}">
                  <a16:creationId xmlns:a16="http://schemas.microsoft.com/office/drawing/2014/main" id="{478006CE-384A-429B-A510-1599B6FAD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4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3" name="Freeform 573">
              <a:extLst>
                <a:ext uri="{FF2B5EF4-FFF2-40B4-BE49-F238E27FC236}">
                  <a16:creationId xmlns:a16="http://schemas.microsoft.com/office/drawing/2014/main" id="{8AE64040-2773-4D3B-B08C-D3DC0A3E6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4" name="Rectangle 574">
              <a:extLst>
                <a:ext uri="{FF2B5EF4-FFF2-40B4-BE49-F238E27FC236}">
                  <a16:creationId xmlns:a16="http://schemas.microsoft.com/office/drawing/2014/main" id="{A0CF6573-B146-4884-906D-14DAEC16E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5" name="Freeform 575">
              <a:extLst>
                <a:ext uri="{FF2B5EF4-FFF2-40B4-BE49-F238E27FC236}">
                  <a16:creationId xmlns:a16="http://schemas.microsoft.com/office/drawing/2014/main" id="{DCADBADB-F3F7-49B4-8159-FE8610750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6" name="Rectangle 576">
              <a:extLst>
                <a:ext uri="{FF2B5EF4-FFF2-40B4-BE49-F238E27FC236}">
                  <a16:creationId xmlns:a16="http://schemas.microsoft.com/office/drawing/2014/main" id="{3ADDD5FD-8925-450F-85CF-110A9A293A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8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7" name="Freeform 577">
              <a:extLst>
                <a:ext uri="{FF2B5EF4-FFF2-40B4-BE49-F238E27FC236}">
                  <a16:creationId xmlns:a16="http://schemas.microsoft.com/office/drawing/2014/main" id="{9CDC9669-8030-4D52-BE7F-8C292DDD5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8" name="Rectangle 578">
              <a:extLst>
                <a:ext uri="{FF2B5EF4-FFF2-40B4-BE49-F238E27FC236}">
                  <a16:creationId xmlns:a16="http://schemas.microsoft.com/office/drawing/2014/main" id="{F9C8C7C7-3AA6-46B6-AF02-74F20696F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1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9" name="Freeform 579">
              <a:extLst>
                <a:ext uri="{FF2B5EF4-FFF2-40B4-BE49-F238E27FC236}">
                  <a16:creationId xmlns:a16="http://schemas.microsoft.com/office/drawing/2014/main" id="{9C4DC090-E3EC-41D4-A910-2C0F7B554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1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0" name="Rectangle 580">
              <a:extLst>
                <a:ext uri="{FF2B5EF4-FFF2-40B4-BE49-F238E27FC236}">
                  <a16:creationId xmlns:a16="http://schemas.microsoft.com/office/drawing/2014/main" id="{1DBC2B5F-AB77-4A27-BFAB-89BC30064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2221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1" name="Freeform 581">
              <a:extLst>
                <a:ext uri="{FF2B5EF4-FFF2-40B4-BE49-F238E27FC236}">
                  <a16:creationId xmlns:a16="http://schemas.microsoft.com/office/drawing/2014/main" id="{2777DD0E-8471-4864-A29C-7BBCD8DE6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4" y="2221"/>
              <a:ext cx="3" cy="13"/>
            </a:xfrm>
            <a:custGeom>
              <a:avLst/>
              <a:gdLst>
                <a:gd name="T0" fmla="*/ 0 w 3"/>
                <a:gd name="T1" fmla="*/ 0 h 13"/>
                <a:gd name="T2" fmla="*/ 0 w 3"/>
                <a:gd name="T3" fmla="*/ 13 h 13"/>
                <a:gd name="T4" fmla="*/ 3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0" y="0"/>
                  </a:moveTo>
                  <a:lnTo>
                    <a:pt x="0" y="13"/>
                  </a:lnTo>
                  <a:lnTo>
                    <a:pt x="3" y="1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2" name="Rectangle 582">
              <a:extLst>
                <a:ext uri="{FF2B5EF4-FFF2-40B4-BE49-F238E27FC236}">
                  <a16:creationId xmlns:a16="http://schemas.microsoft.com/office/drawing/2014/main" id="{FC324E1B-D599-4AA6-A6EC-5DDB03E4D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" y="2500"/>
              <a:ext cx="246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3" name="Freeform 583">
              <a:extLst>
                <a:ext uri="{FF2B5EF4-FFF2-40B4-BE49-F238E27FC236}">
                  <a16:creationId xmlns:a16="http://schemas.microsoft.com/office/drawing/2014/main" id="{AA95F272-C925-4F2B-92D5-FFE8EC896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2500"/>
              <a:ext cx="2460" cy="2"/>
            </a:xfrm>
            <a:custGeom>
              <a:avLst/>
              <a:gdLst>
                <a:gd name="T0" fmla="*/ 0 w 2460"/>
                <a:gd name="T1" fmla="*/ 2 h 2"/>
                <a:gd name="T2" fmla="*/ 2460 w 2460"/>
                <a:gd name="T3" fmla="*/ 2 h 2"/>
                <a:gd name="T4" fmla="*/ 2460 w 2460"/>
                <a:gd name="T5" fmla="*/ 0 h 2"/>
                <a:gd name="T6" fmla="*/ 0 w 246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0" h="2">
                  <a:moveTo>
                    <a:pt x="0" y="2"/>
                  </a:moveTo>
                  <a:lnTo>
                    <a:pt x="2460" y="2"/>
                  </a:lnTo>
                  <a:lnTo>
                    <a:pt x="246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4" name="Rectangle 584">
              <a:extLst>
                <a:ext uri="{FF2B5EF4-FFF2-40B4-BE49-F238E27FC236}">
                  <a16:creationId xmlns:a16="http://schemas.microsoft.com/office/drawing/2014/main" id="{50F76C90-994C-4C29-AE57-9124BB939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5" name="Freeform 585">
              <a:extLst>
                <a:ext uri="{FF2B5EF4-FFF2-40B4-BE49-F238E27FC236}">
                  <a16:creationId xmlns:a16="http://schemas.microsoft.com/office/drawing/2014/main" id="{7C0F0192-51C8-4872-B0E8-C9C559243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6" name="Rectangle 586">
              <a:extLst>
                <a:ext uri="{FF2B5EF4-FFF2-40B4-BE49-F238E27FC236}">
                  <a16:creationId xmlns:a16="http://schemas.microsoft.com/office/drawing/2014/main" id="{E9CA7381-E5B5-4645-B26B-BCBC6CC76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7" name="Freeform 587">
              <a:extLst>
                <a:ext uri="{FF2B5EF4-FFF2-40B4-BE49-F238E27FC236}">
                  <a16:creationId xmlns:a16="http://schemas.microsoft.com/office/drawing/2014/main" id="{82018BA2-EA68-4B86-9246-521564726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8" name="Rectangle 588">
              <a:extLst>
                <a:ext uri="{FF2B5EF4-FFF2-40B4-BE49-F238E27FC236}">
                  <a16:creationId xmlns:a16="http://schemas.microsoft.com/office/drawing/2014/main" id="{41710DFB-4E14-428A-A371-2E5C2872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4" y="2500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9" name="Freeform 589">
              <a:extLst>
                <a:ext uri="{FF2B5EF4-FFF2-40B4-BE49-F238E27FC236}">
                  <a16:creationId xmlns:a16="http://schemas.microsoft.com/office/drawing/2014/main" id="{0395345A-3EE6-4FED-95F9-490CAA80A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" y="2500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0" name="Rectangle 590">
              <a:extLst>
                <a:ext uri="{FF2B5EF4-FFF2-40B4-BE49-F238E27FC236}">
                  <a16:creationId xmlns:a16="http://schemas.microsoft.com/office/drawing/2014/main" id="{ED531FF4-04F3-4C12-93F1-64EE53ED4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5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1" name="Freeform 591">
              <a:extLst>
                <a:ext uri="{FF2B5EF4-FFF2-40B4-BE49-F238E27FC236}">
                  <a16:creationId xmlns:a16="http://schemas.microsoft.com/office/drawing/2014/main" id="{BDFC7C70-751E-4E2F-B85E-0BCCCB7A3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2" name="Rectangle 592">
              <a:extLst>
                <a:ext uri="{FF2B5EF4-FFF2-40B4-BE49-F238E27FC236}">
                  <a16:creationId xmlns:a16="http://schemas.microsoft.com/office/drawing/2014/main" id="{543DFDB8-2B3E-40B0-BAB2-5659CC324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8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3" name="Freeform 593">
              <a:extLst>
                <a:ext uri="{FF2B5EF4-FFF2-40B4-BE49-F238E27FC236}">
                  <a16:creationId xmlns:a16="http://schemas.microsoft.com/office/drawing/2014/main" id="{696F571A-79A4-48A1-A8C5-CBA4994AA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4" name="Rectangle 594">
              <a:extLst>
                <a:ext uri="{FF2B5EF4-FFF2-40B4-BE49-F238E27FC236}">
                  <a16:creationId xmlns:a16="http://schemas.microsoft.com/office/drawing/2014/main" id="{54DC3C9A-6A5C-4C86-A447-F2376A810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2" y="2500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5" name="Freeform 595">
              <a:extLst>
                <a:ext uri="{FF2B5EF4-FFF2-40B4-BE49-F238E27FC236}">
                  <a16:creationId xmlns:a16="http://schemas.microsoft.com/office/drawing/2014/main" id="{22D67919-B17E-4AB3-92F8-7503682B2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" y="2500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6" name="Rectangle 596">
              <a:extLst>
                <a:ext uri="{FF2B5EF4-FFF2-40B4-BE49-F238E27FC236}">
                  <a16:creationId xmlns:a16="http://schemas.microsoft.com/office/drawing/2014/main" id="{A39BD771-08E9-4E8C-BECD-A8F594EC4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2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7" name="Freeform 597">
              <a:extLst>
                <a:ext uri="{FF2B5EF4-FFF2-40B4-BE49-F238E27FC236}">
                  <a16:creationId xmlns:a16="http://schemas.microsoft.com/office/drawing/2014/main" id="{A95403EF-C662-4B86-AB01-933856DE3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8" name="Rectangle 598">
              <a:extLst>
                <a:ext uri="{FF2B5EF4-FFF2-40B4-BE49-F238E27FC236}">
                  <a16:creationId xmlns:a16="http://schemas.microsoft.com/office/drawing/2014/main" id="{F0CC0B0D-59D1-4CAB-829B-26EC2009D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5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9" name="Freeform 599">
              <a:extLst>
                <a:ext uri="{FF2B5EF4-FFF2-40B4-BE49-F238E27FC236}">
                  <a16:creationId xmlns:a16="http://schemas.microsoft.com/office/drawing/2014/main" id="{B8B18276-B241-489B-9148-B8FAC0364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5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0" name="Rectangle 600">
              <a:extLst>
                <a:ext uri="{FF2B5EF4-FFF2-40B4-BE49-F238E27FC236}">
                  <a16:creationId xmlns:a16="http://schemas.microsoft.com/office/drawing/2014/main" id="{783B0948-699F-4F80-8172-D4E36BDD9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9" y="2500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1" name="Freeform 601">
              <a:extLst>
                <a:ext uri="{FF2B5EF4-FFF2-40B4-BE49-F238E27FC236}">
                  <a16:creationId xmlns:a16="http://schemas.microsoft.com/office/drawing/2014/main" id="{1EA99909-F134-4D7B-84F1-44B324B8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" y="2500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2" name="Rectangle 602">
              <a:extLst>
                <a:ext uri="{FF2B5EF4-FFF2-40B4-BE49-F238E27FC236}">
                  <a16:creationId xmlns:a16="http://schemas.microsoft.com/office/drawing/2014/main" id="{A507927E-1FF7-4946-BA2E-00B5E08C2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" y="2500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3" name="Freeform 603">
              <a:extLst>
                <a:ext uri="{FF2B5EF4-FFF2-40B4-BE49-F238E27FC236}">
                  <a16:creationId xmlns:a16="http://schemas.microsoft.com/office/drawing/2014/main" id="{46E4A385-E088-48E7-9387-56079CB56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" y="2500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4" name="Rectangle 604">
              <a:extLst>
                <a:ext uri="{FF2B5EF4-FFF2-40B4-BE49-F238E27FC236}">
                  <a16:creationId xmlns:a16="http://schemas.microsoft.com/office/drawing/2014/main" id="{975CC2F5-DD83-466A-8399-83B3ED7297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2500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5" name="Freeform 605">
              <a:extLst>
                <a:ext uri="{FF2B5EF4-FFF2-40B4-BE49-F238E27FC236}">
                  <a16:creationId xmlns:a16="http://schemas.microsoft.com/office/drawing/2014/main" id="{867931DF-9226-495B-8411-F99C0CE75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3" y="2500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6" name="Rectangle 606">
              <a:extLst>
                <a:ext uri="{FF2B5EF4-FFF2-40B4-BE49-F238E27FC236}">
                  <a16:creationId xmlns:a16="http://schemas.microsoft.com/office/drawing/2014/main" id="{E00368B6-B126-410D-B843-808125118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6" y="2500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36" name="Group 1009">
            <a:extLst>
              <a:ext uri="{FF2B5EF4-FFF2-40B4-BE49-F238E27FC236}">
                <a16:creationId xmlns:a16="http://schemas.microsoft.com/office/drawing/2014/main" id="{AB3304D6-E41A-4AD6-AF00-1D6EAA9858BC}"/>
              </a:ext>
            </a:extLst>
          </p:cNvPr>
          <p:cNvGrpSpPr>
            <a:grpSpLocks/>
          </p:cNvGrpSpPr>
          <p:nvPr/>
        </p:nvGrpSpPr>
        <p:grpSpPr bwMode="auto">
          <a:xfrm>
            <a:off x="699942" y="3571024"/>
            <a:ext cx="6254550" cy="925034"/>
            <a:chOff x="963" y="2087"/>
            <a:chExt cx="2825" cy="418"/>
          </a:xfrm>
        </p:grpSpPr>
        <p:sp>
          <p:nvSpPr>
            <p:cNvPr id="1537" name="Rectangle 809">
              <a:extLst>
                <a:ext uri="{FF2B5EF4-FFF2-40B4-BE49-F238E27FC236}">
                  <a16:creationId xmlns:a16="http://schemas.microsoft.com/office/drawing/2014/main" id="{F0967DE9-51E8-4672-8AF8-C561BE855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348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8" name="Freeform 810">
              <a:extLst>
                <a:ext uri="{FF2B5EF4-FFF2-40B4-BE49-F238E27FC236}">
                  <a16:creationId xmlns:a16="http://schemas.microsoft.com/office/drawing/2014/main" id="{EA18677B-480B-4A2A-AE78-5315FC722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" y="2348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9" name="Rectangle 811">
              <a:extLst>
                <a:ext uri="{FF2B5EF4-FFF2-40B4-BE49-F238E27FC236}">
                  <a16:creationId xmlns:a16="http://schemas.microsoft.com/office/drawing/2014/main" id="{99D04547-73D4-4A69-AECA-047C581935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" y="2348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0" name="Freeform 812">
              <a:extLst>
                <a:ext uri="{FF2B5EF4-FFF2-40B4-BE49-F238E27FC236}">
                  <a16:creationId xmlns:a16="http://schemas.microsoft.com/office/drawing/2014/main" id="{BD0E821C-B32D-4451-9285-02A6EA56B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" y="2348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1" name="Rectangle 813">
              <a:extLst>
                <a:ext uri="{FF2B5EF4-FFF2-40B4-BE49-F238E27FC236}">
                  <a16:creationId xmlns:a16="http://schemas.microsoft.com/office/drawing/2014/main" id="{C6BB1805-D464-4303-848D-5B08DF6AC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348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2" name="Freeform 814">
              <a:extLst>
                <a:ext uri="{FF2B5EF4-FFF2-40B4-BE49-F238E27FC236}">
                  <a16:creationId xmlns:a16="http://schemas.microsoft.com/office/drawing/2014/main" id="{4EBAAE38-F274-46C0-9288-5FE091606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" y="2348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3" name="Rectangle 815">
              <a:extLst>
                <a:ext uri="{FF2B5EF4-FFF2-40B4-BE49-F238E27FC236}">
                  <a16:creationId xmlns:a16="http://schemas.microsoft.com/office/drawing/2014/main" id="{A3839355-4A94-456A-AEDB-2D6C2CF9F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5" y="2348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4" name="Freeform 816">
              <a:extLst>
                <a:ext uri="{FF2B5EF4-FFF2-40B4-BE49-F238E27FC236}">
                  <a16:creationId xmlns:a16="http://schemas.microsoft.com/office/drawing/2014/main" id="{FC8A27E4-CABC-41CD-AED0-B11E29CA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" y="2348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5" name="Rectangle 817">
              <a:extLst>
                <a:ext uri="{FF2B5EF4-FFF2-40B4-BE49-F238E27FC236}">
                  <a16:creationId xmlns:a16="http://schemas.microsoft.com/office/drawing/2014/main" id="{060A618B-E623-4EEF-BB1D-CD33E7CCB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6" y="2348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6" name="Freeform 818">
              <a:extLst>
                <a:ext uri="{FF2B5EF4-FFF2-40B4-BE49-F238E27FC236}">
                  <a16:creationId xmlns:a16="http://schemas.microsoft.com/office/drawing/2014/main" id="{FC70EF28-E98D-41D6-8BC4-B8EFFF41B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6" y="2348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7" name="Rectangle 819">
              <a:extLst>
                <a:ext uri="{FF2B5EF4-FFF2-40B4-BE49-F238E27FC236}">
                  <a16:creationId xmlns:a16="http://schemas.microsoft.com/office/drawing/2014/main" id="{2D856894-A32F-4DD2-A7B2-247DE8049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9" y="2348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8" name="Freeform 820">
              <a:extLst>
                <a:ext uri="{FF2B5EF4-FFF2-40B4-BE49-F238E27FC236}">
                  <a16:creationId xmlns:a16="http://schemas.microsoft.com/office/drawing/2014/main" id="{8B7EED95-0431-43A6-92DD-58CAEA036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2348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9" name="Rectangle 821">
              <a:extLst>
                <a:ext uri="{FF2B5EF4-FFF2-40B4-BE49-F238E27FC236}">
                  <a16:creationId xmlns:a16="http://schemas.microsoft.com/office/drawing/2014/main" id="{118CA025-4DD5-4434-AB6F-C44C4739D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" y="2348"/>
              <a:ext cx="1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0" name="Freeform 822">
              <a:extLst>
                <a:ext uri="{FF2B5EF4-FFF2-40B4-BE49-F238E27FC236}">
                  <a16:creationId xmlns:a16="http://schemas.microsoft.com/office/drawing/2014/main" id="{1BB2B6FA-AE1D-4ACE-A98B-B6564D990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2348"/>
              <a:ext cx="0" cy="10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1" name="Rectangle 823">
              <a:extLst>
                <a:ext uri="{FF2B5EF4-FFF2-40B4-BE49-F238E27FC236}">
                  <a16:creationId xmlns:a16="http://schemas.microsoft.com/office/drawing/2014/main" id="{007966CE-4D91-4058-A063-28C89B39F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0" y="2409"/>
              <a:ext cx="25" cy="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2" name="Freeform 824">
              <a:extLst>
                <a:ext uri="{FF2B5EF4-FFF2-40B4-BE49-F238E27FC236}">
                  <a16:creationId xmlns:a16="http://schemas.microsoft.com/office/drawing/2014/main" id="{B888C9A3-B9DD-4709-82C5-B6B145AB5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7" y="2406"/>
              <a:ext cx="31" cy="66"/>
            </a:xfrm>
            <a:custGeom>
              <a:avLst/>
              <a:gdLst>
                <a:gd name="T0" fmla="*/ 28 w 31"/>
                <a:gd name="T1" fmla="*/ 63 h 66"/>
                <a:gd name="T2" fmla="*/ 28 w 31"/>
                <a:gd name="T3" fmla="*/ 63 h 66"/>
                <a:gd name="T4" fmla="*/ 3 w 31"/>
                <a:gd name="T5" fmla="*/ 63 h 66"/>
                <a:gd name="T6" fmla="*/ 3 w 31"/>
                <a:gd name="T7" fmla="*/ 3 h 66"/>
                <a:gd name="T8" fmla="*/ 28 w 31"/>
                <a:gd name="T9" fmla="*/ 3 h 66"/>
                <a:gd name="T10" fmla="*/ 28 w 31"/>
                <a:gd name="T11" fmla="*/ 63 h 66"/>
                <a:gd name="T12" fmla="*/ 28 w 31"/>
                <a:gd name="T13" fmla="*/ 63 h 66"/>
                <a:gd name="T14" fmla="*/ 28 w 31"/>
                <a:gd name="T15" fmla="*/ 63 h 66"/>
                <a:gd name="T16" fmla="*/ 28 w 31"/>
                <a:gd name="T17" fmla="*/ 63 h 66"/>
                <a:gd name="T18" fmla="*/ 31 w 31"/>
                <a:gd name="T19" fmla="*/ 63 h 66"/>
                <a:gd name="T20" fmla="*/ 31 w 31"/>
                <a:gd name="T21" fmla="*/ 0 h 66"/>
                <a:gd name="T22" fmla="*/ 0 w 31"/>
                <a:gd name="T23" fmla="*/ 0 h 66"/>
                <a:gd name="T24" fmla="*/ 0 w 31"/>
                <a:gd name="T25" fmla="*/ 66 h 66"/>
                <a:gd name="T26" fmla="*/ 31 w 31"/>
                <a:gd name="T27" fmla="*/ 66 h 66"/>
                <a:gd name="T28" fmla="*/ 31 w 31"/>
                <a:gd name="T29" fmla="*/ 63 h 66"/>
                <a:gd name="T30" fmla="*/ 28 w 31"/>
                <a:gd name="T31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66">
                  <a:moveTo>
                    <a:pt x="28" y="63"/>
                  </a:moveTo>
                  <a:lnTo>
                    <a:pt x="28" y="63"/>
                  </a:lnTo>
                  <a:lnTo>
                    <a:pt x="3" y="63"/>
                  </a:lnTo>
                  <a:lnTo>
                    <a:pt x="3" y="3"/>
                  </a:lnTo>
                  <a:lnTo>
                    <a:pt x="28" y="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31" y="63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28" y="6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3" name="Oval 825">
              <a:extLst>
                <a:ext uri="{FF2B5EF4-FFF2-40B4-BE49-F238E27FC236}">
                  <a16:creationId xmlns:a16="http://schemas.microsoft.com/office/drawing/2014/main" id="{0E35DE28-B0FC-466A-BE89-3A61DA0A3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7" y="2434"/>
              <a:ext cx="10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4" name="Freeform 826">
              <a:extLst>
                <a:ext uri="{FF2B5EF4-FFF2-40B4-BE49-F238E27FC236}">
                  <a16:creationId xmlns:a16="http://schemas.microsoft.com/office/drawing/2014/main" id="{F2A090DB-1433-4BD9-B5A8-195E6030F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2434"/>
              <a:ext cx="15" cy="12"/>
            </a:xfrm>
            <a:custGeom>
              <a:avLst/>
              <a:gdLst>
                <a:gd name="T0" fmla="*/ 5 w 6"/>
                <a:gd name="T1" fmla="*/ 3 h 5"/>
                <a:gd name="T2" fmla="*/ 5 w 6"/>
                <a:gd name="T3" fmla="*/ 3 h 5"/>
                <a:gd name="T4" fmla="*/ 3 w 6"/>
                <a:gd name="T5" fmla="*/ 5 h 5"/>
                <a:gd name="T6" fmla="*/ 1 w 6"/>
                <a:gd name="T7" fmla="*/ 3 h 5"/>
                <a:gd name="T8" fmla="*/ 3 w 6"/>
                <a:gd name="T9" fmla="*/ 1 h 5"/>
                <a:gd name="T10" fmla="*/ 5 w 6"/>
                <a:gd name="T11" fmla="*/ 3 h 5"/>
                <a:gd name="T12" fmla="*/ 5 w 6"/>
                <a:gd name="T13" fmla="*/ 3 h 5"/>
                <a:gd name="T14" fmla="*/ 6 w 6"/>
                <a:gd name="T15" fmla="*/ 3 h 5"/>
                <a:gd name="T16" fmla="*/ 3 w 6"/>
                <a:gd name="T17" fmla="*/ 0 h 5"/>
                <a:gd name="T18" fmla="*/ 0 w 6"/>
                <a:gd name="T19" fmla="*/ 3 h 5"/>
                <a:gd name="T20" fmla="*/ 3 w 6"/>
                <a:gd name="T21" fmla="*/ 5 h 5"/>
                <a:gd name="T22" fmla="*/ 6 w 6"/>
                <a:gd name="T23" fmla="*/ 3 h 5"/>
                <a:gd name="T24" fmla="*/ 5 w 6"/>
                <a:gd name="T2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5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5"/>
                    <a:pt x="3" y="5"/>
                  </a:cubicBezTo>
                  <a:cubicBezTo>
                    <a:pt x="5" y="5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5" name="Oval 827">
              <a:extLst>
                <a:ext uri="{FF2B5EF4-FFF2-40B4-BE49-F238E27FC236}">
                  <a16:creationId xmlns:a16="http://schemas.microsoft.com/office/drawing/2014/main" id="{5FE713E2-3A25-4E4E-8D5B-0690B1563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7" y="2419"/>
              <a:ext cx="10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6" name="Freeform 828">
              <a:extLst>
                <a:ext uri="{FF2B5EF4-FFF2-40B4-BE49-F238E27FC236}">
                  <a16:creationId xmlns:a16="http://schemas.microsoft.com/office/drawing/2014/main" id="{7DAFDE26-ACF9-40F9-B535-160DDE307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2416"/>
              <a:ext cx="15" cy="15"/>
            </a:xfrm>
            <a:custGeom>
              <a:avLst/>
              <a:gdLst>
                <a:gd name="T0" fmla="*/ 5 w 6"/>
                <a:gd name="T1" fmla="*/ 3 h 6"/>
                <a:gd name="T2" fmla="*/ 5 w 6"/>
                <a:gd name="T3" fmla="*/ 3 h 6"/>
                <a:gd name="T4" fmla="*/ 3 w 6"/>
                <a:gd name="T5" fmla="*/ 5 h 6"/>
                <a:gd name="T6" fmla="*/ 1 w 6"/>
                <a:gd name="T7" fmla="*/ 3 h 6"/>
                <a:gd name="T8" fmla="*/ 3 w 6"/>
                <a:gd name="T9" fmla="*/ 1 h 6"/>
                <a:gd name="T10" fmla="*/ 5 w 6"/>
                <a:gd name="T11" fmla="*/ 3 h 6"/>
                <a:gd name="T12" fmla="*/ 5 w 6"/>
                <a:gd name="T13" fmla="*/ 3 h 6"/>
                <a:gd name="T14" fmla="*/ 6 w 6"/>
                <a:gd name="T15" fmla="*/ 3 h 6"/>
                <a:gd name="T16" fmla="*/ 3 w 6"/>
                <a:gd name="T17" fmla="*/ 0 h 6"/>
                <a:gd name="T18" fmla="*/ 0 w 6"/>
                <a:gd name="T19" fmla="*/ 3 h 6"/>
                <a:gd name="T20" fmla="*/ 3 w 6"/>
                <a:gd name="T21" fmla="*/ 6 h 6"/>
                <a:gd name="T22" fmla="*/ 6 w 6"/>
                <a:gd name="T23" fmla="*/ 3 h 6"/>
                <a:gd name="T24" fmla="*/ 5 w 6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6"/>
                    <a:pt x="3" y="6"/>
                  </a:cubicBezTo>
                  <a:cubicBezTo>
                    <a:pt x="5" y="6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7" name="Oval 829">
              <a:extLst>
                <a:ext uri="{FF2B5EF4-FFF2-40B4-BE49-F238E27FC236}">
                  <a16:creationId xmlns:a16="http://schemas.microsoft.com/office/drawing/2014/main" id="{30DB7933-30B0-463A-A1C9-665EEB485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7" y="2452"/>
              <a:ext cx="10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8" name="Freeform 830">
              <a:extLst>
                <a:ext uri="{FF2B5EF4-FFF2-40B4-BE49-F238E27FC236}">
                  <a16:creationId xmlns:a16="http://schemas.microsoft.com/office/drawing/2014/main" id="{C785315F-35B6-4461-8721-812AFBA35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2452"/>
              <a:ext cx="15" cy="12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2 h 5"/>
                <a:gd name="T4" fmla="*/ 3 w 6"/>
                <a:gd name="T5" fmla="*/ 4 h 5"/>
                <a:gd name="T6" fmla="*/ 1 w 6"/>
                <a:gd name="T7" fmla="*/ 2 h 5"/>
                <a:gd name="T8" fmla="*/ 3 w 6"/>
                <a:gd name="T9" fmla="*/ 1 h 5"/>
                <a:gd name="T10" fmla="*/ 5 w 6"/>
                <a:gd name="T11" fmla="*/ 2 h 5"/>
                <a:gd name="T12" fmla="*/ 5 w 6"/>
                <a:gd name="T13" fmla="*/ 2 h 5"/>
                <a:gd name="T14" fmla="*/ 6 w 6"/>
                <a:gd name="T15" fmla="*/ 2 h 5"/>
                <a:gd name="T16" fmla="*/ 3 w 6"/>
                <a:gd name="T17" fmla="*/ 0 h 5"/>
                <a:gd name="T18" fmla="*/ 0 w 6"/>
                <a:gd name="T19" fmla="*/ 2 h 5"/>
                <a:gd name="T20" fmla="*/ 3 w 6"/>
                <a:gd name="T21" fmla="*/ 5 h 5"/>
                <a:gd name="T22" fmla="*/ 6 w 6"/>
                <a:gd name="T23" fmla="*/ 2 h 5"/>
                <a:gd name="T24" fmla="*/ 5 w 6"/>
                <a:gd name="T2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4" y="4"/>
                    <a:pt x="3" y="4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1"/>
                    <a:pt x="5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0" y="4"/>
                    <a:pt x="2" y="5"/>
                    <a:pt x="3" y="5"/>
                  </a:cubicBezTo>
                  <a:cubicBezTo>
                    <a:pt x="5" y="5"/>
                    <a:pt x="6" y="4"/>
                    <a:pt x="6" y="2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9" name="Rectangle 831">
              <a:extLst>
                <a:ext uri="{FF2B5EF4-FFF2-40B4-BE49-F238E27FC236}">
                  <a16:creationId xmlns:a16="http://schemas.microsoft.com/office/drawing/2014/main" id="{BCE5263E-388E-4460-B5B6-474A079F3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0" y="2472"/>
              <a:ext cx="2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0" name="Freeform 832">
              <a:extLst>
                <a:ext uri="{FF2B5EF4-FFF2-40B4-BE49-F238E27FC236}">
                  <a16:creationId xmlns:a16="http://schemas.microsoft.com/office/drawing/2014/main" id="{E012F06C-44B2-4B88-83DC-C2D0FD767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" y="2472"/>
              <a:ext cx="2" cy="33"/>
            </a:xfrm>
            <a:custGeom>
              <a:avLst/>
              <a:gdLst>
                <a:gd name="T0" fmla="*/ 0 w 2"/>
                <a:gd name="T1" fmla="*/ 0 h 33"/>
                <a:gd name="T2" fmla="*/ 0 w 2"/>
                <a:gd name="T3" fmla="*/ 33 h 33"/>
                <a:gd name="T4" fmla="*/ 2 w 2"/>
                <a:gd name="T5" fmla="*/ 33 h 33"/>
                <a:gd name="T6" fmla="*/ 2 w 2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3">
                  <a:moveTo>
                    <a:pt x="0" y="0"/>
                  </a:moveTo>
                  <a:lnTo>
                    <a:pt x="0" y="33"/>
                  </a:lnTo>
                  <a:lnTo>
                    <a:pt x="2" y="3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1" name="Rectangle 833">
              <a:extLst>
                <a:ext uri="{FF2B5EF4-FFF2-40B4-BE49-F238E27FC236}">
                  <a16:creationId xmlns:a16="http://schemas.microsoft.com/office/drawing/2014/main" id="{7FAC28D7-3166-4DDB-8D05-C1A49BA5D7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" y="2472"/>
              <a:ext cx="2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2" name="Freeform 834">
              <a:extLst>
                <a:ext uri="{FF2B5EF4-FFF2-40B4-BE49-F238E27FC236}">
                  <a16:creationId xmlns:a16="http://schemas.microsoft.com/office/drawing/2014/main" id="{4AE3E1B0-7ED2-4192-95C5-59F9D851B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2472"/>
              <a:ext cx="2" cy="33"/>
            </a:xfrm>
            <a:custGeom>
              <a:avLst/>
              <a:gdLst>
                <a:gd name="T0" fmla="*/ 0 w 2"/>
                <a:gd name="T1" fmla="*/ 0 h 33"/>
                <a:gd name="T2" fmla="*/ 0 w 2"/>
                <a:gd name="T3" fmla="*/ 33 h 33"/>
                <a:gd name="T4" fmla="*/ 2 w 2"/>
                <a:gd name="T5" fmla="*/ 33 h 33"/>
                <a:gd name="T6" fmla="*/ 2 w 2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3">
                  <a:moveTo>
                    <a:pt x="0" y="0"/>
                  </a:moveTo>
                  <a:lnTo>
                    <a:pt x="0" y="33"/>
                  </a:lnTo>
                  <a:lnTo>
                    <a:pt x="2" y="3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3" name="Freeform 835">
              <a:extLst>
                <a:ext uri="{FF2B5EF4-FFF2-40B4-BE49-F238E27FC236}">
                  <a16:creationId xmlns:a16="http://schemas.microsoft.com/office/drawing/2014/main" id="{22FA0630-5AF0-414D-B099-3E43698AE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" y="2388"/>
              <a:ext cx="20" cy="5"/>
            </a:xfrm>
            <a:custGeom>
              <a:avLst/>
              <a:gdLst>
                <a:gd name="T0" fmla="*/ 8 w 8"/>
                <a:gd name="T1" fmla="*/ 2 h 2"/>
                <a:gd name="T2" fmla="*/ 4 w 8"/>
                <a:gd name="T3" fmla="*/ 0 h 2"/>
                <a:gd name="T4" fmla="*/ 0 w 8"/>
                <a:gd name="T5" fmla="*/ 2 h 2"/>
                <a:gd name="T6" fmla="*/ 1 w 8"/>
                <a:gd name="T7" fmla="*/ 2 h 2"/>
                <a:gd name="T8" fmla="*/ 4 w 8"/>
                <a:gd name="T9" fmla="*/ 1 h 2"/>
                <a:gd name="T10" fmla="*/ 7 w 8"/>
                <a:gd name="T11" fmla="*/ 2 h 2"/>
                <a:gd name="T12" fmla="*/ 8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4" name="Freeform 836">
              <a:extLst>
                <a:ext uri="{FF2B5EF4-FFF2-40B4-BE49-F238E27FC236}">
                  <a16:creationId xmlns:a16="http://schemas.microsoft.com/office/drawing/2014/main" id="{8D25B282-40F7-4D74-9178-9BA7F7E99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378"/>
              <a:ext cx="35" cy="10"/>
            </a:xfrm>
            <a:custGeom>
              <a:avLst/>
              <a:gdLst>
                <a:gd name="T0" fmla="*/ 14 w 14"/>
                <a:gd name="T1" fmla="*/ 4 h 4"/>
                <a:gd name="T2" fmla="*/ 7 w 14"/>
                <a:gd name="T3" fmla="*/ 0 h 4"/>
                <a:gd name="T4" fmla="*/ 0 w 14"/>
                <a:gd name="T5" fmla="*/ 3 h 4"/>
                <a:gd name="T6" fmla="*/ 1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4"/>
                  </a:moveTo>
                  <a:cubicBezTo>
                    <a:pt x="13" y="1"/>
                    <a:pt x="10" y="0"/>
                    <a:pt x="7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2"/>
                    <a:pt x="5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4"/>
                    <a:pt x="14" y="4"/>
                    <a:pt x="14" y="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5" name="Freeform 837">
              <a:extLst>
                <a:ext uri="{FF2B5EF4-FFF2-40B4-BE49-F238E27FC236}">
                  <a16:creationId xmlns:a16="http://schemas.microsoft.com/office/drawing/2014/main" id="{3F4E8678-6FB7-4B15-BA47-101B36C26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" y="2368"/>
              <a:ext cx="51" cy="15"/>
            </a:xfrm>
            <a:custGeom>
              <a:avLst/>
              <a:gdLst>
                <a:gd name="T0" fmla="*/ 20 w 20"/>
                <a:gd name="T1" fmla="*/ 5 h 6"/>
                <a:gd name="T2" fmla="*/ 10 w 20"/>
                <a:gd name="T3" fmla="*/ 0 h 6"/>
                <a:gd name="T4" fmla="*/ 0 w 20"/>
                <a:gd name="T5" fmla="*/ 5 h 6"/>
                <a:gd name="T6" fmla="*/ 1 w 20"/>
                <a:gd name="T7" fmla="*/ 5 h 6"/>
                <a:gd name="T8" fmla="*/ 10 w 20"/>
                <a:gd name="T9" fmla="*/ 1 h 6"/>
                <a:gd name="T10" fmla="*/ 20 w 20"/>
                <a:gd name="T11" fmla="*/ 6 h 6"/>
                <a:gd name="T12" fmla="*/ 2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20" y="5"/>
                  </a:moveTo>
                  <a:cubicBezTo>
                    <a:pt x="18" y="2"/>
                    <a:pt x="14" y="0"/>
                    <a:pt x="10" y="0"/>
                  </a:cubicBezTo>
                  <a:cubicBezTo>
                    <a:pt x="6" y="0"/>
                    <a:pt x="2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3"/>
                    <a:pt x="6" y="1"/>
                    <a:pt x="10" y="1"/>
                  </a:cubicBezTo>
                  <a:cubicBezTo>
                    <a:pt x="14" y="1"/>
                    <a:pt x="18" y="3"/>
                    <a:pt x="20" y="6"/>
                  </a:cubicBezTo>
                  <a:cubicBezTo>
                    <a:pt x="20" y="5"/>
                    <a:pt x="20" y="5"/>
                    <a:pt x="20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6" name="Rectangle 838">
              <a:extLst>
                <a:ext uri="{FF2B5EF4-FFF2-40B4-BE49-F238E27FC236}">
                  <a16:creationId xmlns:a16="http://schemas.microsoft.com/office/drawing/2014/main" id="{AF4494D5-E4EA-40E9-9EC1-6B7C6F11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2254"/>
              <a:ext cx="25" cy="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7" name="Freeform 839">
              <a:extLst>
                <a:ext uri="{FF2B5EF4-FFF2-40B4-BE49-F238E27FC236}">
                  <a16:creationId xmlns:a16="http://schemas.microsoft.com/office/drawing/2014/main" id="{44F5AA74-F137-4B91-AE06-998FE8348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254"/>
              <a:ext cx="31" cy="63"/>
            </a:xfrm>
            <a:custGeom>
              <a:avLst/>
              <a:gdLst>
                <a:gd name="T0" fmla="*/ 28 w 31"/>
                <a:gd name="T1" fmla="*/ 63 h 63"/>
                <a:gd name="T2" fmla="*/ 28 w 31"/>
                <a:gd name="T3" fmla="*/ 61 h 63"/>
                <a:gd name="T4" fmla="*/ 3 w 31"/>
                <a:gd name="T5" fmla="*/ 61 h 63"/>
                <a:gd name="T6" fmla="*/ 3 w 31"/>
                <a:gd name="T7" fmla="*/ 0 h 63"/>
                <a:gd name="T8" fmla="*/ 28 w 31"/>
                <a:gd name="T9" fmla="*/ 0 h 63"/>
                <a:gd name="T10" fmla="*/ 28 w 31"/>
                <a:gd name="T11" fmla="*/ 63 h 63"/>
                <a:gd name="T12" fmla="*/ 28 w 31"/>
                <a:gd name="T13" fmla="*/ 63 h 63"/>
                <a:gd name="T14" fmla="*/ 28 w 31"/>
                <a:gd name="T15" fmla="*/ 61 h 63"/>
                <a:gd name="T16" fmla="*/ 28 w 31"/>
                <a:gd name="T17" fmla="*/ 63 h 63"/>
                <a:gd name="T18" fmla="*/ 31 w 31"/>
                <a:gd name="T19" fmla="*/ 63 h 63"/>
                <a:gd name="T20" fmla="*/ 31 w 31"/>
                <a:gd name="T21" fmla="*/ 0 h 63"/>
                <a:gd name="T22" fmla="*/ 0 w 31"/>
                <a:gd name="T23" fmla="*/ 0 h 63"/>
                <a:gd name="T24" fmla="*/ 0 w 31"/>
                <a:gd name="T25" fmla="*/ 63 h 63"/>
                <a:gd name="T26" fmla="*/ 31 w 31"/>
                <a:gd name="T27" fmla="*/ 63 h 63"/>
                <a:gd name="T28" fmla="*/ 31 w 31"/>
                <a:gd name="T29" fmla="*/ 63 h 63"/>
                <a:gd name="T30" fmla="*/ 28 w 31"/>
                <a:gd name="T3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63">
                  <a:moveTo>
                    <a:pt x="28" y="63"/>
                  </a:moveTo>
                  <a:lnTo>
                    <a:pt x="28" y="61"/>
                  </a:lnTo>
                  <a:lnTo>
                    <a:pt x="3" y="61"/>
                  </a:lnTo>
                  <a:lnTo>
                    <a:pt x="3" y="0"/>
                  </a:lnTo>
                  <a:lnTo>
                    <a:pt x="28" y="0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1"/>
                  </a:lnTo>
                  <a:lnTo>
                    <a:pt x="28" y="63"/>
                  </a:lnTo>
                  <a:lnTo>
                    <a:pt x="31" y="63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28" y="6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8" name="Oval 840">
              <a:extLst>
                <a:ext uri="{FF2B5EF4-FFF2-40B4-BE49-F238E27FC236}">
                  <a16:creationId xmlns:a16="http://schemas.microsoft.com/office/drawing/2014/main" id="{78215B71-A854-4F85-84D5-D51D8C84E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2282"/>
              <a:ext cx="10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9" name="Freeform 841">
              <a:extLst>
                <a:ext uri="{FF2B5EF4-FFF2-40B4-BE49-F238E27FC236}">
                  <a16:creationId xmlns:a16="http://schemas.microsoft.com/office/drawing/2014/main" id="{6A357758-2A40-41BE-A20E-AA8FD8A07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2280"/>
              <a:ext cx="15" cy="15"/>
            </a:xfrm>
            <a:custGeom>
              <a:avLst/>
              <a:gdLst>
                <a:gd name="T0" fmla="*/ 5 w 6"/>
                <a:gd name="T1" fmla="*/ 3 h 6"/>
                <a:gd name="T2" fmla="*/ 5 w 6"/>
                <a:gd name="T3" fmla="*/ 3 h 6"/>
                <a:gd name="T4" fmla="*/ 3 w 6"/>
                <a:gd name="T5" fmla="*/ 5 h 6"/>
                <a:gd name="T6" fmla="*/ 1 w 6"/>
                <a:gd name="T7" fmla="*/ 3 h 6"/>
                <a:gd name="T8" fmla="*/ 3 w 6"/>
                <a:gd name="T9" fmla="*/ 1 h 6"/>
                <a:gd name="T10" fmla="*/ 5 w 6"/>
                <a:gd name="T11" fmla="*/ 3 h 6"/>
                <a:gd name="T12" fmla="*/ 5 w 6"/>
                <a:gd name="T13" fmla="*/ 3 h 6"/>
                <a:gd name="T14" fmla="*/ 6 w 6"/>
                <a:gd name="T15" fmla="*/ 3 h 6"/>
                <a:gd name="T16" fmla="*/ 3 w 6"/>
                <a:gd name="T17" fmla="*/ 0 h 6"/>
                <a:gd name="T18" fmla="*/ 0 w 6"/>
                <a:gd name="T19" fmla="*/ 3 h 6"/>
                <a:gd name="T20" fmla="*/ 3 w 6"/>
                <a:gd name="T21" fmla="*/ 6 h 6"/>
                <a:gd name="T22" fmla="*/ 6 w 6"/>
                <a:gd name="T23" fmla="*/ 3 h 6"/>
                <a:gd name="T24" fmla="*/ 5 w 6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4" y="6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0" name="Oval 842">
              <a:extLst>
                <a:ext uri="{FF2B5EF4-FFF2-40B4-BE49-F238E27FC236}">
                  <a16:creationId xmlns:a16="http://schemas.microsoft.com/office/drawing/2014/main" id="{367730F8-656B-4451-AB54-BF649BD07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2264"/>
              <a:ext cx="10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1" name="Freeform 843">
              <a:extLst>
                <a:ext uri="{FF2B5EF4-FFF2-40B4-BE49-F238E27FC236}">
                  <a16:creationId xmlns:a16="http://schemas.microsoft.com/office/drawing/2014/main" id="{6126D627-7C59-4E89-ADB2-63069CB45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2262"/>
              <a:ext cx="15" cy="15"/>
            </a:xfrm>
            <a:custGeom>
              <a:avLst/>
              <a:gdLst>
                <a:gd name="T0" fmla="*/ 5 w 6"/>
                <a:gd name="T1" fmla="*/ 3 h 6"/>
                <a:gd name="T2" fmla="*/ 5 w 6"/>
                <a:gd name="T3" fmla="*/ 3 h 6"/>
                <a:gd name="T4" fmla="*/ 3 w 6"/>
                <a:gd name="T5" fmla="*/ 5 h 6"/>
                <a:gd name="T6" fmla="*/ 1 w 6"/>
                <a:gd name="T7" fmla="*/ 3 h 6"/>
                <a:gd name="T8" fmla="*/ 3 w 6"/>
                <a:gd name="T9" fmla="*/ 1 h 6"/>
                <a:gd name="T10" fmla="*/ 5 w 6"/>
                <a:gd name="T11" fmla="*/ 3 h 6"/>
                <a:gd name="T12" fmla="*/ 5 w 6"/>
                <a:gd name="T13" fmla="*/ 3 h 6"/>
                <a:gd name="T14" fmla="*/ 6 w 6"/>
                <a:gd name="T15" fmla="*/ 3 h 6"/>
                <a:gd name="T16" fmla="*/ 3 w 6"/>
                <a:gd name="T17" fmla="*/ 0 h 6"/>
                <a:gd name="T18" fmla="*/ 0 w 6"/>
                <a:gd name="T19" fmla="*/ 3 h 6"/>
                <a:gd name="T20" fmla="*/ 3 w 6"/>
                <a:gd name="T21" fmla="*/ 6 h 6"/>
                <a:gd name="T22" fmla="*/ 6 w 6"/>
                <a:gd name="T23" fmla="*/ 3 h 6"/>
                <a:gd name="T24" fmla="*/ 5 w 6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4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4" y="6"/>
                    <a:pt x="6" y="5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2" name="Oval 844">
              <a:extLst>
                <a:ext uri="{FF2B5EF4-FFF2-40B4-BE49-F238E27FC236}">
                  <a16:creationId xmlns:a16="http://schemas.microsoft.com/office/drawing/2014/main" id="{B233F179-3EC4-407A-9F9C-7358188D0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2297"/>
              <a:ext cx="10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3" name="Freeform 845">
              <a:extLst>
                <a:ext uri="{FF2B5EF4-FFF2-40B4-BE49-F238E27FC236}">
                  <a16:creationId xmlns:a16="http://schemas.microsoft.com/office/drawing/2014/main" id="{F6D407AD-9F4C-469B-A502-54C589B78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2297"/>
              <a:ext cx="15" cy="13"/>
            </a:xfrm>
            <a:custGeom>
              <a:avLst/>
              <a:gdLst>
                <a:gd name="T0" fmla="*/ 5 w 6"/>
                <a:gd name="T1" fmla="*/ 3 h 5"/>
                <a:gd name="T2" fmla="*/ 5 w 6"/>
                <a:gd name="T3" fmla="*/ 3 h 5"/>
                <a:gd name="T4" fmla="*/ 3 w 6"/>
                <a:gd name="T5" fmla="*/ 4 h 5"/>
                <a:gd name="T6" fmla="*/ 1 w 6"/>
                <a:gd name="T7" fmla="*/ 3 h 5"/>
                <a:gd name="T8" fmla="*/ 3 w 6"/>
                <a:gd name="T9" fmla="*/ 1 h 5"/>
                <a:gd name="T10" fmla="*/ 5 w 6"/>
                <a:gd name="T11" fmla="*/ 3 h 5"/>
                <a:gd name="T12" fmla="*/ 5 w 6"/>
                <a:gd name="T13" fmla="*/ 3 h 5"/>
                <a:gd name="T14" fmla="*/ 6 w 6"/>
                <a:gd name="T15" fmla="*/ 3 h 5"/>
                <a:gd name="T16" fmla="*/ 3 w 6"/>
                <a:gd name="T17" fmla="*/ 0 h 5"/>
                <a:gd name="T18" fmla="*/ 0 w 6"/>
                <a:gd name="T19" fmla="*/ 3 h 5"/>
                <a:gd name="T20" fmla="*/ 3 w 6"/>
                <a:gd name="T21" fmla="*/ 5 h 5"/>
                <a:gd name="T22" fmla="*/ 6 w 6"/>
                <a:gd name="T23" fmla="*/ 3 h 5"/>
                <a:gd name="T24" fmla="*/ 5 w 6"/>
                <a:gd name="T2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5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4" y="5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4" name="Rectangle 846">
              <a:extLst>
                <a:ext uri="{FF2B5EF4-FFF2-40B4-BE49-F238E27FC236}">
                  <a16:creationId xmlns:a16="http://schemas.microsoft.com/office/drawing/2014/main" id="{C44C35E6-3E32-408B-B3DA-6C24F40CF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2317"/>
              <a:ext cx="2" cy="36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5" name="Freeform 847">
              <a:extLst>
                <a:ext uri="{FF2B5EF4-FFF2-40B4-BE49-F238E27FC236}">
                  <a16:creationId xmlns:a16="http://schemas.microsoft.com/office/drawing/2014/main" id="{DFD8A7E7-B177-42B1-A3B0-2745CD946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" y="2317"/>
              <a:ext cx="2" cy="36"/>
            </a:xfrm>
            <a:custGeom>
              <a:avLst/>
              <a:gdLst>
                <a:gd name="T0" fmla="*/ 0 w 2"/>
                <a:gd name="T1" fmla="*/ 0 h 36"/>
                <a:gd name="T2" fmla="*/ 0 w 2"/>
                <a:gd name="T3" fmla="*/ 36 h 36"/>
                <a:gd name="T4" fmla="*/ 2 w 2"/>
                <a:gd name="T5" fmla="*/ 36 h 36"/>
                <a:gd name="T6" fmla="*/ 2 w 2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6">
                  <a:moveTo>
                    <a:pt x="0" y="0"/>
                  </a:moveTo>
                  <a:lnTo>
                    <a:pt x="0" y="36"/>
                  </a:lnTo>
                  <a:lnTo>
                    <a:pt x="2" y="3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6" name="Rectangle 848">
              <a:extLst>
                <a:ext uri="{FF2B5EF4-FFF2-40B4-BE49-F238E27FC236}">
                  <a16:creationId xmlns:a16="http://schemas.microsoft.com/office/drawing/2014/main" id="{C8C48D33-C989-4E83-A077-BDB96A732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1" y="2317"/>
              <a:ext cx="2" cy="36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7" name="Freeform 849">
              <a:extLst>
                <a:ext uri="{FF2B5EF4-FFF2-40B4-BE49-F238E27FC236}">
                  <a16:creationId xmlns:a16="http://schemas.microsoft.com/office/drawing/2014/main" id="{021ABB09-8C72-4BF2-BB77-955725094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2317"/>
              <a:ext cx="2" cy="36"/>
            </a:xfrm>
            <a:custGeom>
              <a:avLst/>
              <a:gdLst>
                <a:gd name="T0" fmla="*/ 0 w 2"/>
                <a:gd name="T1" fmla="*/ 0 h 36"/>
                <a:gd name="T2" fmla="*/ 0 w 2"/>
                <a:gd name="T3" fmla="*/ 36 h 36"/>
                <a:gd name="T4" fmla="*/ 2 w 2"/>
                <a:gd name="T5" fmla="*/ 36 h 36"/>
                <a:gd name="T6" fmla="*/ 2 w 2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6">
                  <a:moveTo>
                    <a:pt x="0" y="0"/>
                  </a:moveTo>
                  <a:lnTo>
                    <a:pt x="0" y="36"/>
                  </a:lnTo>
                  <a:lnTo>
                    <a:pt x="2" y="3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8" name="Rectangle 850">
              <a:extLst>
                <a:ext uri="{FF2B5EF4-FFF2-40B4-BE49-F238E27FC236}">
                  <a16:creationId xmlns:a16="http://schemas.microsoft.com/office/drawing/2014/main" id="{B1BFC5AE-24C3-4E8F-94C4-F300B2F12E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1" y="2128"/>
              <a:ext cx="25" cy="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9" name="Freeform 851">
              <a:extLst>
                <a:ext uri="{FF2B5EF4-FFF2-40B4-BE49-F238E27FC236}">
                  <a16:creationId xmlns:a16="http://schemas.microsoft.com/office/drawing/2014/main" id="{6642F8D7-40E5-4295-86B0-9747B02C0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" y="2125"/>
              <a:ext cx="30" cy="66"/>
            </a:xfrm>
            <a:custGeom>
              <a:avLst/>
              <a:gdLst>
                <a:gd name="T0" fmla="*/ 28 w 30"/>
                <a:gd name="T1" fmla="*/ 63 h 66"/>
                <a:gd name="T2" fmla="*/ 28 w 30"/>
                <a:gd name="T3" fmla="*/ 63 h 66"/>
                <a:gd name="T4" fmla="*/ 3 w 30"/>
                <a:gd name="T5" fmla="*/ 63 h 66"/>
                <a:gd name="T6" fmla="*/ 3 w 30"/>
                <a:gd name="T7" fmla="*/ 3 h 66"/>
                <a:gd name="T8" fmla="*/ 28 w 30"/>
                <a:gd name="T9" fmla="*/ 3 h 66"/>
                <a:gd name="T10" fmla="*/ 28 w 30"/>
                <a:gd name="T11" fmla="*/ 63 h 66"/>
                <a:gd name="T12" fmla="*/ 28 w 30"/>
                <a:gd name="T13" fmla="*/ 63 h 66"/>
                <a:gd name="T14" fmla="*/ 28 w 30"/>
                <a:gd name="T15" fmla="*/ 63 h 66"/>
                <a:gd name="T16" fmla="*/ 28 w 30"/>
                <a:gd name="T17" fmla="*/ 63 h 66"/>
                <a:gd name="T18" fmla="*/ 30 w 30"/>
                <a:gd name="T19" fmla="*/ 63 h 66"/>
                <a:gd name="T20" fmla="*/ 30 w 30"/>
                <a:gd name="T21" fmla="*/ 0 h 66"/>
                <a:gd name="T22" fmla="*/ 0 w 30"/>
                <a:gd name="T23" fmla="*/ 0 h 66"/>
                <a:gd name="T24" fmla="*/ 0 w 30"/>
                <a:gd name="T25" fmla="*/ 66 h 66"/>
                <a:gd name="T26" fmla="*/ 30 w 30"/>
                <a:gd name="T27" fmla="*/ 66 h 66"/>
                <a:gd name="T28" fmla="*/ 30 w 30"/>
                <a:gd name="T29" fmla="*/ 63 h 66"/>
                <a:gd name="T30" fmla="*/ 28 w 30"/>
                <a:gd name="T31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66">
                  <a:moveTo>
                    <a:pt x="28" y="63"/>
                  </a:moveTo>
                  <a:lnTo>
                    <a:pt x="28" y="63"/>
                  </a:lnTo>
                  <a:lnTo>
                    <a:pt x="3" y="63"/>
                  </a:lnTo>
                  <a:lnTo>
                    <a:pt x="3" y="3"/>
                  </a:lnTo>
                  <a:lnTo>
                    <a:pt x="28" y="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30" y="63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30" y="66"/>
                  </a:lnTo>
                  <a:lnTo>
                    <a:pt x="30" y="63"/>
                  </a:lnTo>
                  <a:lnTo>
                    <a:pt x="28" y="6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0" name="Oval 852">
              <a:extLst>
                <a:ext uri="{FF2B5EF4-FFF2-40B4-BE49-F238E27FC236}">
                  <a16:creationId xmlns:a16="http://schemas.microsoft.com/office/drawing/2014/main" id="{0D5BB2B1-BF75-41EA-ABA4-D33F8669E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8" y="2153"/>
              <a:ext cx="10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1" name="Freeform 853">
              <a:extLst>
                <a:ext uri="{FF2B5EF4-FFF2-40B4-BE49-F238E27FC236}">
                  <a16:creationId xmlns:a16="http://schemas.microsoft.com/office/drawing/2014/main" id="{D2FD1420-86FB-4973-8AE7-24658CDA8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2153"/>
              <a:ext cx="15" cy="13"/>
            </a:xfrm>
            <a:custGeom>
              <a:avLst/>
              <a:gdLst>
                <a:gd name="T0" fmla="*/ 5 w 6"/>
                <a:gd name="T1" fmla="*/ 3 h 5"/>
                <a:gd name="T2" fmla="*/ 5 w 6"/>
                <a:gd name="T3" fmla="*/ 3 h 5"/>
                <a:gd name="T4" fmla="*/ 3 w 6"/>
                <a:gd name="T5" fmla="*/ 4 h 5"/>
                <a:gd name="T6" fmla="*/ 1 w 6"/>
                <a:gd name="T7" fmla="*/ 3 h 5"/>
                <a:gd name="T8" fmla="*/ 3 w 6"/>
                <a:gd name="T9" fmla="*/ 1 h 5"/>
                <a:gd name="T10" fmla="*/ 5 w 6"/>
                <a:gd name="T11" fmla="*/ 3 h 5"/>
                <a:gd name="T12" fmla="*/ 5 w 6"/>
                <a:gd name="T13" fmla="*/ 3 h 5"/>
                <a:gd name="T14" fmla="*/ 6 w 6"/>
                <a:gd name="T15" fmla="*/ 3 h 5"/>
                <a:gd name="T16" fmla="*/ 3 w 6"/>
                <a:gd name="T17" fmla="*/ 0 h 5"/>
                <a:gd name="T18" fmla="*/ 0 w 6"/>
                <a:gd name="T19" fmla="*/ 3 h 5"/>
                <a:gd name="T20" fmla="*/ 3 w 6"/>
                <a:gd name="T21" fmla="*/ 5 h 5"/>
                <a:gd name="T22" fmla="*/ 6 w 6"/>
                <a:gd name="T23" fmla="*/ 3 h 5"/>
                <a:gd name="T24" fmla="*/ 5 w 6"/>
                <a:gd name="T2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5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5" y="5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2" name="Oval 854">
              <a:extLst>
                <a:ext uri="{FF2B5EF4-FFF2-40B4-BE49-F238E27FC236}">
                  <a16:creationId xmlns:a16="http://schemas.microsoft.com/office/drawing/2014/main" id="{1D8BA0B9-2284-4737-9145-292D4CD60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8" y="2138"/>
              <a:ext cx="10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3" name="Freeform 855">
              <a:extLst>
                <a:ext uri="{FF2B5EF4-FFF2-40B4-BE49-F238E27FC236}">
                  <a16:creationId xmlns:a16="http://schemas.microsoft.com/office/drawing/2014/main" id="{A7780FDB-DAE4-4788-A588-B635F3B43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2135"/>
              <a:ext cx="15" cy="16"/>
            </a:xfrm>
            <a:custGeom>
              <a:avLst/>
              <a:gdLst>
                <a:gd name="T0" fmla="*/ 5 w 6"/>
                <a:gd name="T1" fmla="*/ 3 h 6"/>
                <a:gd name="T2" fmla="*/ 5 w 6"/>
                <a:gd name="T3" fmla="*/ 3 h 6"/>
                <a:gd name="T4" fmla="*/ 3 w 6"/>
                <a:gd name="T5" fmla="*/ 5 h 6"/>
                <a:gd name="T6" fmla="*/ 1 w 6"/>
                <a:gd name="T7" fmla="*/ 3 h 6"/>
                <a:gd name="T8" fmla="*/ 3 w 6"/>
                <a:gd name="T9" fmla="*/ 1 h 6"/>
                <a:gd name="T10" fmla="*/ 5 w 6"/>
                <a:gd name="T11" fmla="*/ 3 h 6"/>
                <a:gd name="T12" fmla="*/ 5 w 6"/>
                <a:gd name="T13" fmla="*/ 3 h 6"/>
                <a:gd name="T14" fmla="*/ 6 w 6"/>
                <a:gd name="T15" fmla="*/ 3 h 6"/>
                <a:gd name="T16" fmla="*/ 3 w 6"/>
                <a:gd name="T17" fmla="*/ 0 h 6"/>
                <a:gd name="T18" fmla="*/ 0 w 6"/>
                <a:gd name="T19" fmla="*/ 3 h 6"/>
                <a:gd name="T20" fmla="*/ 3 w 6"/>
                <a:gd name="T21" fmla="*/ 6 h 6"/>
                <a:gd name="T22" fmla="*/ 6 w 6"/>
                <a:gd name="T23" fmla="*/ 3 h 6"/>
                <a:gd name="T24" fmla="*/ 5 w 6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" y="6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4" name="Oval 856">
              <a:extLst>
                <a:ext uri="{FF2B5EF4-FFF2-40B4-BE49-F238E27FC236}">
                  <a16:creationId xmlns:a16="http://schemas.microsoft.com/office/drawing/2014/main" id="{20F20E55-9B5B-47F0-9676-1E6FCA43A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8" y="2171"/>
              <a:ext cx="10" cy="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5" name="Freeform 857">
              <a:extLst>
                <a:ext uri="{FF2B5EF4-FFF2-40B4-BE49-F238E27FC236}">
                  <a16:creationId xmlns:a16="http://schemas.microsoft.com/office/drawing/2014/main" id="{17C920F7-6964-44F4-B19A-2080BD846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2168"/>
              <a:ext cx="15" cy="15"/>
            </a:xfrm>
            <a:custGeom>
              <a:avLst/>
              <a:gdLst>
                <a:gd name="T0" fmla="*/ 5 w 6"/>
                <a:gd name="T1" fmla="*/ 3 h 6"/>
                <a:gd name="T2" fmla="*/ 5 w 6"/>
                <a:gd name="T3" fmla="*/ 3 h 6"/>
                <a:gd name="T4" fmla="*/ 3 w 6"/>
                <a:gd name="T5" fmla="*/ 5 h 6"/>
                <a:gd name="T6" fmla="*/ 1 w 6"/>
                <a:gd name="T7" fmla="*/ 3 h 6"/>
                <a:gd name="T8" fmla="*/ 3 w 6"/>
                <a:gd name="T9" fmla="*/ 1 h 6"/>
                <a:gd name="T10" fmla="*/ 5 w 6"/>
                <a:gd name="T11" fmla="*/ 3 h 6"/>
                <a:gd name="T12" fmla="*/ 5 w 6"/>
                <a:gd name="T13" fmla="*/ 3 h 6"/>
                <a:gd name="T14" fmla="*/ 6 w 6"/>
                <a:gd name="T15" fmla="*/ 3 h 6"/>
                <a:gd name="T16" fmla="*/ 3 w 6"/>
                <a:gd name="T17" fmla="*/ 0 h 6"/>
                <a:gd name="T18" fmla="*/ 0 w 6"/>
                <a:gd name="T19" fmla="*/ 3 h 6"/>
                <a:gd name="T20" fmla="*/ 3 w 6"/>
                <a:gd name="T21" fmla="*/ 6 h 6"/>
                <a:gd name="T22" fmla="*/ 6 w 6"/>
                <a:gd name="T23" fmla="*/ 3 h 6"/>
                <a:gd name="T24" fmla="*/ 5 w 6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" y="6"/>
                    <a:pt x="6" y="5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6" name="Rectangle 858">
              <a:extLst>
                <a:ext uri="{FF2B5EF4-FFF2-40B4-BE49-F238E27FC236}">
                  <a16:creationId xmlns:a16="http://schemas.microsoft.com/office/drawing/2014/main" id="{666A98BD-44A7-4D74-8696-2D8153291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8" y="2191"/>
              <a:ext cx="3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7" name="Freeform 859">
              <a:extLst>
                <a:ext uri="{FF2B5EF4-FFF2-40B4-BE49-F238E27FC236}">
                  <a16:creationId xmlns:a16="http://schemas.microsoft.com/office/drawing/2014/main" id="{63FA9813-DB8C-49F7-802D-C9C82AEE2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" y="2191"/>
              <a:ext cx="3" cy="33"/>
            </a:xfrm>
            <a:custGeom>
              <a:avLst/>
              <a:gdLst>
                <a:gd name="T0" fmla="*/ 0 w 3"/>
                <a:gd name="T1" fmla="*/ 0 h 33"/>
                <a:gd name="T2" fmla="*/ 0 w 3"/>
                <a:gd name="T3" fmla="*/ 33 h 33"/>
                <a:gd name="T4" fmla="*/ 3 w 3"/>
                <a:gd name="T5" fmla="*/ 33 h 33"/>
                <a:gd name="T6" fmla="*/ 3 w 3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3">
                  <a:moveTo>
                    <a:pt x="0" y="0"/>
                  </a:moveTo>
                  <a:lnTo>
                    <a:pt x="0" y="33"/>
                  </a:lnTo>
                  <a:lnTo>
                    <a:pt x="3" y="3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8" name="Rectangle 860">
              <a:extLst>
                <a:ext uri="{FF2B5EF4-FFF2-40B4-BE49-F238E27FC236}">
                  <a16:creationId xmlns:a16="http://schemas.microsoft.com/office/drawing/2014/main" id="{0D0CC7BF-C7AD-4632-B727-976B50C16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91"/>
              <a:ext cx="2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9" name="Freeform 861">
              <a:extLst>
                <a:ext uri="{FF2B5EF4-FFF2-40B4-BE49-F238E27FC236}">
                  <a16:creationId xmlns:a16="http://schemas.microsoft.com/office/drawing/2014/main" id="{68577201-4E98-4308-8588-D3A91467C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" y="2191"/>
              <a:ext cx="2" cy="33"/>
            </a:xfrm>
            <a:custGeom>
              <a:avLst/>
              <a:gdLst>
                <a:gd name="T0" fmla="*/ 0 w 2"/>
                <a:gd name="T1" fmla="*/ 0 h 33"/>
                <a:gd name="T2" fmla="*/ 0 w 2"/>
                <a:gd name="T3" fmla="*/ 33 h 33"/>
                <a:gd name="T4" fmla="*/ 2 w 2"/>
                <a:gd name="T5" fmla="*/ 33 h 33"/>
                <a:gd name="T6" fmla="*/ 2 w 2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3">
                  <a:moveTo>
                    <a:pt x="0" y="0"/>
                  </a:moveTo>
                  <a:lnTo>
                    <a:pt x="0" y="33"/>
                  </a:lnTo>
                  <a:lnTo>
                    <a:pt x="2" y="3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0" name="Freeform 862">
              <a:extLst>
                <a:ext uri="{FF2B5EF4-FFF2-40B4-BE49-F238E27FC236}">
                  <a16:creationId xmlns:a16="http://schemas.microsoft.com/office/drawing/2014/main" id="{CC23275B-E70F-4774-9BEF-CF1D46B3C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" y="2108"/>
              <a:ext cx="20" cy="5"/>
            </a:xfrm>
            <a:custGeom>
              <a:avLst/>
              <a:gdLst>
                <a:gd name="T0" fmla="*/ 8 w 8"/>
                <a:gd name="T1" fmla="*/ 2 h 2"/>
                <a:gd name="T2" fmla="*/ 4 w 8"/>
                <a:gd name="T3" fmla="*/ 0 h 2"/>
                <a:gd name="T4" fmla="*/ 0 w 8"/>
                <a:gd name="T5" fmla="*/ 2 h 2"/>
                <a:gd name="T6" fmla="*/ 1 w 8"/>
                <a:gd name="T7" fmla="*/ 2 h 2"/>
                <a:gd name="T8" fmla="*/ 4 w 8"/>
                <a:gd name="T9" fmla="*/ 1 h 2"/>
                <a:gd name="T10" fmla="*/ 7 w 8"/>
                <a:gd name="T11" fmla="*/ 2 h 2"/>
                <a:gd name="T12" fmla="*/ 8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1"/>
                    <a:pt x="6" y="1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1" name="Freeform 863">
              <a:extLst>
                <a:ext uri="{FF2B5EF4-FFF2-40B4-BE49-F238E27FC236}">
                  <a16:creationId xmlns:a16="http://schemas.microsoft.com/office/drawing/2014/main" id="{B1801CFD-755D-4522-AC87-763D4728F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5" y="2097"/>
              <a:ext cx="36" cy="11"/>
            </a:xfrm>
            <a:custGeom>
              <a:avLst/>
              <a:gdLst>
                <a:gd name="T0" fmla="*/ 14 w 14"/>
                <a:gd name="T1" fmla="*/ 3 h 4"/>
                <a:gd name="T2" fmla="*/ 7 w 14"/>
                <a:gd name="T3" fmla="*/ 0 h 4"/>
                <a:gd name="T4" fmla="*/ 0 w 14"/>
                <a:gd name="T5" fmla="*/ 3 h 4"/>
                <a:gd name="T6" fmla="*/ 1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3"/>
                  </a:moveTo>
                  <a:cubicBezTo>
                    <a:pt x="12" y="1"/>
                    <a:pt x="10" y="0"/>
                    <a:pt x="7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2"/>
                    <a:pt x="5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3"/>
                    <a:pt x="14" y="3"/>
                    <a:pt x="14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2" name="Freeform 864">
              <a:extLst>
                <a:ext uri="{FF2B5EF4-FFF2-40B4-BE49-F238E27FC236}">
                  <a16:creationId xmlns:a16="http://schemas.microsoft.com/office/drawing/2014/main" id="{84F384C3-8D01-47DE-B305-A439697BF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8" y="2087"/>
              <a:ext cx="50" cy="13"/>
            </a:xfrm>
            <a:custGeom>
              <a:avLst/>
              <a:gdLst>
                <a:gd name="T0" fmla="*/ 20 w 20"/>
                <a:gd name="T1" fmla="*/ 5 h 5"/>
                <a:gd name="T2" fmla="*/ 10 w 20"/>
                <a:gd name="T3" fmla="*/ 0 h 5"/>
                <a:gd name="T4" fmla="*/ 0 w 20"/>
                <a:gd name="T5" fmla="*/ 5 h 5"/>
                <a:gd name="T6" fmla="*/ 1 w 20"/>
                <a:gd name="T7" fmla="*/ 5 h 5"/>
                <a:gd name="T8" fmla="*/ 10 w 20"/>
                <a:gd name="T9" fmla="*/ 1 h 5"/>
                <a:gd name="T10" fmla="*/ 20 w 20"/>
                <a:gd name="T11" fmla="*/ 5 h 5"/>
                <a:gd name="T12" fmla="*/ 20 w 2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5">
                  <a:moveTo>
                    <a:pt x="20" y="5"/>
                  </a:moveTo>
                  <a:cubicBezTo>
                    <a:pt x="18" y="2"/>
                    <a:pt x="14" y="0"/>
                    <a:pt x="10" y="0"/>
                  </a:cubicBezTo>
                  <a:cubicBezTo>
                    <a:pt x="6" y="0"/>
                    <a:pt x="2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3"/>
                    <a:pt x="6" y="1"/>
                    <a:pt x="10" y="1"/>
                  </a:cubicBezTo>
                  <a:cubicBezTo>
                    <a:pt x="14" y="1"/>
                    <a:pt x="17" y="3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3" name="Rectangle 865">
              <a:extLst>
                <a:ext uri="{FF2B5EF4-FFF2-40B4-BE49-F238E27FC236}">
                  <a16:creationId xmlns:a16="http://schemas.microsoft.com/office/drawing/2014/main" id="{6D34F100-09E4-43E1-95D2-354C90882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6" y="2282"/>
              <a:ext cx="230" cy="5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4" name="Freeform 866">
              <a:extLst>
                <a:ext uri="{FF2B5EF4-FFF2-40B4-BE49-F238E27FC236}">
                  <a16:creationId xmlns:a16="http://schemas.microsoft.com/office/drawing/2014/main" id="{91D943E6-08FE-43B8-AF00-F5B96CE89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2280"/>
              <a:ext cx="230" cy="58"/>
            </a:xfrm>
            <a:custGeom>
              <a:avLst/>
              <a:gdLst>
                <a:gd name="T0" fmla="*/ 230 w 230"/>
                <a:gd name="T1" fmla="*/ 58 h 58"/>
                <a:gd name="T2" fmla="*/ 230 w 230"/>
                <a:gd name="T3" fmla="*/ 55 h 58"/>
                <a:gd name="T4" fmla="*/ 2 w 230"/>
                <a:gd name="T5" fmla="*/ 55 h 58"/>
                <a:gd name="T6" fmla="*/ 2 w 230"/>
                <a:gd name="T7" fmla="*/ 2 h 58"/>
                <a:gd name="T8" fmla="*/ 230 w 230"/>
                <a:gd name="T9" fmla="*/ 2 h 58"/>
                <a:gd name="T10" fmla="*/ 230 w 230"/>
                <a:gd name="T11" fmla="*/ 58 h 58"/>
                <a:gd name="T12" fmla="*/ 230 w 230"/>
                <a:gd name="T13" fmla="*/ 58 h 58"/>
                <a:gd name="T14" fmla="*/ 230 w 230"/>
                <a:gd name="T15" fmla="*/ 55 h 58"/>
                <a:gd name="T16" fmla="*/ 230 w 230"/>
                <a:gd name="T17" fmla="*/ 58 h 58"/>
                <a:gd name="T18" fmla="*/ 230 w 230"/>
                <a:gd name="T19" fmla="*/ 58 h 58"/>
                <a:gd name="T20" fmla="*/ 230 w 230"/>
                <a:gd name="T21" fmla="*/ 0 h 58"/>
                <a:gd name="T22" fmla="*/ 0 w 230"/>
                <a:gd name="T23" fmla="*/ 0 h 58"/>
                <a:gd name="T24" fmla="*/ 0 w 230"/>
                <a:gd name="T25" fmla="*/ 58 h 58"/>
                <a:gd name="T26" fmla="*/ 230 w 230"/>
                <a:gd name="T27" fmla="*/ 58 h 58"/>
                <a:gd name="T28" fmla="*/ 230 w 230"/>
                <a:gd name="T29" fmla="*/ 58 h 58"/>
                <a:gd name="T30" fmla="*/ 230 w 230"/>
                <a:gd name="T3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0" h="58">
                  <a:moveTo>
                    <a:pt x="230" y="58"/>
                  </a:moveTo>
                  <a:lnTo>
                    <a:pt x="230" y="55"/>
                  </a:lnTo>
                  <a:lnTo>
                    <a:pt x="2" y="55"/>
                  </a:lnTo>
                  <a:lnTo>
                    <a:pt x="2" y="2"/>
                  </a:lnTo>
                  <a:lnTo>
                    <a:pt x="230" y="2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5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5" name="Freeform 867">
              <a:extLst>
                <a:ext uri="{FF2B5EF4-FFF2-40B4-BE49-F238E27FC236}">
                  <a16:creationId xmlns:a16="http://schemas.microsoft.com/office/drawing/2014/main" id="{601906A9-5800-4839-9BF2-8C57F6ADA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2338"/>
              <a:ext cx="16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6" name="Freeform 868">
              <a:extLst>
                <a:ext uri="{FF2B5EF4-FFF2-40B4-BE49-F238E27FC236}">
                  <a16:creationId xmlns:a16="http://schemas.microsoft.com/office/drawing/2014/main" id="{05F81D56-0F1A-41AC-8662-066EA002B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2335"/>
              <a:ext cx="16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7" name="Freeform 869">
              <a:extLst>
                <a:ext uri="{FF2B5EF4-FFF2-40B4-BE49-F238E27FC236}">
                  <a16:creationId xmlns:a16="http://schemas.microsoft.com/office/drawing/2014/main" id="{239E1720-1A18-4E8E-9742-CDC565C37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8" name="Freeform 870">
              <a:extLst>
                <a:ext uri="{FF2B5EF4-FFF2-40B4-BE49-F238E27FC236}">
                  <a16:creationId xmlns:a16="http://schemas.microsoft.com/office/drawing/2014/main" id="{57CEFF3B-CDEF-4582-8E11-A9027476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9" name="Freeform 871">
              <a:extLst>
                <a:ext uri="{FF2B5EF4-FFF2-40B4-BE49-F238E27FC236}">
                  <a16:creationId xmlns:a16="http://schemas.microsoft.com/office/drawing/2014/main" id="{73F5D22C-75A1-47D2-AC95-D8F57FD30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0" name="Freeform 872">
              <a:extLst>
                <a:ext uri="{FF2B5EF4-FFF2-40B4-BE49-F238E27FC236}">
                  <a16:creationId xmlns:a16="http://schemas.microsoft.com/office/drawing/2014/main" id="{AF231285-EC96-4DAB-9644-30F555F50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1" name="Freeform 873">
              <a:extLst>
                <a:ext uri="{FF2B5EF4-FFF2-40B4-BE49-F238E27FC236}">
                  <a16:creationId xmlns:a16="http://schemas.microsoft.com/office/drawing/2014/main" id="{93FD1B3D-DCEF-48AF-ABCB-E7261DC50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2" name="Freeform 874">
              <a:extLst>
                <a:ext uri="{FF2B5EF4-FFF2-40B4-BE49-F238E27FC236}">
                  <a16:creationId xmlns:a16="http://schemas.microsoft.com/office/drawing/2014/main" id="{3CBDC86C-E1E1-4BA4-906D-6CE1F3388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3" name="Freeform 875">
              <a:extLst>
                <a:ext uri="{FF2B5EF4-FFF2-40B4-BE49-F238E27FC236}">
                  <a16:creationId xmlns:a16="http://schemas.microsoft.com/office/drawing/2014/main" id="{8B9CD55E-281C-47E9-99B8-EE02B3843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4" name="Freeform 876">
              <a:extLst>
                <a:ext uri="{FF2B5EF4-FFF2-40B4-BE49-F238E27FC236}">
                  <a16:creationId xmlns:a16="http://schemas.microsoft.com/office/drawing/2014/main" id="{CC29EFE8-60DC-43A0-B5FC-98D3D21B6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0 w 6"/>
                <a:gd name="T13" fmla="*/ 1 h 4"/>
                <a:gd name="T14" fmla="*/ 3 w 6"/>
                <a:gd name="T15" fmla="*/ 4 h 4"/>
                <a:gd name="T16" fmla="*/ 3 w 6"/>
                <a:gd name="T17" fmla="*/ 4 h 4"/>
                <a:gd name="T18" fmla="*/ 3 w 6"/>
                <a:gd name="T19" fmla="*/ 3 h 4"/>
                <a:gd name="T20" fmla="*/ 1 w 6"/>
                <a:gd name="T21" fmla="*/ 1 h 4"/>
                <a:gd name="T22" fmla="*/ 0 w 6"/>
                <a:gd name="T23" fmla="*/ 1 h 4"/>
                <a:gd name="T24" fmla="*/ 1 w 6"/>
                <a:gd name="T25" fmla="*/ 1 h 4"/>
                <a:gd name="T26" fmla="*/ 1 w 6"/>
                <a:gd name="T27" fmla="*/ 1 h 4"/>
                <a:gd name="T28" fmla="*/ 0 w 6"/>
                <a:gd name="T29" fmla="*/ 1 h 4"/>
                <a:gd name="T30" fmla="*/ 1 w 6"/>
                <a:gd name="T31" fmla="*/ 1 h 4"/>
                <a:gd name="T32" fmla="*/ 0 w 6"/>
                <a:gd name="T33" fmla="*/ 1 h 4"/>
                <a:gd name="T34" fmla="*/ 0 w 6"/>
                <a:gd name="T35" fmla="*/ 1 h 4"/>
                <a:gd name="T36" fmla="*/ 6 w 6"/>
                <a:gd name="T37" fmla="*/ 1 h 4"/>
                <a:gd name="T38" fmla="*/ 6 w 6"/>
                <a:gd name="T39" fmla="*/ 1 h 4"/>
                <a:gd name="T40" fmla="*/ 5 w 6"/>
                <a:gd name="T41" fmla="*/ 1 h 4"/>
                <a:gd name="T42" fmla="*/ 3 w 6"/>
                <a:gd name="T43" fmla="*/ 3 h 4"/>
                <a:gd name="T44" fmla="*/ 3 w 6"/>
                <a:gd name="T4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5" name="Freeform 877">
              <a:extLst>
                <a:ext uri="{FF2B5EF4-FFF2-40B4-BE49-F238E27FC236}">
                  <a16:creationId xmlns:a16="http://schemas.microsoft.com/office/drawing/2014/main" id="{1BAD5716-92A5-41A4-BC77-7BD99BB5B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6" name="Freeform 878">
              <a:extLst>
                <a:ext uri="{FF2B5EF4-FFF2-40B4-BE49-F238E27FC236}">
                  <a16:creationId xmlns:a16="http://schemas.microsoft.com/office/drawing/2014/main" id="{C001159C-6E02-4EDB-8800-62FD3922B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7" name="Freeform 879">
              <a:extLst>
                <a:ext uri="{FF2B5EF4-FFF2-40B4-BE49-F238E27FC236}">
                  <a16:creationId xmlns:a16="http://schemas.microsoft.com/office/drawing/2014/main" id="{8AA07BBE-A12C-43EE-953F-D5FA3EA28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" y="2338"/>
              <a:ext cx="12" cy="7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8" name="Freeform 880">
              <a:extLst>
                <a:ext uri="{FF2B5EF4-FFF2-40B4-BE49-F238E27FC236}">
                  <a16:creationId xmlns:a16="http://schemas.microsoft.com/office/drawing/2014/main" id="{10FF87D4-A1BE-4152-8E6D-BA04D13B0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" y="2335"/>
              <a:ext cx="18" cy="10"/>
            </a:xfrm>
            <a:custGeom>
              <a:avLst/>
              <a:gdLst>
                <a:gd name="T0" fmla="*/ 3 w 7"/>
                <a:gd name="T1" fmla="*/ 4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3 w 7"/>
                <a:gd name="T19" fmla="*/ 4 h 4"/>
                <a:gd name="T20" fmla="*/ 3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3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3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9" name="Freeform 881">
              <a:extLst>
                <a:ext uri="{FF2B5EF4-FFF2-40B4-BE49-F238E27FC236}">
                  <a16:creationId xmlns:a16="http://schemas.microsoft.com/office/drawing/2014/main" id="{D8881D37-9996-4AE6-883A-18E0567D7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38"/>
              <a:ext cx="13" cy="7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0" name="Freeform 882">
              <a:extLst>
                <a:ext uri="{FF2B5EF4-FFF2-40B4-BE49-F238E27FC236}">
                  <a16:creationId xmlns:a16="http://schemas.microsoft.com/office/drawing/2014/main" id="{7EDCB147-EAA3-4769-B3AA-F4BB7612B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2335"/>
              <a:ext cx="18" cy="10"/>
            </a:xfrm>
            <a:custGeom>
              <a:avLst/>
              <a:gdLst>
                <a:gd name="T0" fmla="*/ 3 w 7"/>
                <a:gd name="T1" fmla="*/ 4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3 w 7"/>
                <a:gd name="T19" fmla="*/ 4 h 4"/>
                <a:gd name="T20" fmla="*/ 3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3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3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1" name="Freeform 883">
              <a:extLst>
                <a:ext uri="{FF2B5EF4-FFF2-40B4-BE49-F238E27FC236}">
                  <a16:creationId xmlns:a16="http://schemas.microsoft.com/office/drawing/2014/main" id="{DBB57084-B586-4AA2-B66C-5E642C9DA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338"/>
              <a:ext cx="13" cy="7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2" name="Freeform 884">
              <a:extLst>
                <a:ext uri="{FF2B5EF4-FFF2-40B4-BE49-F238E27FC236}">
                  <a16:creationId xmlns:a16="http://schemas.microsoft.com/office/drawing/2014/main" id="{C29A997A-F790-48CB-A929-DF08219F4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2335"/>
              <a:ext cx="17" cy="10"/>
            </a:xfrm>
            <a:custGeom>
              <a:avLst/>
              <a:gdLst>
                <a:gd name="T0" fmla="*/ 3 w 7"/>
                <a:gd name="T1" fmla="*/ 4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3 w 7"/>
                <a:gd name="T19" fmla="*/ 4 h 4"/>
                <a:gd name="T20" fmla="*/ 3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3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3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3" name="Freeform 885">
              <a:extLst>
                <a:ext uri="{FF2B5EF4-FFF2-40B4-BE49-F238E27FC236}">
                  <a16:creationId xmlns:a16="http://schemas.microsoft.com/office/drawing/2014/main" id="{9EDABD07-C9B4-4A15-956B-3FB22FB09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4" name="Freeform 886">
              <a:extLst>
                <a:ext uri="{FF2B5EF4-FFF2-40B4-BE49-F238E27FC236}">
                  <a16:creationId xmlns:a16="http://schemas.microsoft.com/office/drawing/2014/main" id="{1434F82C-D31C-426D-8475-4BAEAC064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" y="2335"/>
              <a:ext cx="18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5" name="Freeform 887">
              <a:extLst>
                <a:ext uri="{FF2B5EF4-FFF2-40B4-BE49-F238E27FC236}">
                  <a16:creationId xmlns:a16="http://schemas.microsoft.com/office/drawing/2014/main" id="{1725D254-9BB4-45E1-818A-7A25630A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6" name="Freeform 888">
              <a:extLst>
                <a:ext uri="{FF2B5EF4-FFF2-40B4-BE49-F238E27FC236}">
                  <a16:creationId xmlns:a16="http://schemas.microsoft.com/office/drawing/2014/main" id="{DDD676F4-952E-4BCE-9C4D-DE41A6BBC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9" y="2335"/>
              <a:ext cx="17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7" name="Freeform 889">
              <a:extLst>
                <a:ext uri="{FF2B5EF4-FFF2-40B4-BE49-F238E27FC236}">
                  <a16:creationId xmlns:a16="http://schemas.microsoft.com/office/drawing/2014/main" id="{2D6F39A4-4E6F-4964-89ED-B2F33C7D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8" name="Freeform 890">
              <a:extLst>
                <a:ext uri="{FF2B5EF4-FFF2-40B4-BE49-F238E27FC236}">
                  <a16:creationId xmlns:a16="http://schemas.microsoft.com/office/drawing/2014/main" id="{814F29A4-3683-4FC3-92FC-65CAAD55B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" y="2335"/>
              <a:ext cx="17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9" name="Freeform 891">
              <a:extLst>
                <a:ext uri="{FF2B5EF4-FFF2-40B4-BE49-F238E27FC236}">
                  <a16:creationId xmlns:a16="http://schemas.microsoft.com/office/drawing/2014/main" id="{4E957607-A64D-43D3-8C49-97C388BF6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0" name="Freeform 892">
              <a:extLst>
                <a:ext uri="{FF2B5EF4-FFF2-40B4-BE49-F238E27FC236}">
                  <a16:creationId xmlns:a16="http://schemas.microsoft.com/office/drawing/2014/main" id="{C4A2EFE9-2E41-4DDD-BDAD-A6688477B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" y="2335"/>
              <a:ext cx="18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1" name="Freeform 893">
              <a:extLst>
                <a:ext uri="{FF2B5EF4-FFF2-40B4-BE49-F238E27FC236}">
                  <a16:creationId xmlns:a16="http://schemas.microsoft.com/office/drawing/2014/main" id="{697DB69D-0724-4F2D-8E4D-8AAC6386E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2" name="Freeform 894">
              <a:extLst>
                <a:ext uri="{FF2B5EF4-FFF2-40B4-BE49-F238E27FC236}">
                  <a16:creationId xmlns:a16="http://schemas.microsoft.com/office/drawing/2014/main" id="{27B564B7-B2DC-42F9-903C-C1D07F147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" y="2335"/>
              <a:ext cx="17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3" name="Freeform 895">
              <a:extLst>
                <a:ext uri="{FF2B5EF4-FFF2-40B4-BE49-F238E27FC236}">
                  <a16:creationId xmlns:a16="http://schemas.microsoft.com/office/drawing/2014/main" id="{47A0E8F8-81D8-4B29-BFAD-3D921E1D8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" y="2338"/>
              <a:ext cx="13" cy="7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3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4" name="Freeform 896">
              <a:extLst>
                <a:ext uri="{FF2B5EF4-FFF2-40B4-BE49-F238E27FC236}">
                  <a16:creationId xmlns:a16="http://schemas.microsoft.com/office/drawing/2014/main" id="{24A9874B-81AD-4F6C-A134-F9AAEC9EE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3" y="2335"/>
              <a:ext cx="18" cy="10"/>
            </a:xfrm>
            <a:custGeom>
              <a:avLst/>
              <a:gdLst>
                <a:gd name="T0" fmla="*/ 4 w 7"/>
                <a:gd name="T1" fmla="*/ 4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4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5" name="Freeform 897">
              <a:extLst>
                <a:ext uri="{FF2B5EF4-FFF2-40B4-BE49-F238E27FC236}">
                  <a16:creationId xmlns:a16="http://schemas.microsoft.com/office/drawing/2014/main" id="{39AE4BF1-9916-4620-900A-D07DA7D82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6" name="Freeform 898">
              <a:extLst>
                <a:ext uri="{FF2B5EF4-FFF2-40B4-BE49-F238E27FC236}">
                  <a16:creationId xmlns:a16="http://schemas.microsoft.com/office/drawing/2014/main" id="{4D6CB793-5511-4B8A-A383-100ACF4D6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7" name="Freeform 899">
              <a:extLst>
                <a:ext uri="{FF2B5EF4-FFF2-40B4-BE49-F238E27FC236}">
                  <a16:creationId xmlns:a16="http://schemas.microsoft.com/office/drawing/2014/main" id="{C40A5BAF-C4FF-412B-B32F-E5F80BB8E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8" name="Freeform 900">
              <a:extLst>
                <a:ext uri="{FF2B5EF4-FFF2-40B4-BE49-F238E27FC236}">
                  <a16:creationId xmlns:a16="http://schemas.microsoft.com/office/drawing/2014/main" id="{25DFB8FE-1350-4114-A06C-2CE49F576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9" name="Freeform 901">
              <a:extLst>
                <a:ext uri="{FF2B5EF4-FFF2-40B4-BE49-F238E27FC236}">
                  <a16:creationId xmlns:a16="http://schemas.microsoft.com/office/drawing/2014/main" id="{40C6D67D-9879-4A24-BF9B-2399C5CF9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" y="2338"/>
              <a:ext cx="15" cy="7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0" name="Freeform 902">
              <a:extLst>
                <a:ext uri="{FF2B5EF4-FFF2-40B4-BE49-F238E27FC236}">
                  <a16:creationId xmlns:a16="http://schemas.microsoft.com/office/drawing/2014/main" id="{FD982F8D-ABFB-4645-91C5-C9D5BAA18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" y="2335"/>
              <a:ext cx="15" cy="10"/>
            </a:xfrm>
            <a:custGeom>
              <a:avLst/>
              <a:gdLst>
                <a:gd name="T0" fmla="*/ 3 w 6"/>
                <a:gd name="T1" fmla="*/ 4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4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  <a:gd name="T32" fmla="*/ 3 w 6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1" name="Freeform 903">
              <a:extLst>
                <a:ext uri="{FF2B5EF4-FFF2-40B4-BE49-F238E27FC236}">
                  <a16:creationId xmlns:a16="http://schemas.microsoft.com/office/drawing/2014/main" id="{01B8890C-CEDD-456D-A25B-2080A1B08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2282"/>
              <a:ext cx="220" cy="56"/>
            </a:xfrm>
            <a:custGeom>
              <a:avLst/>
              <a:gdLst>
                <a:gd name="T0" fmla="*/ 1 w 87"/>
                <a:gd name="T1" fmla="*/ 22 h 22"/>
                <a:gd name="T2" fmla="*/ 87 w 87"/>
                <a:gd name="T3" fmla="*/ 22 h 22"/>
                <a:gd name="T4" fmla="*/ 87 w 87"/>
                <a:gd name="T5" fmla="*/ 0 h 22"/>
                <a:gd name="T6" fmla="*/ 7 w 87"/>
                <a:gd name="T7" fmla="*/ 0 h 22"/>
                <a:gd name="T8" fmla="*/ 2 w 87"/>
                <a:gd name="T9" fmla="*/ 4 h 22"/>
                <a:gd name="T10" fmla="*/ 0 w 87"/>
                <a:gd name="T11" fmla="*/ 20 h 22"/>
                <a:gd name="T12" fmla="*/ 1 w 8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2">
                  <a:moveTo>
                    <a:pt x="1" y="22"/>
                  </a:moveTo>
                  <a:cubicBezTo>
                    <a:pt x="87" y="22"/>
                    <a:pt x="87" y="22"/>
                    <a:pt x="87" y="22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2" y="2"/>
                    <a:pt x="2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2" name="Freeform 904">
              <a:extLst>
                <a:ext uri="{FF2B5EF4-FFF2-40B4-BE49-F238E27FC236}">
                  <a16:creationId xmlns:a16="http://schemas.microsoft.com/office/drawing/2014/main" id="{1D6C8777-BCDE-4B0E-91C8-67E4D4714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" y="2280"/>
              <a:ext cx="225" cy="58"/>
            </a:xfrm>
            <a:custGeom>
              <a:avLst/>
              <a:gdLst>
                <a:gd name="T0" fmla="*/ 2 w 89"/>
                <a:gd name="T1" fmla="*/ 23 h 23"/>
                <a:gd name="T2" fmla="*/ 2 w 89"/>
                <a:gd name="T3" fmla="*/ 23 h 23"/>
                <a:gd name="T4" fmla="*/ 89 w 89"/>
                <a:gd name="T5" fmla="*/ 23 h 23"/>
                <a:gd name="T6" fmla="*/ 89 w 89"/>
                <a:gd name="T7" fmla="*/ 0 h 23"/>
                <a:gd name="T8" fmla="*/ 8 w 89"/>
                <a:gd name="T9" fmla="*/ 0 h 23"/>
                <a:gd name="T10" fmla="*/ 3 w 89"/>
                <a:gd name="T11" fmla="*/ 5 h 23"/>
                <a:gd name="T12" fmla="*/ 3 w 89"/>
                <a:gd name="T13" fmla="*/ 5 h 23"/>
                <a:gd name="T14" fmla="*/ 3 w 89"/>
                <a:gd name="T15" fmla="*/ 5 h 23"/>
                <a:gd name="T16" fmla="*/ 0 w 89"/>
                <a:gd name="T17" fmla="*/ 21 h 23"/>
                <a:gd name="T18" fmla="*/ 0 w 89"/>
                <a:gd name="T19" fmla="*/ 21 h 23"/>
                <a:gd name="T20" fmla="*/ 0 w 89"/>
                <a:gd name="T21" fmla="*/ 21 h 23"/>
                <a:gd name="T22" fmla="*/ 2 w 89"/>
                <a:gd name="T23" fmla="*/ 23 h 23"/>
                <a:gd name="T24" fmla="*/ 2 w 89"/>
                <a:gd name="T25" fmla="*/ 23 h 23"/>
                <a:gd name="T26" fmla="*/ 2 w 89"/>
                <a:gd name="T27" fmla="*/ 22 h 23"/>
                <a:gd name="T28" fmla="*/ 1 w 89"/>
                <a:gd name="T29" fmla="*/ 21 h 23"/>
                <a:gd name="T30" fmla="*/ 1 w 89"/>
                <a:gd name="T31" fmla="*/ 21 h 23"/>
                <a:gd name="T32" fmla="*/ 1 w 89"/>
                <a:gd name="T33" fmla="*/ 21 h 23"/>
                <a:gd name="T34" fmla="*/ 1 w 89"/>
                <a:gd name="T35" fmla="*/ 21 h 23"/>
                <a:gd name="T36" fmla="*/ 4 w 89"/>
                <a:gd name="T37" fmla="*/ 5 h 23"/>
                <a:gd name="T38" fmla="*/ 4 w 89"/>
                <a:gd name="T39" fmla="*/ 5 h 23"/>
                <a:gd name="T40" fmla="*/ 8 w 89"/>
                <a:gd name="T41" fmla="*/ 1 h 23"/>
                <a:gd name="T42" fmla="*/ 88 w 89"/>
                <a:gd name="T43" fmla="*/ 1 h 23"/>
                <a:gd name="T44" fmla="*/ 88 w 89"/>
                <a:gd name="T45" fmla="*/ 22 h 23"/>
                <a:gd name="T46" fmla="*/ 2 w 89"/>
                <a:gd name="T47" fmla="*/ 22 h 23"/>
                <a:gd name="T48" fmla="*/ 2 w 8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23">
                  <a:moveTo>
                    <a:pt x="2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3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1" y="22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6" y="1"/>
                    <a:pt x="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2" y="22"/>
                    <a:pt x="2" y="22"/>
                    <a:pt x="2" y="22"/>
                  </a:cubicBezTo>
                  <a:lnTo>
                    <a:pt x="2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3" name="Freeform 905">
              <a:extLst>
                <a:ext uri="{FF2B5EF4-FFF2-40B4-BE49-F238E27FC236}">
                  <a16:creationId xmlns:a16="http://schemas.microsoft.com/office/drawing/2014/main" id="{222A7757-524E-4AF4-9725-7DDCA85E6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292"/>
              <a:ext cx="23" cy="13"/>
            </a:xfrm>
            <a:custGeom>
              <a:avLst/>
              <a:gdLst>
                <a:gd name="T0" fmla="*/ 0 w 23"/>
                <a:gd name="T1" fmla="*/ 3 h 13"/>
                <a:gd name="T2" fmla="*/ 20 w 23"/>
                <a:gd name="T3" fmla="*/ 3 h 13"/>
                <a:gd name="T4" fmla="*/ 18 w 23"/>
                <a:gd name="T5" fmla="*/ 10 h 13"/>
                <a:gd name="T6" fmla="*/ 0 w 23"/>
                <a:gd name="T7" fmla="*/ 10 h 13"/>
                <a:gd name="T8" fmla="*/ 0 w 23"/>
                <a:gd name="T9" fmla="*/ 13 h 13"/>
                <a:gd name="T10" fmla="*/ 18 w 23"/>
                <a:gd name="T11" fmla="*/ 13 h 13"/>
                <a:gd name="T12" fmla="*/ 23 w 23"/>
                <a:gd name="T13" fmla="*/ 0 h 13"/>
                <a:gd name="T14" fmla="*/ 0 w 23"/>
                <a:gd name="T15" fmla="*/ 0 h 13"/>
                <a:gd name="T16" fmla="*/ 0 w 23"/>
                <a:gd name="T17" fmla="*/ 3 h 13"/>
                <a:gd name="T18" fmla="*/ 0 w 23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0" y="3"/>
                  </a:moveTo>
                  <a:lnTo>
                    <a:pt x="20" y="3"/>
                  </a:lnTo>
                  <a:lnTo>
                    <a:pt x="18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8" y="13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4" name="Freeform 906">
              <a:extLst>
                <a:ext uri="{FF2B5EF4-FFF2-40B4-BE49-F238E27FC236}">
                  <a16:creationId xmlns:a16="http://schemas.microsoft.com/office/drawing/2014/main" id="{5834F89C-6471-4DB0-BF3C-D2FA50C7C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" y="2282"/>
              <a:ext cx="222" cy="56"/>
            </a:xfrm>
            <a:custGeom>
              <a:avLst/>
              <a:gdLst>
                <a:gd name="T0" fmla="*/ 86 w 88"/>
                <a:gd name="T1" fmla="*/ 22 h 22"/>
                <a:gd name="T2" fmla="*/ 0 w 88"/>
                <a:gd name="T3" fmla="*/ 22 h 22"/>
                <a:gd name="T4" fmla="*/ 0 w 88"/>
                <a:gd name="T5" fmla="*/ 0 h 22"/>
                <a:gd name="T6" fmla="*/ 81 w 88"/>
                <a:gd name="T7" fmla="*/ 0 h 22"/>
                <a:gd name="T8" fmla="*/ 85 w 88"/>
                <a:gd name="T9" fmla="*/ 4 h 22"/>
                <a:gd name="T10" fmla="*/ 88 w 88"/>
                <a:gd name="T11" fmla="*/ 20 h 22"/>
                <a:gd name="T12" fmla="*/ 86 w 8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22">
                  <a:moveTo>
                    <a:pt x="86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3" y="0"/>
                    <a:pt x="85" y="2"/>
                    <a:pt x="85" y="4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1"/>
                    <a:pt x="87" y="22"/>
                    <a:pt x="86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5" name="Freeform 907">
              <a:extLst>
                <a:ext uri="{FF2B5EF4-FFF2-40B4-BE49-F238E27FC236}">
                  <a16:creationId xmlns:a16="http://schemas.microsoft.com/office/drawing/2014/main" id="{1A1F88B3-8C79-4A06-8F27-6E0E4253D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" y="2280"/>
              <a:ext cx="222" cy="58"/>
            </a:xfrm>
            <a:custGeom>
              <a:avLst/>
              <a:gdLst>
                <a:gd name="T0" fmla="*/ 86 w 88"/>
                <a:gd name="T1" fmla="*/ 23 h 23"/>
                <a:gd name="T2" fmla="*/ 86 w 88"/>
                <a:gd name="T3" fmla="*/ 22 h 23"/>
                <a:gd name="T4" fmla="*/ 0 w 88"/>
                <a:gd name="T5" fmla="*/ 22 h 23"/>
                <a:gd name="T6" fmla="*/ 0 w 88"/>
                <a:gd name="T7" fmla="*/ 1 h 23"/>
                <a:gd name="T8" fmla="*/ 81 w 88"/>
                <a:gd name="T9" fmla="*/ 1 h 23"/>
                <a:gd name="T10" fmla="*/ 85 w 88"/>
                <a:gd name="T11" fmla="*/ 5 h 23"/>
                <a:gd name="T12" fmla="*/ 85 w 88"/>
                <a:gd name="T13" fmla="*/ 5 h 23"/>
                <a:gd name="T14" fmla="*/ 87 w 88"/>
                <a:gd name="T15" fmla="*/ 21 h 23"/>
                <a:gd name="T16" fmla="*/ 88 w 88"/>
                <a:gd name="T17" fmla="*/ 21 h 23"/>
                <a:gd name="T18" fmla="*/ 87 w 88"/>
                <a:gd name="T19" fmla="*/ 21 h 23"/>
                <a:gd name="T20" fmla="*/ 87 w 88"/>
                <a:gd name="T21" fmla="*/ 21 h 23"/>
                <a:gd name="T22" fmla="*/ 86 w 88"/>
                <a:gd name="T23" fmla="*/ 22 h 23"/>
                <a:gd name="T24" fmla="*/ 86 w 88"/>
                <a:gd name="T25" fmla="*/ 23 h 23"/>
                <a:gd name="T26" fmla="*/ 86 w 88"/>
                <a:gd name="T27" fmla="*/ 23 h 23"/>
                <a:gd name="T28" fmla="*/ 88 w 88"/>
                <a:gd name="T29" fmla="*/ 21 h 23"/>
                <a:gd name="T30" fmla="*/ 88 w 88"/>
                <a:gd name="T31" fmla="*/ 21 h 23"/>
                <a:gd name="T32" fmla="*/ 88 w 88"/>
                <a:gd name="T33" fmla="*/ 21 h 23"/>
                <a:gd name="T34" fmla="*/ 86 w 88"/>
                <a:gd name="T35" fmla="*/ 5 h 23"/>
                <a:gd name="T36" fmla="*/ 85 w 88"/>
                <a:gd name="T37" fmla="*/ 5 h 23"/>
                <a:gd name="T38" fmla="*/ 86 w 88"/>
                <a:gd name="T39" fmla="*/ 5 h 23"/>
                <a:gd name="T40" fmla="*/ 81 w 88"/>
                <a:gd name="T41" fmla="*/ 0 h 23"/>
                <a:gd name="T42" fmla="*/ 0 w 88"/>
                <a:gd name="T43" fmla="*/ 0 h 23"/>
                <a:gd name="T44" fmla="*/ 0 w 88"/>
                <a:gd name="T45" fmla="*/ 23 h 23"/>
                <a:gd name="T46" fmla="*/ 86 w 88"/>
                <a:gd name="T4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" h="23">
                  <a:moveTo>
                    <a:pt x="86" y="23"/>
                  </a:moveTo>
                  <a:cubicBezTo>
                    <a:pt x="86" y="22"/>
                    <a:pt x="86" y="22"/>
                    <a:pt x="86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3" y="1"/>
                    <a:pt x="85" y="3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2"/>
                    <a:pt x="87" y="22"/>
                    <a:pt x="86" y="22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7" y="23"/>
                    <a:pt x="88" y="22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3"/>
                    <a:pt x="83" y="0"/>
                    <a:pt x="8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86" y="23"/>
                    <a:pt x="86" y="23"/>
                    <a:pt x="86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6" name="Freeform 908">
              <a:extLst>
                <a:ext uri="{FF2B5EF4-FFF2-40B4-BE49-F238E27FC236}">
                  <a16:creationId xmlns:a16="http://schemas.microsoft.com/office/drawing/2014/main" id="{4A823431-FEC7-4E36-A386-CEEC161B4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2292"/>
              <a:ext cx="23" cy="13"/>
            </a:xfrm>
            <a:custGeom>
              <a:avLst/>
              <a:gdLst>
                <a:gd name="T0" fmla="*/ 23 w 23"/>
                <a:gd name="T1" fmla="*/ 0 h 13"/>
                <a:gd name="T2" fmla="*/ 0 w 23"/>
                <a:gd name="T3" fmla="*/ 0 h 13"/>
                <a:gd name="T4" fmla="*/ 5 w 23"/>
                <a:gd name="T5" fmla="*/ 13 h 13"/>
                <a:gd name="T6" fmla="*/ 23 w 23"/>
                <a:gd name="T7" fmla="*/ 13 h 13"/>
                <a:gd name="T8" fmla="*/ 23 w 23"/>
                <a:gd name="T9" fmla="*/ 10 h 13"/>
                <a:gd name="T10" fmla="*/ 8 w 23"/>
                <a:gd name="T11" fmla="*/ 10 h 13"/>
                <a:gd name="T12" fmla="*/ 5 w 23"/>
                <a:gd name="T13" fmla="*/ 3 h 13"/>
                <a:gd name="T14" fmla="*/ 23 w 23"/>
                <a:gd name="T15" fmla="*/ 3 h 13"/>
                <a:gd name="T16" fmla="*/ 23 w 23"/>
                <a:gd name="T17" fmla="*/ 0 h 13"/>
                <a:gd name="T18" fmla="*/ 23 w 23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23" y="0"/>
                  </a:moveTo>
                  <a:lnTo>
                    <a:pt x="0" y="0"/>
                  </a:lnTo>
                  <a:lnTo>
                    <a:pt x="5" y="13"/>
                  </a:lnTo>
                  <a:lnTo>
                    <a:pt x="23" y="13"/>
                  </a:lnTo>
                  <a:lnTo>
                    <a:pt x="23" y="10"/>
                  </a:lnTo>
                  <a:lnTo>
                    <a:pt x="8" y="10"/>
                  </a:lnTo>
                  <a:lnTo>
                    <a:pt x="5" y="3"/>
                  </a:lnTo>
                  <a:lnTo>
                    <a:pt x="23" y="3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7" name="Freeform 909">
              <a:extLst>
                <a:ext uri="{FF2B5EF4-FFF2-40B4-BE49-F238E27FC236}">
                  <a16:creationId xmlns:a16="http://schemas.microsoft.com/office/drawing/2014/main" id="{3844F659-3F11-4FC3-93BA-438F22DDC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8" name="Freeform 910">
              <a:extLst>
                <a:ext uri="{FF2B5EF4-FFF2-40B4-BE49-F238E27FC236}">
                  <a16:creationId xmlns:a16="http://schemas.microsoft.com/office/drawing/2014/main" id="{D3E3CFDA-7806-4664-BBCD-77DDEC2B7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9" name="Freeform 911">
              <a:extLst>
                <a:ext uri="{FF2B5EF4-FFF2-40B4-BE49-F238E27FC236}">
                  <a16:creationId xmlns:a16="http://schemas.microsoft.com/office/drawing/2014/main" id="{E483CC14-A9EB-437D-8F9E-F5734F947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0" name="Freeform 912">
              <a:extLst>
                <a:ext uri="{FF2B5EF4-FFF2-40B4-BE49-F238E27FC236}">
                  <a16:creationId xmlns:a16="http://schemas.microsoft.com/office/drawing/2014/main" id="{ADE7ADD3-515C-4CAF-B197-371874CE6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  <a:gd name="T6" fmla="*/ 0 w 8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1" name="Freeform 913">
              <a:extLst>
                <a:ext uri="{FF2B5EF4-FFF2-40B4-BE49-F238E27FC236}">
                  <a16:creationId xmlns:a16="http://schemas.microsoft.com/office/drawing/2014/main" id="{99A49F7C-3982-433F-926A-82BB3C1A5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2" name="Freeform 914">
              <a:extLst>
                <a:ext uri="{FF2B5EF4-FFF2-40B4-BE49-F238E27FC236}">
                  <a16:creationId xmlns:a16="http://schemas.microsoft.com/office/drawing/2014/main" id="{7F85A9A6-7711-4A51-9331-0B48A21E5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3" name="Freeform 915">
              <a:extLst>
                <a:ext uri="{FF2B5EF4-FFF2-40B4-BE49-F238E27FC236}">
                  <a16:creationId xmlns:a16="http://schemas.microsoft.com/office/drawing/2014/main" id="{DA494D57-8EB8-4EFE-803F-8A8BF2A59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4" name="Freeform 916">
              <a:extLst>
                <a:ext uri="{FF2B5EF4-FFF2-40B4-BE49-F238E27FC236}">
                  <a16:creationId xmlns:a16="http://schemas.microsoft.com/office/drawing/2014/main" id="{37DCB11C-36C3-42E9-A644-7ED77C33B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5" name="Freeform 917">
              <a:extLst>
                <a:ext uri="{FF2B5EF4-FFF2-40B4-BE49-F238E27FC236}">
                  <a16:creationId xmlns:a16="http://schemas.microsoft.com/office/drawing/2014/main" id="{15A8B3D6-5631-47FF-AE9D-440DAC0C8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6" name="Freeform 918">
              <a:extLst>
                <a:ext uri="{FF2B5EF4-FFF2-40B4-BE49-F238E27FC236}">
                  <a16:creationId xmlns:a16="http://schemas.microsoft.com/office/drawing/2014/main" id="{03E7DBE3-099B-46F0-B954-A46008802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7" name="Freeform 919">
              <a:extLst>
                <a:ext uri="{FF2B5EF4-FFF2-40B4-BE49-F238E27FC236}">
                  <a16:creationId xmlns:a16="http://schemas.microsoft.com/office/drawing/2014/main" id="{8F86CD2E-7836-43DB-B039-CA706D4B5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8" name="Freeform 920">
              <a:extLst>
                <a:ext uri="{FF2B5EF4-FFF2-40B4-BE49-F238E27FC236}">
                  <a16:creationId xmlns:a16="http://schemas.microsoft.com/office/drawing/2014/main" id="{8FDC149A-9DB9-4A70-B5B3-7817801D4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9" name="Freeform 921">
              <a:extLst>
                <a:ext uri="{FF2B5EF4-FFF2-40B4-BE49-F238E27FC236}">
                  <a16:creationId xmlns:a16="http://schemas.microsoft.com/office/drawing/2014/main" id="{B79A8AB5-FA74-46FA-8C74-133D06D98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0" name="Freeform 922">
              <a:extLst>
                <a:ext uri="{FF2B5EF4-FFF2-40B4-BE49-F238E27FC236}">
                  <a16:creationId xmlns:a16="http://schemas.microsoft.com/office/drawing/2014/main" id="{1FF93445-4619-4A1F-8A57-204B77243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1" name="Freeform 923">
              <a:extLst>
                <a:ext uri="{FF2B5EF4-FFF2-40B4-BE49-F238E27FC236}">
                  <a16:creationId xmlns:a16="http://schemas.microsoft.com/office/drawing/2014/main" id="{9D299536-1642-4645-AC01-3EC055171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2" name="Freeform 924">
              <a:extLst>
                <a:ext uri="{FF2B5EF4-FFF2-40B4-BE49-F238E27FC236}">
                  <a16:creationId xmlns:a16="http://schemas.microsoft.com/office/drawing/2014/main" id="{683000A0-CC22-404A-987A-1A68F79A6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3" name="Freeform 925">
              <a:extLst>
                <a:ext uri="{FF2B5EF4-FFF2-40B4-BE49-F238E27FC236}">
                  <a16:creationId xmlns:a16="http://schemas.microsoft.com/office/drawing/2014/main" id="{07E2F11C-3A79-4553-94CB-CFF78B38C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4" name="Freeform 926">
              <a:extLst>
                <a:ext uri="{FF2B5EF4-FFF2-40B4-BE49-F238E27FC236}">
                  <a16:creationId xmlns:a16="http://schemas.microsoft.com/office/drawing/2014/main" id="{E8ECE6DF-2DFC-403B-B96E-BF1B72123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5" name="Freeform 927">
              <a:extLst>
                <a:ext uri="{FF2B5EF4-FFF2-40B4-BE49-F238E27FC236}">
                  <a16:creationId xmlns:a16="http://schemas.microsoft.com/office/drawing/2014/main" id="{29FCE37C-DE97-4363-89C2-567ABB5B1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6" name="Freeform 928">
              <a:extLst>
                <a:ext uri="{FF2B5EF4-FFF2-40B4-BE49-F238E27FC236}">
                  <a16:creationId xmlns:a16="http://schemas.microsoft.com/office/drawing/2014/main" id="{FD439DB7-E11C-44FF-9EE8-D9AEBB5F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7" name="Freeform 929">
              <a:extLst>
                <a:ext uri="{FF2B5EF4-FFF2-40B4-BE49-F238E27FC236}">
                  <a16:creationId xmlns:a16="http://schemas.microsoft.com/office/drawing/2014/main" id="{20F00B8C-52D2-40BE-8C6B-E0E1328DB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0 w 10"/>
                <a:gd name="T13" fmla="*/ 20 h 20"/>
                <a:gd name="T14" fmla="*/ 0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8" name="Freeform 930">
              <a:extLst>
                <a:ext uri="{FF2B5EF4-FFF2-40B4-BE49-F238E27FC236}">
                  <a16:creationId xmlns:a16="http://schemas.microsoft.com/office/drawing/2014/main" id="{9F7B1775-0159-4C97-980E-7EABC11D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  <a:gd name="T6" fmla="*/ 0 w 8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9" name="Freeform 931">
              <a:extLst>
                <a:ext uri="{FF2B5EF4-FFF2-40B4-BE49-F238E27FC236}">
                  <a16:creationId xmlns:a16="http://schemas.microsoft.com/office/drawing/2014/main" id="{BA5B7012-FD2A-46B2-8D19-A6889927F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0" name="Freeform 932">
              <a:extLst>
                <a:ext uri="{FF2B5EF4-FFF2-40B4-BE49-F238E27FC236}">
                  <a16:creationId xmlns:a16="http://schemas.microsoft.com/office/drawing/2014/main" id="{3543A80B-8590-402B-B103-18951C4C9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1" name="Freeform 933">
              <a:extLst>
                <a:ext uri="{FF2B5EF4-FFF2-40B4-BE49-F238E27FC236}">
                  <a16:creationId xmlns:a16="http://schemas.microsoft.com/office/drawing/2014/main" id="{DAF33F19-B518-48B1-BE30-7623D4545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  <a:gd name="T6" fmla="*/ 0 w 8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2" name="Freeform 934">
              <a:extLst>
                <a:ext uri="{FF2B5EF4-FFF2-40B4-BE49-F238E27FC236}">
                  <a16:creationId xmlns:a16="http://schemas.microsoft.com/office/drawing/2014/main" id="{D7ACA798-5D1F-41CD-A009-0C543F55F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3" name="Freeform 935">
              <a:extLst>
                <a:ext uri="{FF2B5EF4-FFF2-40B4-BE49-F238E27FC236}">
                  <a16:creationId xmlns:a16="http://schemas.microsoft.com/office/drawing/2014/main" id="{565D3ECE-4A54-45A9-B81F-A82249825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4" name="Freeform 936">
              <a:extLst>
                <a:ext uri="{FF2B5EF4-FFF2-40B4-BE49-F238E27FC236}">
                  <a16:creationId xmlns:a16="http://schemas.microsoft.com/office/drawing/2014/main" id="{4CB0BFAA-CA31-4013-B9E8-CD3841692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5" name="Freeform 937">
              <a:extLst>
                <a:ext uri="{FF2B5EF4-FFF2-40B4-BE49-F238E27FC236}">
                  <a16:creationId xmlns:a16="http://schemas.microsoft.com/office/drawing/2014/main" id="{919DD9E7-C858-42EF-832C-6F5C6A657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6" name="Freeform 938">
              <a:extLst>
                <a:ext uri="{FF2B5EF4-FFF2-40B4-BE49-F238E27FC236}">
                  <a16:creationId xmlns:a16="http://schemas.microsoft.com/office/drawing/2014/main" id="{DDEDBF08-81CD-48BE-9AC2-0492E44EB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7" name="Freeform 939">
              <a:extLst>
                <a:ext uri="{FF2B5EF4-FFF2-40B4-BE49-F238E27FC236}">
                  <a16:creationId xmlns:a16="http://schemas.microsoft.com/office/drawing/2014/main" id="{95A8025E-A2AC-462A-9448-53675F6A3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8" name="Freeform 940">
              <a:extLst>
                <a:ext uri="{FF2B5EF4-FFF2-40B4-BE49-F238E27FC236}">
                  <a16:creationId xmlns:a16="http://schemas.microsoft.com/office/drawing/2014/main" id="{EA60DCD4-497D-4453-8126-746581113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9" name="Freeform 941">
              <a:extLst>
                <a:ext uri="{FF2B5EF4-FFF2-40B4-BE49-F238E27FC236}">
                  <a16:creationId xmlns:a16="http://schemas.microsoft.com/office/drawing/2014/main" id="{9CD1172D-C0C4-4A01-A70F-56A2DBD6D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0" name="Freeform 942">
              <a:extLst>
                <a:ext uri="{FF2B5EF4-FFF2-40B4-BE49-F238E27FC236}">
                  <a16:creationId xmlns:a16="http://schemas.microsoft.com/office/drawing/2014/main" id="{DAFD7173-3BF3-44BA-AED0-5B1DF3BA0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1" name="Freeform 943">
              <a:extLst>
                <a:ext uri="{FF2B5EF4-FFF2-40B4-BE49-F238E27FC236}">
                  <a16:creationId xmlns:a16="http://schemas.microsoft.com/office/drawing/2014/main" id="{94D5F51D-9AFA-4E06-B3BC-0A23C9224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2" name="Freeform 944">
              <a:extLst>
                <a:ext uri="{FF2B5EF4-FFF2-40B4-BE49-F238E27FC236}">
                  <a16:creationId xmlns:a16="http://schemas.microsoft.com/office/drawing/2014/main" id="{AB520B64-9023-4CF4-8517-22DEDD01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3" name="Freeform 945">
              <a:extLst>
                <a:ext uri="{FF2B5EF4-FFF2-40B4-BE49-F238E27FC236}">
                  <a16:creationId xmlns:a16="http://schemas.microsoft.com/office/drawing/2014/main" id="{48880BFA-51DD-47B9-A1F0-C6A9BBC90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4" name="Freeform 946">
              <a:extLst>
                <a:ext uri="{FF2B5EF4-FFF2-40B4-BE49-F238E27FC236}">
                  <a16:creationId xmlns:a16="http://schemas.microsoft.com/office/drawing/2014/main" id="{AA85A0AA-CADC-42EC-8E6B-03F7D402A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5" name="Freeform 947">
              <a:extLst>
                <a:ext uri="{FF2B5EF4-FFF2-40B4-BE49-F238E27FC236}">
                  <a16:creationId xmlns:a16="http://schemas.microsoft.com/office/drawing/2014/main" id="{CC883170-394B-4336-94AD-2F6D2D0AF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6" name="Freeform 948">
              <a:extLst>
                <a:ext uri="{FF2B5EF4-FFF2-40B4-BE49-F238E27FC236}">
                  <a16:creationId xmlns:a16="http://schemas.microsoft.com/office/drawing/2014/main" id="{D6589BA5-0811-42E5-9CCD-42D24A91F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7" name="Freeform 949">
              <a:extLst>
                <a:ext uri="{FF2B5EF4-FFF2-40B4-BE49-F238E27FC236}">
                  <a16:creationId xmlns:a16="http://schemas.microsoft.com/office/drawing/2014/main" id="{D25FDB5D-CE6B-434A-9276-7D9622B8D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8" name="Freeform 950">
              <a:extLst>
                <a:ext uri="{FF2B5EF4-FFF2-40B4-BE49-F238E27FC236}">
                  <a16:creationId xmlns:a16="http://schemas.microsoft.com/office/drawing/2014/main" id="{2EB14428-2B07-46C8-A731-3167C3177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9" name="Freeform 951">
              <a:extLst>
                <a:ext uri="{FF2B5EF4-FFF2-40B4-BE49-F238E27FC236}">
                  <a16:creationId xmlns:a16="http://schemas.microsoft.com/office/drawing/2014/main" id="{B90329DA-B646-4A11-9403-45F2AA21D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0" name="Freeform 952">
              <a:extLst>
                <a:ext uri="{FF2B5EF4-FFF2-40B4-BE49-F238E27FC236}">
                  <a16:creationId xmlns:a16="http://schemas.microsoft.com/office/drawing/2014/main" id="{421E4273-74B7-4B37-A7C1-A3BB02B4B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1" name="Freeform 953">
              <a:extLst>
                <a:ext uri="{FF2B5EF4-FFF2-40B4-BE49-F238E27FC236}">
                  <a16:creationId xmlns:a16="http://schemas.microsoft.com/office/drawing/2014/main" id="{2D887E64-B287-49D1-A592-A0DB8E063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2292"/>
              <a:ext cx="12" cy="20"/>
            </a:xfrm>
            <a:custGeom>
              <a:avLst/>
              <a:gdLst>
                <a:gd name="T0" fmla="*/ 2 w 12"/>
                <a:gd name="T1" fmla="*/ 20 h 20"/>
                <a:gd name="T2" fmla="*/ 2 w 12"/>
                <a:gd name="T3" fmla="*/ 3 h 20"/>
                <a:gd name="T4" fmla="*/ 12 w 12"/>
                <a:gd name="T5" fmla="*/ 3 h 20"/>
                <a:gd name="T6" fmla="*/ 12 w 12"/>
                <a:gd name="T7" fmla="*/ 0 h 20"/>
                <a:gd name="T8" fmla="*/ 0 w 12"/>
                <a:gd name="T9" fmla="*/ 0 h 20"/>
                <a:gd name="T10" fmla="*/ 0 w 12"/>
                <a:gd name="T11" fmla="*/ 20 h 20"/>
                <a:gd name="T12" fmla="*/ 2 w 12"/>
                <a:gd name="T13" fmla="*/ 20 h 20"/>
                <a:gd name="T14" fmla="*/ 2 w 1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2" name="Freeform 954">
              <a:extLst>
                <a:ext uri="{FF2B5EF4-FFF2-40B4-BE49-F238E27FC236}">
                  <a16:creationId xmlns:a16="http://schemas.microsoft.com/office/drawing/2014/main" id="{633BBB13-7D6C-499B-9C30-AF69E9557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  <a:gd name="T6" fmla="*/ 0 w 8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3" name="Freeform 955">
              <a:extLst>
                <a:ext uri="{FF2B5EF4-FFF2-40B4-BE49-F238E27FC236}">
                  <a16:creationId xmlns:a16="http://schemas.microsoft.com/office/drawing/2014/main" id="{638116DC-B05D-4CB5-89E2-E7581724E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2292"/>
              <a:ext cx="8" cy="20"/>
            </a:xfrm>
            <a:custGeom>
              <a:avLst/>
              <a:gdLst>
                <a:gd name="T0" fmla="*/ 0 w 8"/>
                <a:gd name="T1" fmla="*/ 20 h 20"/>
                <a:gd name="T2" fmla="*/ 0 w 8"/>
                <a:gd name="T3" fmla="*/ 0 h 20"/>
                <a:gd name="T4" fmla="*/ 8 w 8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0">
                  <a:moveTo>
                    <a:pt x="0" y="20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4" name="Freeform 956">
              <a:extLst>
                <a:ext uri="{FF2B5EF4-FFF2-40B4-BE49-F238E27FC236}">
                  <a16:creationId xmlns:a16="http://schemas.microsoft.com/office/drawing/2014/main" id="{A4E23F5D-921C-4992-AB75-D91B1533F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5" name="Freeform 957">
              <a:extLst>
                <a:ext uri="{FF2B5EF4-FFF2-40B4-BE49-F238E27FC236}">
                  <a16:creationId xmlns:a16="http://schemas.microsoft.com/office/drawing/2014/main" id="{6551DA79-FB4B-4AE8-A102-35169E9F0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6" name="Freeform 958">
              <a:extLst>
                <a:ext uri="{FF2B5EF4-FFF2-40B4-BE49-F238E27FC236}">
                  <a16:creationId xmlns:a16="http://schemas.microsoft.com/office/drawing/2014/main" id="{9A04FB92-1641-418B-90B7-24197DF55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7" name="Freeform 959">
              <a:extLst>
                <a:ext uri="{FF2B5EF4-FFF2-40B4-BE49-F238E27FC236}">
                  <a16:creationId xmlns:a16="http://schemas.microsoft.com/office/drawing/2014/main" id="{CED6037A-94FD-4B79-8170-2D230F855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8" name="Freeform 960">
              <a:extLst>
                <a:ext uri="{FF2B5EF4-FFF2-40B4-BE49-F238E27FC236}">
                  <a16:creationId xmlns:a16="http://schemas.microsoft.com/office/drawing/2014/main" id="{BC466902-C3AE-47B9-B1FE-EFE615416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9" name="Freeform 961">
              <a:extLst>
                <a:ext uri="{FF2B5EF4-FFF2-40B4-BE49-F238E27FC236}">
                  <a16:creationId xmlns:a16="http://schemas.microsoft.com/office/drawing/2014/main" id="{CD5DC3C9-A3B7-4F6C-8588-3771C94F3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0" name="Freeform 962">
              <a:extLst>
                <a:ext uri="{FF2B5EF4-FFF2-40B4-BE49-F238E27FC236}">
                  <a16:creationId xmlns:a16="http://schemas.microsoft.com/office/drawing/2014/main" id="{601B241D-3F4E-49A4-929A-7169F3E29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1" name="Freeform 963">
              <a:extLst>
                <a:ext uri="{FF2B5EF4-FFF2-40B4-BE49-F238E27FC236}">
                  <a16:creationId xmlns:a16="http://schemas.microsoft.com/office/drawing/2014/main" id="{02E6048F-2BD1-47B9-8D29-9DD72A92D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2292"/>
              <a:ext cx="11" cy="20"/>
            </a:xfrm>
            <a:custGeom>
              <a:avLst/>
              <a:gdLst>
                <a:gd name="T0" fmla="*/ 0 w 11"/>
                <a:gd name="T1" fmla="*/ 20 h 20"/>
                <a:gd name="T2" fmla="*/ 0 w 11"/>
                <a:gd name="T3" fmla="*/ 0 h 20"/>
                <a:gd name="T4" fmla="*/ 11 w 11"/>
                <a:gd name="T5" fmla="*/ 0 h 20"/>
                <a:gd name="T6" fmla="*/ 0 w 11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0">
                  <a:moveTo>
                    <a:pt x="0" y="20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2" name="Freeform 964">
              <a:extLst>
                <a:ext uri="{FF2B5EF4-FFF2-40B4-BE49-F238E27FC236}">
                  <a16:creationId xmlns:a16="http://schemas.microsoft.com/office/drawing/2014/main" id="{CA853CDA-93DC-487C-966B-DD3483778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2292"/>
              <a:ext cx="11" cy="20"/>
            </a:xfrm>
            <a:custGeom>
              <a:avLst/>
              <a:gdLst>
                <a:gd name="T0" fmla="*/ 0 w 11"/>
                <a:gd name="T1" fmla="*/ 20 h 20"/>
                <a:gd name="T2" fmla="*/ 0 w 11"/>
                <a:gd name="T3" fmla="*/ 0 h 20"/>
                <a:gd name="T4" fmla="*/ 11 w 11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20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3" name="Freeform 965">
              <a:extLst>
                <a:ext uri="{FF2B5EF4-FFF2-40B4-BE49-F238E27FC236}">
                  <a16:creationId xmlns:a16="http://schemas.microsoft.com/office/drawing/2014/main" id="{6F7E484C-BC79-4B4F-B8C2-8BE0AA78B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2292"/>
              <a:ext cx="11" cy="20"/>
            </a:xfrm>
            <a:custGeom>
              <a:avLst/>
              <a:gdLst>
                <a:gd name="T0" fmla="*/ 3 w 11"/>
                <a:gd name="T1" fmla="*/ 20 h 20"/>
                <a:gd name="T2" fmla="*/ 3 w 11"/>
                <a:gd name="T3" fmla="*/ 3 h 20"/>
                <a:gd name="T4" fmla="*/ 11 w 11"/>
                <a:gd name="T5" fmla="*/ 3 h 20"/>
                <a:gd name="T6" fmla="*/ 11 w 11"/>
                <a:gd name="T7" fmla="*/ 0 h 20"/>
                <a:gd name="T8" fmla="*/ 0 w 11"/>
                <a:gd name="T9" fmla="*/ 0 h 20"/>
                <a:gd name="T10" fmla="*/ 0 w 11"/>
                <a:gd name="T11" fmla="*/ 20 h 20"/>
                <a:gd name="T12" fmla="*/ 3 w 11"/>
                <a:gd name="T13" fmla="*/ 20 h 20"/>
                <a:gd name="T14" fmla="*/ 3 w 1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3" y="20"/>
                  </a:moveTo>
                  <a:lnTo>
                    <a:pt x="3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4" name="Freeform 966">
              <a:extLst>
                <a:ext uri="{FF2B5EF4-FFF2-40B4-BE49-F238E27FC236}">
                  <a16:creationId xmlns:a16="http://schemas.microsoft.com/office/drawing/2014/main" id="{5DAFDF4A-79E6-4D36-8BFB-068E4B10F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5" name="Freeform 967">
              <a:extLst>
                <a:ext uri="{FF2B5EF4-FFF2-40B4-BE49-F238E27FC236}">
                  <a16:creationId xmlns:a16="http://schemas.microsoft.com/office/drawing/2014/main" id="{36C0A341-7BC2-4399-9AE5-1C2D6069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6" name="Freeform 968">
              <a:extLst>
                <a:ext uri="{FF2B5EF4-FFF2-40B4-BE49-F238E27FC236}">
                  <a16:creationId xmlns:a16="http://schemas.microsoft.com/office/drawing/2014/main" id="{9FD46DE2-5E9A-4D68-9015-B79D6F533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" y="2292"/>
              <a:ext cx="10" cy="20"/>
            </a:xfrm>
            <a:custGeom>
              <a:avLst/>
              <a:gdLst>
                <a:gd name="T0" fmla="*/ 2 w 10"/>
                <a:gd name="T1" fmla="*/ 20 h 20"/>
                <a:gd name="T2" fmla="*/ 2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2 w 10"/>
                <a:gd name="T13" fmla="*/ 20 h 20"/>
                <a:gd name="T14" fmla="*/ 2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2" y="20"/>
                  </a:moveTo>
                  <a:lnTo>
                    <a:pt x="2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7" name="Freeform 969">
              <a:extLst>
                <a:ext uri="{FF2B5EF4-FFF2-40B4-BE49-F238E27FC236}">
                  <a16:creationId xmlns:a16="http://schemas.microsoft.com/office/drawing/2014/main" id="{7BECD53A-1A8E-4FC7-AD49-7A7E1D620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8" name="Freeform 970">
              <a:extLst>
                <a:ext uri="{FF2B5EF4-FFF2-40B4-BE49-F238E27FC236}">
                  <a16:creationId xmlns:a16="http://schemas.microsoft.com/office/drawing/2014/main" id="{8A3C1F65-88ED-4384-BFAE-87C4E8F25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9" name="Freeform 971">
              <a:extLst>
                <a:ext uri="{FF2B5EF4-FFF2-40B4-BE49-F238E27FC236}">
                  <a16:creationId xmlns:a16="http://schemas.microsoft.com/office/drawing/2014/main" id="{C23B9463-BB93-49C7-A64C-1D81EDCF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0" name="Freeform 972">
              <a:extLst>
                <a:ext uri="{FF2B5EF4-FFF2-40B4-BE49-F238E27FC236}">
                  <a16:creationId xmlns:a16="http://schemas.microsoft.com/office/drawing/2014/main" id="{35552B0B-4094-4A19-B3AD-15BED1B63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1" name="Freeform 973">
              <a:extLst>
                <a:ext uri="{FF2B5EF4-FFF2-40B4-BE49-F238E27FC236}">
                  <a16:creationId xmlns:a16="http://schemas.microsoft.com/office/drawing/2014/main" id="{5F06D88D-04CE-467A-A4F8-9AD874F8F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2" name="Freeform 974">
              <a:extLst>
                <a:ext uri="{FF2B5EF4-FFF2-40B4-BE49-F238E27FC236}">
                  <a16:creationId xmlns:a16="http://schemas.microsoft.com/office/drawing/2014/main" id="{5B58A443-E27D-457B-93C6-4084A0643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" y="2292"/>
              <a:ext cx="12" cy="20"/>
            </a:xfrm>
            <a:custGeom>
              <a:avLst/>
              <a:gdLst>
                <a:gd name="T0" fmla="*/ 2 w 12"/>
                <a:gd name="T1" fmla="*/ 20 h 20"/>
                <a:gd name="T2" fmla="*/ 2 w 12"/>
                <a:gd name="T3" fmla="*/ 3 h 20"/>
                <a:gd name="T4" fmla="*/ 12 w 12"/>
                <a:gd name="T5" fmla="*/ 3 h 20"/>
                <a:gd name="T6" fmla="*/ 12 w 12"/>
                <a:gd name="T7" fmla="*/ 0 h 20"/>
                <a:gd name="T8" fmla="*/ 0 w 12"/>
                <a:gd name="T9" fmla="*/ 0 h 20"/>
                <a:gd name="T10" fmla="*/ 0 w 12"/>
                <a:gd name="T11" fmla="*/ 20 h 20"/>
                <a:gd name="T12" fmla="*/ 2 w 12"/>
                <a:gd name="T13" fmla="*/ 20 h 20"/>
                <a:gd name="T14" fmla="*/ 2 w 1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3" name="Freeform 975">
              <a:extLst>
                <a:ext uri="{FF2B5EF4-FFF2-40B4-BE49-F238E27FC236}">
                  <a16:creationId xmlns:a16="http://schemas.microsoft.com/office/drawing/2014/main" id="{2BB37CB8-E0E1-4FBD-8746-3622F908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  <a:gd name="T6" fmla="*/ 0 w 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4" name="Freeform 976">
              <a:extLst>
                <a:ext uri="{FF2B5EF4-FFF2-40B4-BE49-F238E27FC236}">
                  <a16:creationId xmlns:a16="http://schemas.microsoft.com/office/drawing/2014/main" id="{6C4D858B-F97B-410D-906D-180EB07BF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" y="2292"/>
              <a:ext cx="7" cy="20"/>
            </a:xfrm>
            <a:custGeom>
              <a:avLst/>
              <a:gdLst>
                <a:gd name="T0" fmla="*/ 0 w 7"/>
                <a:gd name="T1" fmla="*/ 20 h 20"/>
                <a:gd name="T2" fmla="*/ 0 w 7"/>
                <a:gd name="T3" fmla="*/ 0 h 20"/>
                <a:gd name="T4" fmla="*/ 7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5" name="Freeform 977">
              <a:extLst>
                <a:ext uri="{FF2B5EF4-FFF2-40B4-BE49-F238E27FC236}">
                  <a16:creationId xmlns:a16="http://schemas.microsoft.com/office/drawing/2014/main" id="{7B455267-B89F-4D75-B0A0-52E0B520C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6" name="Freeform 978">
              <a:extLst>
                <a:ext uri="{FF2B5EF4-FFF2-40B4-BE49-F238E27FC236}">
                  <a16:creationId xmlns:a16="http://schemas.microsoft.com/office/drawing/2014/main" id="{F869FC2F-F40E-46F7-9E10-F857BE127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  <a:gd name="T6" fmla="*/ 0 w 1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7" name="Freeform 979">
              <a:extLst>
                <a:ext uri="{FF2B5EF4-FFF2-40B4-BE49-F238E27FC236}">
                  <a16:creationId xmlns:a16="http://schemas.microsoft.com/office/drawing/2014/main" id="{CA9AB485-145A-4CB3-A62B-EF179655C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" y="2292"/>
              <a:ext cx="10" cy="20"/>
            </a:xfrm>
            <a:custGeom>
              <a:avLst/>
              <a:gdLst>
                <a:gd name="T0" fmla="*/ 0 w 10"/>
                <a:gd name="T1" fmla="*/ 20 h 20"/>
                <a:gd name="T2" fmla="*/ 0 w 10"/>
                <a:gd name="T3" fmla="*/ 0 h 20"/>
                <a:gd name="T4" fmla="*/ 1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20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8" name="Freeform 980">
              <a:extLst>
                <a:ext uri="{FF2B5EF4-FFF2-40B4-BE49-F238E27FC236}">
                  <a16:creationId xmlns:a16="http://schemas.microsoft.com/office/drawing/2014/main" id="{BAA38801-E78A-471D-83A5-4F1D59DA7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" y="2292"/>
              <a:ext cx="10" cy="20"/>
            </a:xfrm>
            <a:custGeom>
              <a:avLst/>
              <a:gdLst>
                <a:gd name="T0" fmla="*/ 3 w 10"/>
                <a:gd name="T1" fmla="*/ 20 h 20"/>
                <a:gd name="T2" fmla="*/ 3 w 10"/>
                <a:gd name="T3" fmla="*/ 3 h 20"/>
                <a:gd name="T4" fmla="*/ 10 w 10"/>
                <a:gd name="T5" fmla="*/ 3 h 20"/>
                <a:gd name="T6" fmla="*/ 10 w 10"/>
                <a:gd name="T7" fmla="*/ 0 h 20"/>
                <a:gd name="T8" fmla="*/ 0 w 10"/>
                <a:gd name="T9" fmla="*/ 0 h 20"/>
                <a:gd name="T10" fmla="*/ 0 w 10"/>
                <a:gd name="T11" fmla="*/ 20 h 20"/>
                <a:gd name="T12" fmla="*/ 3 w 10"/>
                <a:gd name="T13" fmla="*/ 20 h 20"/>
                <a:gd name="T14" fmla="*/ 3 w 1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0">
                  <a:moveTo>
                    <a:pt x="3" y="20"/>
                  </a:move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9" name="Freeform 981">
              <a:extLst>
                <a:ext uri="{FF2B5EF4-FFF2-40B4-BE49-F238E27FC236}">
                  <a16:creationId xmlns:a16="http://schemas.microsoft.com/office/drawing/2014/main" id="{DDCAD41D-EDB7-437B-A603-0BF16261E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" y="2292"/>
              <a:ext cx="11" cy="20"/>
            </a:xfrm>
            <a:custGeom>
              <a:avLst/>
              <a:gdLst>
                <a:gd name="T0" fmla="*/ 0 w 11"/>
                <a:gd name="T1" fmla="*/ 20 h 20"/>
                <a:gd name="T2" fmla="*/ 0 w 11"/>
                <a:gd name="T3" fmla="*/ 0 h 20"/>
                <a:gd name="T4" fmla="*/ 11 w 11"/>
                <a:gd name="T5" fmla="*/ 0 h 20"/>
                <a:gd name="T6" fmla="*/ 0 w 11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0">
                  <a:moveTo>
                    <a:pt x="0" y="20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0" name="Freeform 982">
              <a:extLst>
                <a:ext uri="{FF2B5EF4-FFF2-40B4-BE49-F238E27FC236}">
                  <a16:creationId xmlns:a16="http://schemas.microsoft.com/office/drawing/2014/main" id="{13ED55F7-5122-448F-AC01-459FA1954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" y="2292"/>
              <a:ext cx="11" cy="20"/>
            </a:xfrm>
            <a:custGeom>
              <a:avLst/>
              <a:gdLst>
                <a:gd name="T0" fmla="*/ 0 w 11"/>
                <a:gd name="T1" fmla="*/ 20 h 20"/>
                <a:gd name="T2" fmla="*/ 0 w 11"/>
                <a:gd name="T3" fmla="*/ 0 h 20"/>
                <a:gd name="T4" fmla="*/ 11 w 11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20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1" name="Freeform 983">
              <a:extLst>
                <a:ext uri="{FF2B5EF4-FFF2-40B4-BE49-F238E27FC236}">
                  <a16:creationId xmlns:a16="http://schemas.microsoft.com/office/drawing/2014/main" id="{84448F7F-D08B-44E3-9998-B8777CA05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" y="2292"/>
              <a:ext cx="11" cy="20"/>
            </a:xfrm>
            <a:custGeom>
              <a:avLst/>
              <a:gdLst>
                <a:gd name="T0" fmla="*/ 3 w 11"/>
                <a:gd name="T1" fmla="*/ 20 h 20"/>
                <a:gd name="T2" fmla="*/ 3 w 11"/>
                <a:gd name="T3" fmla="*/ 3 h 20"/>
                <a:gd name="T4" fmla="*/ 11 w 11"/>
                <a:gd name="T5" fmla="*/ 3 h 20"/>
                <a:gd name="T6" fmla="*/ 11 w 11"/>
                <a:gd name="T7" fmla="*/ 0 h 20"/>
                <a:gd name="T8" fmla="*/ 0 w 11"/>
                <a:gd name="T9" fmla="*/ 0 h 20"/>
                <a:gd name="T10" fmla="*/ 0 w 11"/>
                <a:gd name="T11" fmla="*/ 20 h 20"/>
                <a:gd name="T12" fmla="*/ 3 w 11"/>
                <a:gd name="T13" fmla="*/ 20 h 20"/>
                <a:gd name="T14" fmla="*/ 3 w 1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3" y="20"/>
                  </a:moveTo>
                  <a:lnTo>
                    <a:pt x="3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2" name="Freeform 984">
              <a:extLst>
                <a:ext uri="{FF2B5EF4-FFF2-40B4-BE49-F238E27FC236}">
                  <a16:creationId xmlns:a16="http://schemas.microsoft.com/office/drawing/2014/main" id="{B332C9D8-B82C-4F53-A472-06403DF6F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" y="2252"/>
              <a:ext cx="33" cy="30"/>
            </a:xfrm>
            <a:custGeom>
              <a:avLst/>
              <a:gdLst>
                <a:gd name="T0" fmla="*/ 0 w 33"/>
                <a:gd name="T1" fmla="*/ 30 h 30"/>
                <a:gd name="T2" fmla="*/ 33 w 33"/>
                <a:gd name="T3" fmla="*/ 0 h 30"/>
                <a:gd name="T4" fmla="*/ 0 w 33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30">
                  <a:moveTo>
                    <a:pt x="0" y="30"/>
                  </a:moveTo>
                  <a:lnTo>
                    <a:pt x="33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3" name="Line 985">
              <a:extLst>
                <a:ext uri="{FF2B5EF4-FFF2-40B4-BE49-F238E27FC236}">
                  <a16:creationId xmlns:a16="http://schemas.microsoft.com/office/drawing/2014/main" id="{4E3497FD-888A-4183-871A-94F0D9A504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49" y="2252"/>
              <a:ext cx="33" cy="3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4" name="Freeform 986">
              <a:extLst>
                <a:ext uri="{FF2B5EF4-FFF2-40B4-BE49-F238E27FC236}">
                  <a16:creationId xmlns:a16="http://schemas.microsoft.com/office/drawing/2014/main" id="{BEE188AA-6DF5-481F-BAAE-2FDACB494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" y="2252"/>
              <a:ext cx="35" cy="30"/>
            </a:xfrm>
            <a:custGeom>
              <a:avLst/>
              <a:gdLst>
                <a:gd name="T0" fmla="*/ 2 w 35"/>
                <a:gd name="T1" fmla="*/ 30 h 30"/>
                <a:gd name="T2" fmla="*/ 35 w 35"/>
                <a:gd name="T3" fmla="*/ 0 h 30"/>
                <a:gd name="T4" fmla="*/ 33 w 35"/>
                <a:gd name="T5" fmla="*/ 0 h 30"/>
                <a:gd name="T6" fmla="*/ 0 w 35"/>
                <a:gd name="T7" fmla="*/ 30 h 30"/>
                <a:gd name="T8" fmla="*/ 2 w 35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0">
                  <a:moveTo>
                    <a:pt x="2" y="30"/>
                  </a:moveTo>
                  <a:lnTo>
                    <a:pt x="35" y="0"/>
                  </a:lnTo>
                  <a:lnTo>
                    <a:pt x="33" y="0"/>
                  </a:lnTo>
                  <a:lnTo>
                    <a:pt x="0" y="30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5" name="Freeform 987">
              <a:extLst>
                <a:ext uri="{FF2B5EF4-FFF2-40B4-BE49-F238E27FC236}">
                  <a16:creationId xmlns:a16="http://schemas.microsoft.com/office/drawing/2014/main" id="{EBEDC769-96AE-4D7A-993E-C5A794139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" y="2252"/>
              <a:ext cx="35" cy="30"/>
            </a:xfrm>
            <a:custGeom>
              <a:avLst/>
              <a:gdLst>
                <a:gd name="T0" fmla="*/ 2 w 35"/>
                <a:gd name="T1" fmla="*/ 30 h 30"/>
                <a:gd name="T2" fmla="*/ 35 w 35"/>
                <a:gd name="T3" fmla="*/ 0 h 30"/>
                <a:gd name="T4" fmla="*/ 33 w 35"/>
                <a:gd name="T5" fmla="*/ 0 h 30"/>
                <a:gd name="T6" fmla="*/ 0 w 35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30">
                  <a:moveTo>
                    <a:pt x="2" y="30"/>
                  </a:moveTo>
                  <a:lnTo>
                    <a:pt x="35" y="0"/>
                  </a:lnTo>
                  <a:lnTo>
                    <a:pt x="33" y="0"/>
                  </a:lnTo>
                  <a:lnTo>
                    <a:pt x="0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6" name="Freeform 988">
              <a:extLst>
                <a:ext uri="{FF2B5EF4-FFF2-40B4-BE49-F238E27FC236}">
                  <a16:creationId xmlns:a16="http://schemas.microsoft.com/office/drawing/2014/main" id="{8557FE7F-F46F-4D39-82B9-5C9C7BF86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2252"/>
              <a:ext cx="33" cy="30"/>
            </a:xfrm>
            <a:custGeom>
              <a:avLst/>
              <a:gdLst>
                <a:gd name="T0" fmla="*/ 33 w 33"/>
                <a:gd name="T1" fmla="*/ 30 h 30"/>
                <a:gd name="T2" fmla="*/ 0 w 33"/>
                <a:gd name="T3" fmla="*/ 0 h 30"/>
                <a:gd name="T4" fmla="*/ 33 w 33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30">
                  <a:moveTo>
                    <a:pt x="33" y="30"/>
                  </a:moveTo>
                  <a:lnTo>
                    <a:pt x="0" y="0"/>
                  </a:lnTo>
                  <a:lnTo>
                    <a:pt x="3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7" name="Line 989">
              <a:extLst>
                <a:ext uri="{FF2B5EF4-FFF2-40B4-BE49-F238E27FC236}">
                  <a16:creationId xmlns:a16="http://schemas.microsoft.com/office/drawing/2014/main" id="{3908FD58-77D6-47B4-AC18-8B4907CDD1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22" y="2252"/>
              <a:ext cx="33" cy="3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8" name="Freeform 990">
              <a:extLst>
                <a:ext uri="{FF2B5EF4-FFF2-40B4-BE49-F238E27FC236}">
                  <a16:creationId xmlns:a16="http://schemas.microsoft.com/office/drawing/2014/main" id="{1539C8EA-9C03-43DC-B08B-43419D921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2252"/>
              <a:ext cx="35" cy="30"/>
            </a:xfrm>
            <a:custGeom>
              <a:avLst/>
              <a:gdLst>
                <a:gd name="T0" fmla="*/ 35 w 35"/>
                <a:gd name="T1" fmla="*/ 30 h 30"/>
                <a:gd name="T2" fmla="*/ 2 w 35"/>
                <a:gd name="T3" fmla="*/ 0 h 30"/>
                <a:gd name="T4" fmla="*/ 0 w 35"/>
                <a:gd name="T5" fmla="*/ 0 h 30"/>
                <a:gd name="T6" fmla="*/ 35 w 35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30">
                  <a:moveTo>
                    <a:pt x="35" y="3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5" y="3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9" name="Freeform 991">
              <a:extLst>
                <a:ext uri="{FF2B5EF4-FFF2-40B4-BE49-F238E27FC236}">
                  <a16:creationId xmlns:a16="http://schemas.microsoft.com/office/drawing/2014/main" id="{A46A24DA-8E75-48FB-896F-B5DB69A86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2252"/>
              <a:ext cx="35" cy="30"/>
            </a:xfrm>
            <a:custGeom>
              <a:avLst/>
              <a:gdLst>
                <a:gd name="T0" fmla="*/ 35 w 35"/>
                <a:gd name="T1" fmla="*/ 30 h 30"/>
                <a:gd name="T2" fmla="*/ 2 w 35"/>
                <a:gd name="T3" fmla="*/ 0 h 30"/>
                <a:gd name="T4" fmla="*/ 0 w 35"/>
                <a:gd name="T5" fmla="*/ 0 h 30"/>
                <a:gd name="T6" fmla="*/ 35 w 35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30">
                  <a:moveTo>
                    <a:pt x="35" y="3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5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0" name="Freeform 992">
              <a:extLst>
                <a:ext uri="{FF2B5EF4-FFF2-40B4-BE49-F238E27FC236}">
                  <a16:creationId xmlns:a16="http://schemas.microsoft.com/office/drawing/2014/main" id="{9591EF17-FD54-459D-8CCB-13BC546E7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" y="2267"/>
              <a:ext cx="20" cy="5"/>
            </a:xfrm>
            <a:custGeom>
              <a:avLst/>
              <a:gdLst>
                <a:gd name="T0" fmla="*/ 8 w 8"/>
                <a:gd name="T1" fmla="*/ 2 h 2"/>
                <a:gd name="T2" fmla="*/ 4 w 8"/>
                <a:gd name="T3" fmla="*/ 0 h 2"/>
                <a:gd name="T4" fmla="*/ 0 w 8"/>
                <a:gd name="T5" fmla="*/ 2 h 2"/>
                <a:gd name="T6" fmla="*/ 1 w 8"/>
                <a:gd name="T7" fmla="*/ 2 h 2"/>
                <a:gd name="T8" fmla="*/ 4 w 8"/>
                <a:gd name="T9" fmla="*/ 1 h 2"/>
                <a:gd name="T10" fmla="*/ 7 w 8"/>
                <a:gd name="T11" fmla="*/ 2 h 2"/>
                <a:gd name="T12" fmla="*/ 8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5" y="1"/>
                    <a:pt x="6" y="1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1" name="Freeform 993">
              <a:extLst>
                <a:ext uri="{FF2B5EF4-FFF2-40B4-BE49-F238E27FC236}">
                  <a16:creationId xmlns:a16="http://schemas.microsoft.com/office/drawing/2014/main" id="{29FE9325-F37D-4027-B4F8-F010DECD5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" y="2257"/>
              <a:ext cx="36" cy="10"/>
            </a:xfrm>
            <a:custGeom>
              <a:avLst/>
              <a:gdLst>
                <a:gd name="T0" fmla="*/ 14 w 14"/>
                <a:gd name="T1" fmla="*/ 3 h 4"/>
                <a:gd name="T2" fmla="*/ 7 w 14"/>
                <a:gd name="T3" fmla="*/ 0 h 4"/>
                <a:gd name="T4" fmla="*/ 0 w 14"/>
                <a:gd name="T5" fmla="*/ 3 h 4"/>
                <a:gd name="T6" fmla="*/ 0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3"/>
                  </a:moveTo>
                  <a:cubicBezTo>
                    <a:pt x="12" y="1"/>
                    <a:pt x="10" y="0"/>
                    <a:pt x="7" y="0"/>
                  </a:cubicBezTo>
                  <a:cubicBezTo>
                    <a:pt x="4" y="0"/>
                    <a:pt x="1" y="1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4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3"/>
                    <a:pt x="14" y="3"/>
                    <a:pt x="14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2" name="Freeform 994">
              <a:extLst>
                <a:ext uri="{FF2B5EF4-FFF2-40B4-BE49-F238E27FC236}">
                  <a16:creationId xmlns:a16="http://schemas.microsoft.com/office/drawing/2014/main" id="{92875E62-91AF-46FE-8105-BF11BA48E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244"/>
              <a:ext cx="56" cy="15"/>
            </a:xfrm>
            <a:custGeom>
              <a:avLst/>
              <a:gdLst>
                <a:gd name="T0" fmla="*/ 22 w 22"/>
                <a:gd name="T1" fmla="*/ 6 h 6"/>
                <a:gd name="T2" fmla="*/ 11 w 22"/>
                <a:gd name="T3" fmla="*/ 0 h 6"/>
                <a:gd name="T4" fmla="*/ 0 w 22"/>
                <a:gd name="T5" fmla="*/ 6 h 6"/>
                <a:gd name="T6" fmla="*/ 1 w 22"/>
                <a:gd name="T7" fmla="*/ 6 h 6"/>
                <a:gd name="T8" fmla="*/ 11 w 22"/>
                <a:gd name="T9" fmla="*/ 1 h 6"/>
                <a:gd name="T10" fmla="*/ 21 w 22"/>
                <a:gd name="T11" fmla="*/ 6 h 6"/>
                <a:gd name="T12" fmla="*/ 22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22" y="6"/>
                  </a:moveTo>
                  <a:cubicBezTo>
                    <a:pt x="19" y="2"/>
                    <a:pt x="15" y="0"/>
                    <a:pt x="11" y="0"/>
                  </a:cubicBezTo>
                  <a:cubicBezTo>
                    <a:pt x="6" y="0"/>
                    <a:pt x="3" y="2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7" y="1"/>
                    <a:pt x="11" y="1"/>
                  </a:cubicBezTo>
                  <a:cubicBezTo>
                    <a:pt x="15" y="1"/>
                    <a:pt x="19" y="3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3" name="Freeform 995">
              <a:extLst>
                <a:ext uri="{FF2B5EF4-FFF2-40B4-BE49-F238E27FC236}">
                  <a16:creationId xmlns:a16="http://schemas.microsoft.com/office/drawing/2014/main" id="{89EAC288-30C4-441F-AFDF-0BED340DD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" y="2267"/>
              <a:ext cx="20" cy="5"/>
            </a:xfrm>
            <a:custGeom>
              <a:avLst/>
              <a:gdLst>
                <a:gd name="T0" fmla="*/ 8 w 8"/>
                <a:gd name="T1" fmla="*/ 2 h 2"/>
                <a:gd name="T2" fmla="*/ 4 w 8"/>
                <a:gd name="T3" fmla="*/ 0 h 2"/>
                <a:gd name="T4" fmla="*/ 0 w 8"/>
                <a:gd name="T5" fmla="*/ 2 h 2"/>
                <a:gd name="T6" fmla="*/ 1 w 8"/>
                <a:gd name="T7" fmla="*/ 2 h 2"/>
                <a:gd name="T8" fmla="*/ 4 w 8"/>
                <a:gd name="T9" fmla="*/ 1 h 2"/>
                <a:gd name="T10" fmla="*/ 7 w 8"/>
                <a:gd name="T11" fmla="*/ 2 h 2"/>
                <a:gd name="T12" fmla="*/ 8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4" name="Freeform 996">
              <a:extLst>
                <a:ext uri="{FF2B5EF4-FFF2-40B4-BE49-F238E27FC236}">
                  <a16:creationId xmlns:a16="http://schemas.microsoft.com/office/drawing/2014/main" id="{359C9B1C-A404-4A74-9141-5B810802C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" y="2257"/>
              <a:ext cx="37" cy="10"/>
            </a:xfrm>
            <a:custGeom>
              <a:avLst/>
              <a:gdLst>
                <a:gd name="T0" fmla="*/ 15 w 15"/>
                <a:gd name="T1" fmla="*/ 3 h 4"/>
                <a:gd name="T2" fmla="*/ 7 w 15"/>
                <a:gd name="T3" fmla="*/ 0 h 4"/>
                <a:gd name="T4" fmla="*/ 0 w 15"/>
                <a:gd name="T5" fmla="*/ 3 h 4"/>
                <a:gd name="T6" fmla="*/ 1 w 15"/>
                <a:gd name="T7" fmla="*/ 4 h 4"/>
                <a:gd name="T8" fmla="*/ 7 w 15"/>
                <a:gd name="T9" fmla="*/ 1 h 4"/>
                <a:gd name="T10" fmla="*/ 14 w 15"/>
                <a:gd name="T11" fmla="*/ 4 h 4"/>
                <a:gd name="T12" fmla="*/ 15 w 15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15" y="3"/>
                  </a:moveTo>
                  <a:cubicBezTo>
                    <a:pt x="13" y="1"/>
                    <a:pt x="10" y="0"/>
                    <a:pt x="7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2"/>
                    <a:pt x="5" y="1"/>
                    <a:pt x="7" y="1"/>
                  </a:cubicBezTo>
                  <a:cubicBezTo>
                    <a:pt x="10" y="1"/>
                    <a:pt x="12" y="2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5" name="Freeform 997">
              <a:extLst>
                <a:ext uri="{FF2B5EF4-FFF2-40B4-BE49-F238E27FC236}">
                  <a16:creationId xmlns:a16="http://schemas.microsoft.com/office/drawing/2014/main" id="{2F43140E-70B2-42A9-9E5C-B29A28AB4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" y="2244"/>
              <a:ext cx="53" cy="15"/>
            </a:xfrm>
            <a:custGeom>
              <a:avLst/>
              <a:gdLst>
                <a:gd name="T0" fmla="*/ 21 w 21"/>
                <a:gd name="T1" fmla="*/ 6 h 6"/>
                <a:gd name="T2" fmla="*/ 10 w 21"/>
                <a:gd name="T3" fmla="*/ 0 h 6"/>
                <a:gd name="T4" fmla="*/ 0 w 21"/>
                <a:gd name="T5" fmla="*/ 6 h 6"/>
                <a:gd name="T6" fmla="*/ 0 w 21"/>
                <a:gd name="T7" fmla="*/ 6 h 6"/>
                <a:gd name="T8" fmla="*/ 10 w 21"/>
                <a:gd name="T9" fmla="*/ 1 h 6"/>
                <a:gd name="T10" fmla="*/ 20 w 21"/>
                <a:gd name="T11" fmla="*/ 6 h 6"/>
                <a:gd name="T12" fmla="*/ 21 w 2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6">
                  <a:moveTo>
                    <a:pt x="21" y="6"/>
                  </a:moveTo>
                  <a:cubicBezTo>
                    <a:pt x="19" y="2"/>
                    <a:pt x="15" y="0"/>
                    <a:pt x="10" y="0"/>
                  </a:cubicBezTo>
                  <a:cubicBezTo>
                    <a:pt x="6" y="0"/>
                    <a:pt x="2" y="2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3"/>
                    <a:pt x="6" y="1"/>
                    <a:pt x="10" y="1"/>
                  </a:cubicBezTo>
                  <a:cubicBezTo>
                    <a:pt x="14" y="1"/>
                    <a:pt x="18" y="3"/>
                    <a:pt x="20" y="6"/>
                  </a:cubicBezTo>
                  <a:cubicBezTo>
                    <a:pt x="21" y="6"/>
                    <a:pt x="21" y="6"/>
                    <a:pt x="21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6" name="Rectangle 998">
              <a:extLst>
                <a:ext uri="{FF2B5EF4-FFF2-40B4-BE49-F238E27FC236}">
                  <a16:creationId xmlns:a16="http://schemas.microsoft.com/office/drawing/2014/main" id="{956D3388-45BE-40BD-8D83-2227C750B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2156"/>
              <a:ext cx="250" cy="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7" name="Freeform 999">
              <a:extLst>
                <a:ext uri="{FF2B5EF4-FFF2-40B4-BE49-F238E27FC236}">
                  <a16:creationId xmlns:a16="http://schemas.microsoft.com/office/drawing/2014/main" id="{75A248CB-ABFC-4868-93B0-C3FA65964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" y="2153"/>
              <a:ext cx="253" cy="58"/>
            </a:xfrm>
            <a:custGeom>
              <a:avLst/>
              <a:gdLst>
                <a:gd name="T0" fmla="*/ 253 w 253"/>
                <a:gd name="T1" fmla="*/ 58 h 58"/>
                <a:gd name="T2" fmla="*/ 253 w 253"/>
                <a:gd name="T3" fmla="*/ 56 h 58"/>
                <a:gd name="T4" fmla="*/ 3 w 253"/>
                <a:gd name="T5" fmla="*/ 56 h 58"/>
                <a:gd name="T6" fmla="*/ 3 w 253"/>
                <a:gd name="T7" fmla="*/ 3 h 58"/>
                <a:gd name="T8" fmla="*/ 250 w 253"/>
                <a:gd name="T9" fmla="*/ 3 h 58"/>
                <a:gd name="T10" fmla="*/ 250 w 253"/>
                <a:gd name="T11" fmla="*/ 58 h 58"/>
                <a:gd name="T12" fmla="*/ 253 w 253"/>
                <a:gd name="T13" fmla="*/ 58 h 58"/>
                <a:gd name="T14" fmla="*/ 253 w 253"/>
                <a:gd name="T15" fmla="*/ 56 h 58"/>
                <a:gd name="T16" fmla="*/ 253 w 253"/>
                <a:gd name="T17" fmla="*/ 58 h 58"/>
                <a:gd name="T18" fmla="*/ 253 w 253"/>
                <a:gd name="T19" fmla="*/ 58 h 58"/>
                <a:gd name="T20" fmla="*/ 253 w 253"/>
                <a:gd name="T21" fmla="*/ 0 h 58"/>
                <a:gd name="T22" fmla="*/ 0 w 253"/>
                <a:gd name="T23" fmla="*/ 0 h 58"/>
                <a:gd name="T24" fmla="*/ 0 w 253"/>
                <a:gd name="T25" fmla="*/ 58 h 58"/>
                <a:gd name="T26" fmla="*/ 253 w 253"/>
                <a:gd name="T27" fmla="*/ 58 h 58"/>
                <a:gd name="T28" fmla="*/ 253 w 253"/>
                <a:gd name="T29" fmla="*/ 58 h 58"/>
                <a:gd name="T30" fmla="*/ 253 w 253"/>
                <a:gd name="T3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3" h="58">
                  <a:moveTo>
                    <a:pt x="253" y="58"/>
                  </a:moveTo>
                  <a:lnTo>
                    <a:pt x="253" y="56"/>
                  </a:lnTo>
                  <a:lnTo>
                    <a:pt x="3" y="56"/>
                  </a:lnTo>
                  <a:lnTo>
                    <a:pt x="3" y="3"/>
                  </a:lnTo>
                  <a:lnTo>
                    <a:pt x="250" y="3"/>
                  </a:lnTo>
                  <a:lnTo>
                    <a:pt x="250" y="58"/>
                  </a:lnTo>
                  <a:lnTo>
                    <a:pt x="253" y="58"/>
                  </a:lnTo>
                  <a:lnTo>
                    <a:pt x="253" y="56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5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8" name="Freeform 1000">
              <a:extLst>
                <a:ext uri="{FF2B5EF4-FFF2-40B4-BE49-F238E27FC236}">
                  <a16:creationId xmlns:a16="http://schemas.microsoft.com/office/drawing/2014/main" id="{1BCE3E9A-E7D7-40D2-BDE4-827CD8F62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5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9" name="Freeform 1001">
              <a:extLst>
                <a:ext uri="{FF2B5EF4-FFF2-40B4-BE49-F238E27FC236}">
                  <a16:creationId xmlns:a16="http://schemas.microsoft.com/office/drawing/2014/main" id="{D24A6BE8-98EF-42F9-B5E0-951BA8C08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3 w 7"/>
                <a:gd name="T13" fmla="*/ 4 h 4"/>
                <a:gd name="T14" fmla="*/ 3 w 7"/>
                <a:gd name="T15" fmla="*/ 3 h 4"/>
                <a:gd name="T16" fmla="*/ 3 w 7"/>
                <a:gd name="T17" fmla="*/ 3 h 4"/>
                <a:gd name="T18" fmla="*/ 1 w 7"/>
                <a:gd name="T19" fmla="*/ 1 h 4"/>
                <a:gd name="T20" fmla="*/ 0 w 7"/>
                <a:gd name="T21" fmla="*/ 1 h 4"/>
                <a:gd name="T22" fmla="*/ 0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3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0" name="Freeform 1002">
              <a:extLst>
                <a:ext uri="{FF2B5EF4-FFF2-40B4-BE49-F238E27FC236}">
                  <a16:creationId xmlns:a16="http://schemas.microsoft.com/office/drawing/2014/main" id="{F45EE401-5AF6-47F2-A145-1A3C8E82F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1" y="2211"/>
              <a:ext cx="12" cy="5"/>
            </a:xfrm>
            <a:custGeom>
              <a:avLst/>
              <a:gdLst>
                <a:gd name="T0" fmla="*/ 2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1" name="Freeform 1003">
              <a:extLst>
                <a:ext uri="{FF2B5EF4-FFF2-40B4-BE49-F238E27FC236}">
                  <a16:creationId xmlns:a16="http://schemas.microsoft.com/office/drawing/2014/main" id="{C97CAAF8-78AE-41D3-8D8B-DAE690E61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0 w 7"/>
                <a:gd name="T13" fmla="*/ 1 h 4"/>
                <a:gd name="T14" fmla="*/ 3 w 7"/>
                <a:gd name="T15" fmla="*/ 4 h 4"/>
                <a:gd name="T16" fmla="*/ 3 w 7"/>
                <a:gd name="T17" fmla="*/ 3 h 4"/>
                <a:gd name="T18" fmla="*/ 3 w 7"/>
                <a:gd name="T19" fmla="*/ 3 h 4"/>
                <a:gd name="T20" fmla="*/ 1 w 7"/>
                <a:gd name="T21" fmla="*/ 1 h 4"/>
                <a:gd name="T22" fmla="*/ 1 w 7"/>
                <a:gd name="T23" fmla="*/ 1 h 4"/>
                <a:gd name="T24" fmla="*/ 1 w 7"/>
                <a:gd name="T25" fmla="*/ 1 h 4"/>
                <a:gd name="T26" fmla="*/ 1 w 7"/>
                <a:gd name="T27" fmla="*/ 1 h 4"/>
                <a:gd name="T28" fmla="*/ 1 w 7"/>
                <a:gd name="T29" fmla="*/ 1 h 4"/>
                <a:gd name="T30" fmla="*/ 1 w 7"/>
                <a:gd name="T31" fmla="*/ 1 h 4"/>
                <a:gd name="T32" fmla="*/ 1 w 7"/>
                <a:gd name="T33" fmla="*/ 1 h 4"/>
                <a:gd name="T34" fmla="*/ 1 w 7"/>
                <a:gd name="T35" fmla="*/ 1 h 4"/>
                <a:gd name="T36" fmla="*/ 6 w 7"/>
                <a:gd name="T37" fmla="*/ 1 h 4"/>
                <a:gd name="T38" fmla="*/ 6 w 7"/>
                <a:gd name="T39" fmla="*/ 1 h 4"/>
                <a:gd name="T40" fmla="*/ 6 w 7"/>
                <a:gd name="T41" fmla="*/ 1 h 4"/>
                <a:gd name="T42" fmla="*/ 3 w 7"/>
                <a:gd name="T4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2" name="Freeform 1004">
              <a:extLst>
                <a:ext uri="{FF2B5EF4-FFF2-40B4-BE49-F238E27FC236}">
                  <a16:creationId xmlns:a16="http://schemas.microsoft.com/office/drawing/2014/main" id="{F710EC50-54EB-422B-944E-5F0642F2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" y="2211"/>
              <a:ext cx="13" cy="5"/>
            </a:xfrm>
            <a:custGeom>
              <a:avLst/>
              <a:gdLst>
                <a:gd name="T0" fmla="*/ 2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3" name="Freeform 1005">
              <a:extLst>
                <a:ext uri="{FF2B5EF4-FFF2-40B4-BE49-F238E27FC236}">
                  <a16:creationId xmlns:a16="http://schemas.microsoft.com/office/drawing/2014/main" id="{FBA9EC00-389C-4E5C-831C-BA3FD59C2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3 w 7"/>
                <a:gd name="T13" fmla="*/ 4 h 4"/>
                <a:gd name="T14" fmla="*/ 3 w 7"/>
                <a:gd name="T15" fmla="*/ 3 h 4"/>
                <a:gd name="T16" fmla="*/ 3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3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4" name="Freeform 1006">
              <a:extLst>
                <a:ext uri="{FF2B5EF4-FFF2-40B4-BE49-F238E27FC236}">
                  <a16:creationId xmlns:a16="http://schemas.microsoft.com/office/drawing/2014/main" id="{6D2D15B7-AE94-49F3-8F8B-33C6D2ED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7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5" name="Freeform 1007">
              <a:extLst>
                <a:ext uri="{FF2B5EF4-FFF2-40B4-BE49-F238E27FC236}">
                  <a16:creationId xmlns:a16="http://schemas.microsoft.com/office/drawing/2014/main" id="{AAE9D331-9103-4F14-80BC-FECFF22A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7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6" name="Freeform 1008">
              <a:extLst>
                <a:ext uri="{FF2B5EF4-FFF2-40B4-BE49-F238E27FC236}">
                  <a16:creationId xmlns:a16="http://schemas.microsoft.com/office/drawing/2014/main" id="{4DA260AD-28F6-4373-ADC0-ACB1A73D3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37" name="Group 1210">
            <a:extLst>
              <a:ext uri="{FF2B5EF4-FFF2-40B4-BE49-F238E27FC236}">
                <a16:creationId xmlns:a16="http://schemas.microsoft.com/office/drawing/2014/main" id="{17C470D7-32D4-4424-A33B-CB4179A351D4}"/>
              </a:ext>
            </a:extLst>
          </p:cNvPr>
          <p:cNvGrpSpPr>
            <a:grpSpLocks/>
          </p:cNvGrpSpPr>
          <p:nvPr/>
        </p:nvGrpSpPr>
        <p:grpSpPr bwMode="auto">
          <a:xfrm>
            <a:off x="504303" y="3644255"/>
            <a:ext cx="8135225" cy="219096"/>
            <a:chOff x="875" y="2120"/>
            <a:chExt cx="3676" cy="99"/>
          </a:xfrm>
        </p:grpSpPr>
        <p:sp>
          <p:nvSpPr>
            <p:cNvPr id="1337" name="Freeform 1010">
              <a:extLst>
                <a:ext uri="{FF2B5EF4-FFF2-40B4-BE49-F238E27FC236}">
                  <a16:creationId xmlns:a16="http://schemas.microsoft.com/office/drawing/2014/main" id="{26860F99-962B-450A-A3AC-7A27BBA29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8" name="Freeform 1011">
              <a:extLst>
                <a:ext uri="{FF2B5EF4-FFF2-40B4-BE49-F238E27FC236}">
                  <a16:creationId xmlns:a16="http://schemas.microsoft.com/office/drawing/2014/main" id="{E81D5A4D-05E5-44B8-9AAC-2E89F3BDE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9" name="Freeform 1012">
              <a:extLst>
                <a:ext uri="{FF2B5EF4-FFF2-40B4-BE49-F238E27FC236}">
                  <a16:creationId xmlns:a16="http://schemas.microsoft.com/office/drawing/2014/main" id="{4681128E-6F76-445A-BB94-1C695F24B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8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0" name="Freeform 1013">
              <a:extLst>
                <a:ext uri="{FF2B5EF4-FFF2-40B4-BE49-F238E27FC236}">
                  <a16:creationId xmlns:a16="http://schemas.microsoft.com/office/drawing/2014/main" id="{30B815B5-45F9-4C05-BDAF-8F81BA806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1" name="Freeform 1014">
              <a:extLst>
                <a:ext uri="{FF2B5EF4-FFF2-40B4-BE49-F238E27FC236}">
                  <a16:creationId xmlns:a16="http://schemas.microsoft.com/office/drawing/2014/main" id="{C0C285AB-BC60-4E9C-95A4-D43367472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2" name="Freeform 1015">
              <a:extLst>
                <a:ext uri="{FF2B5EF4-FFF2-40B4-BE49-F238E27FC236}">
                  <a16:creationId xmlns:a16="http://schemas.microsoft.com/office/drawing/2014/main" id="{96DA7406-EC22-43CD-9622-E520D87FA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3" name="Freeform 1016">
              <a:extLst>
                <a:ext uri="{FF2B5EF4-FFF2-40B4-BE49-F238E27FC236}">
                  <a16:creationId xmlns:a16="http://schemas.microsoft.com/office/drawing/2014/main" id="{F2F39982-CC70-4080-B610-CE7A59D84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6 w 6"/>
                <a:gd name="T17" fmla="*/ 1 h 4"/>
                <a:gd name="T18" fmla="*/ 5 w 6"/>
                <a:gd name="T19" fmla="*/ 1 h 4"/>
                <a:gd name="T20" fmla="*/ 5 w 6"/>
                <a:gd name="T21" fmla="*/ 1 h 4"/>
                <a:gd name="T22" fmla="*/ 6 w 6"/>
                <a:gd name="T23" fmla="*/ 1 h 4"/>
                <a:gd name="T24" fmla="*/ 5 w 6"/>
                <a:gd name="T25" fmla="*/ 1 h 4"/>
                <a:gd name="T26" fmla="*/ 5 w 6"/>
                <a:gd name="T27" fmla="*/ 1 h 4"/>
                <a:gd name="T28" fmla="*/ 3 w 6"/>
                <a:gd name="T29" fmla="*/ 3 h 4"/>
                <a:gd name="T30" fmla="*/ 3 w 6"/>
                <a:gd name="T31" fmla="*/ 3 h 4"/>
                <a:gd name="T32" fmla="*/ 3 w 6"/>
                <a:gd name="T33" fmla="*/ 4 h 4"/>
                <a:gd name="T34" fmla="*/ 6 w 6"/>
                <a:gd name="T35" fmla="*/ 1 h 4"/>
                <a:gd name="T36" fmla="*/ 6 w 6"/>
                <a:gd name="T37" fmla="*/ 1 h 4"/>
                <a:gd name="T38" fmla="*/ 6 w 6"/>
                <a:gd name="T39" fmla="*/ 1 h 4"/>
                <a:gd name="T40" fmla="*/ 6 w 6"/>
                <a:gd name="T41" fmla="*/ 1 h 4"/>
                <a:gd name="T42" fmla="*/ 6 w 6"/>
                <a:gd name="T43" fmla="*/ 1 h 4"/>
                <a:gd name="T44" fmla="*/ 6 w 6"/>
                <a:gd name="T45" fmla="*/ 1 h 4"/>
                <a:gd name="T46" fmla="*/ 6 w 6"/>
                <a:gd name="T47" fmla="*/ 1 h 4"/>
                <a:gd name="T48" fmla="*/ 6 w 6"/>
                <a:gd name="T49" fmla="*/ 0 h 4"/>
                <a:gd name="T50" fmla="*/ 0 w 6"/>
                <a:gd name="T51" fmla="*/ 0 h 4"/>
                <a:gd name="T52" fmla="*/ 0 w 6"/>
                <a:gd name="T53" fmla="*/ 1 h 4"/>
                <a:gd name="T54" fmla="*/ 3 w 6"/>
                <a:gd name="T55" fmla="*/ 4 h 4"/>
                <a:gd name="T56" fmla="*/ 3 w 6"/>
                <a:gd name="T5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4" name="Freeform 1017">
              <a:extLst>
                <a:ext uri="{FF2B5EF4-FFF2-40B4-BE49-F238E27FC236}">
                  <a16:creationId xmlns:a16="http://schemas.microsoft.com/office/drawing/2014/main" id="{07D3E5AF-287F-4D30-AD9B-7F94F4C1A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5" name="Freeform 1018">
              <a:extLst>
                <a:ext uri="{FF2B5EF4-FFF2-40B4-BE49-F238E27FC236}">
                  <a16:creationId xmlns:a16="http://schemas.microsoft.com/office/drawing/2014/main" id="{32B2E9ED-5AE9-4E37-873A-41F4FBCB2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6" name="Freeform 1019">
              <a:extLst>
                <a:ext uri="{FF2B5EF4-FFF2-40B4-BE49-F238E27FC236}">
                  <a16:creationId xmlns:a16="http://schemas.microsoft.com/office/drawing/2014/main" id="{CF048D26-F173-4A83-8881-F730B7A76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" y="2211"/>
              <a:ext cx="13" cy="5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7" name="Freeform 1020">
              <a:extLst>
                <a:ext uri="{FF2B5EF4-FFF2-40B4-BE49-F238E27FC236}">
                  <a16:creationId xmlns:a16="http://schemas.microsoft.com/office/drawing/2014/main" id="{757008EC-A0AE-4516-B118-99DF84251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8" name="Freeform 1021">
              <a:extLst>
                <a:ext uri="{FF2B5EF4-FFF2-40B4-BE49-F238E27FC236}">
                  <a16:creationId xmlns:a16="http://schemas.microsoft.com/office/drawing/2014/main" id="{BE1775AB-21CE-467F-BF81-DBBE90CAA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2211"/>
              <a:ext cx="12" cy="5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9" name="Freeform 1022">
              <a:extLst>
                <a:ext uri="{FF2B5EF4-FFF2-40B4-BE49-F238E27FC236}">
                  <a16:creationId xmlns:a16="http://schemas.microsoft.com/office/drawing/2014/main" id="{3CE62B79-1FC8-4EC2-A151-7076DA9B8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0" name="Freeform 1023">
              <a:extLst>
                <a:ext uri="{FF2B5EF4-FFF2-40B4-BE49-F238E27FC236}">
                  <a16:creationId xmlns:a16="http://schemas.microsoft.com/office/drawing/2014/main" id="{2009D798-E86F-4663-85FA-CE3A17803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9" y="2211"/>
              <a:ext cx="12" cy="5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1" name="Freeform 1024">
              <a:extLst>
                <a:ext uri="{FF2B5EF4-FFF2-40B4-BE49-F238E27FC236}">
                  <a16:creationId xmlns:a16="http://schemas.microsoft.com/office/drawing/2014/main" id="{D33D3FF6-558B-4A54-A329-175FFDEDC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2" name="Freeform 1025">
              <a:extLst>
                <a:ext uri="{FF2B5EF4-FFF2-40B4-BE49-F238E27FC236}">
                  <a16:creationId xmlns:a16="http://schemas.microsoft.com/office/drawing/2014/main" id="{0A4509A1-695C-4966-9DCD-E87637E9F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3" name="Freeform 1026">
              <a:extLst>
                <a:ext uri="{FF2B5EF4-FFF2-40B4-BE49-F238E27FC236}">
                  <a16:creationId xmlns:a16="http://schemas.microsoft.com/office/drawing/2014/main" id="{2673B5B1-6B84-4920-B5D3-D3A447A76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4" name="Freeform 1027">
              <a:extLst>
                <a:ext uri="{FF2B5EF4-FFF2-40B4-BE49-F238E27FC236}">
                  <a16:creationId xmlns:a16="http://schemas.microsoft.com/office/drawing/2014/main" id="{79BF1729-7097-4F54-8AE4-03D039118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5" name="Freeform 1028">
              <a:extLst>
                <a:ext uri="{FF2B5EF4-FFF2-40B4-BE49-F238E27FC236}">
                  <a16:creationId xmlns:a16="http://schemas.microsoft.com/office/drawing/2014/main" id="{877880D9-E532-4920-8061-281530E5D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6" name="Freeform 1029">
              <a:extLst>
                <a:ext uri="{FF2B5EF4-FFF2-40B4-BE49-F238E27FC236}">
                  <a16:creationId xmlns:a16="http://schemas.microsoft.com/office/drawing/2014/main" id="{A2BE042E-AA02-4F81-901A-CC4A80A6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7" name="Freeform 1030">
              <a:extLst>
                <a:ext uri="{FF2B5EF4-FFF2-40B4-BE49-F238E27FC236}">
                  <a16:creationId xmlns:a16="http://schemas.microsoft.com/office/drawing/2014/main" id="{8B455FA9-5594-474B-9B8D-4282A1957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8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8" name="Freeform 1031">
              <a:extLst>
                <a:ext uri="{FF2B5EF4-FFF2-40B4-BE49-F238E27FC236}">
                  <a16:creationId xmlns:a16="http://schemas.microsoft.com/office/drawing/2014/main" id="{AE80D5F6-963F-4B64-A3EA-1C255175F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9" name="Freeform 1032">
              <a:extLst>
                <a:ext uri="{FF2B5EF4-FFF2-40B4-BE49-F238E27FC236}">
                  <a16:creationId xmlns:a16="http://schemas.microsoft.com/office/drawing/2014/main" id="{845521E5-0BA8-4772-9521-7CB649D68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7 w 7"/>
                <a:gd name="T25" fmla="*/ 1 h 4"/>
                <a:gd name="T26" fmla="*/ 7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0" name="Freeform 1033">
              <a:extLst>
                <a:ext uri="{FF2B5EF4-FFF2-40B4-BE49-F238E27FC236}">
                  <a16:creationId xmlns:a16="http://schemas.microsoft.com/office/drawing/2014/main" id="{DCEFB13F-8497-44DF-870D-C1FD05583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1" name="Freeform 1034">
              <a:extLst>
                <a:ext uri="{FF2B5EF4-FFF2-40B4-BE49-F238E27FC236}">
                  <a16:creationId xmlns:a16="http://schemas.microsoft.com/office/drawing/2014/main" id="{9E96B02D-DAFA-4865-BB62-42E3CE9C2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0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7 w 7"/>
                <a:gd name="T25" fmla="*/ 1 h 4"/>
                <a:gd name="T26" fmla="*/ 7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2" name="Freeform 1035">
              <a:extLst>
                <a:ext uri="{FF2B5EF4-FFF2-40B4-BE49-F238E27FC236}">
                  <a16:creationId xmlns:a16="http://schemas.microsoft.com/office/drawing/2014/main" id="{85E4C815-FD67-46D5-BAB2-2F15F048F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3" name="Freeform 1036">
              <a:extLst>
                <a:ext uri="{FF2B5EF4-FFF2-40B4-BE49-F238E27FC236}">
                  <a16:creationId xmlns:a16="http://schemas.microsoft.com/office/drawing/2014/main" id="{1D21ECF0-A3D1-46D8-A250-B0C838F8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4" name="Freeform 1037">
              <a:extLst>
                <a:ext uri="{FF2B5EF4-FFF2-40B4-BE49-F238E27FC236}">
                  <a16:creationId xmlns:a16="http://schemas.microsoft.com/office/drawing/2014/main" id="{EE943FC0-756D-471F-9FC4-5B7E8691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3" y="2156"/>
              <a:ext cx="248" cy="55"/>
            </a:xfrm>
            <a:custGeom>
              <a:avLst/>
              <a:gdLst>
                <a:gd name="T0" fmla="*/ 98 w 98"/>
                <a:gd name="T1" fmla="*/ 22 h 22"/>
                <a:gd name="T2" fmla="*/ 5 w 98"/>
                <a:gd name="T3" fmla="*/ 21 h 22"/>
                <a:gd name="T4" fmla="*/ 2 w 98"/>
                <a:gd name="T5" fmla="*/ 18 h 22"/>
                <a:gd name="T6" fmla="*/ 3 w 98"/>
                <a:gd name="T7" fmla="*/ 16 h 22"/>
                <a:gd name="T8" fmla="*/ 45 w 98"/>
                <a:gd name="T9" fmla="*/ 0 h 22"/>
                <a:gd name="T10" fmla="*/ 98 w 98"/>
                <a:gd name="T11" fmla="*/ 0 h 22"/>
                <a:gd name="T12" fmla="*/ 98 w 9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22">
                  <a:moveTo>
                    <a:pt x="98" y="22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0" y="19"/>
                    <a:pt x="2" y="1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1" y="6"/>
                    <a:pt x="29" y="0"/>
                    <a:pt x="45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5" name="Freeform 1038">
              <a:extLst>
                <a:ext uri="{FF2B5EF4-FFF2-40B4-BE49-F238E27FC236}">
                  <a16:creationId xmlns:a16="http://schemas.microsoft.com/office/drawing/2014/main" id="{86918F2B-8B57-4A30-AA82-E92349F3D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" y="2153"/>
              <a:ext cx="246" cy="58"/>
            </a:xfrm>
            <a:custGeom>
              <a:avLst/>
              <a:gdLst>
                <a:gd name="T0" fmla="*/ 97 w 97"/>
                <a:gd name="T1" fmla="*/ 23 h 23"/>
                <a:gd name="T2" fmla="*/ 97 w 97"/>
                <a:gd name="T3" fmla="*/ 22 h 23"/>
                <a:gd name="T4" fmla="*/ 4 w 97"/>
                <a:gd name="T5" fmla="*/ 22 h 23"/>
                <a:gd name="T6" fmla="*/ 2 w 97"/>
                <a:gd name="T7" fmla="*/ 21 h 23"/>
                <a:gd name="T8" fmla="*/ 1 w 97"/>
                <a:gd name="T9" fmla="*/ 20 h 23"/>
                <a:gd name="T10" fmla="*/ 1 w 97"/>
                <a:gd name="T11" fmla="*/ 19 h 23"/>
                <a:gd name="T12" fmla="*/ 1 w 97"/>
                <a:gd name="T13" fmla="*/ 19 h 23"/>
                <a:gd name="T14" fmla="*/ 1 w 97"/>
                <a:gd name="T15" fmla="*/ 19 h 23"/>
                <a:gd name="T16" fmla="*/ 2 w 97"/>
                <a:gd name="T17" fmla="*/ 18 h 23"/>
                <a:gd name="T18" fmla="*/ 2 w 97"/>
                <a:gd name="T19" fmla="*/ 18 h 23"/>
                <a:gd name="T20" fmla="*/ 20 w 97"/>
                <a:gd name="T21" fmla="*/ 6 h 23"/>
                <a:gd name="T22" fmla="*/ 44 w 97"/>
                <a:gd name="T23" fmla="*/ 1 h 23"/>
                <a:gd name="T24" fmla="*/ 44 w 97"/>
                <a:gd name="T25" fmla="*/ 1 h 23"/>
                <a:gd name="T26" fmla="*/ 44 w 97"/>
                <a:gd name="T27" fmla="*/ 1 h 23"/>
                <a:gd name="T28" fmla="*/ 96 w 97"/>
                <a:gd name="T29" fmla="*/ 1 h 23"/>
                <a:gd name="T30" fmla="*/ 96 w 97"/>
                <a:gd name="T31" fmla="*/ 23 h 23"/>
                <a:gd name="T32" fmla="*/ 97 w 97"/>
                <a:gd name="T33" fmla="*/ 23 h 23"/>
                <a:gd name="T34" fmla="*/ 97 w 97"/>
                <a:gd name="T35" fmla="*/ 22 h 23"/>
                <a:gd name="T36" fmla="*/ 97 w 97"/>
                <a:gd name="T37" fmla="*/ 23 h 23"/>
                <a:gd name="T38" fmla="*/ 97 w 97"/>
                <a:gd name="T39" fmla="*/ 23 h 23"/>
                <a:gd name="T40" fmla="*/ 97 w 97"/>
                <a:gd name="T41" fmla="*/ 0 h 23"/>
                <a:gd name="T42" fmla="*/ 44 w 97"/>
                <a:gd name="T43" fmla="*/ 0 h 23"/>
                <a:gd name="T44" fmla="*/ 44 w 97"/>
                <a:gd name="T45" fmla="*/ 1 h 23"/>
                <a:gd name="T46" fmla="*/ 44 w 97"/>
                <a:gd name="T47" fmla="*/ 0 h 23"/>
                <a:gd name="T48" fmla="*/ 44 w 97"/>
                <a:gd name="T49" fmla="*/ 0 h 23"/>
                <a:gd name="T50" fmla="*/ 20 w 97"/>
                <a:gd name="T51" fmla="*/ 5 h 23"/>
                <a:gd name="T52" fmla="*/ 2 w 97"/>
                <a:gd name="T53" fmla="*/ 17 h 23"/>
                <a:gd name="T54" fmla="*/ 2 w 97"/>
                <a:gd name="T55" fmla="*/ 17 h 23"/>
                <a:gd name="T56" fmla="*/ 2 w 97"/>
                <a:gd name="T57" fmla="*/ 17 h 23"/>
                <a:gd name="T58" fmla="*/ 0 w 97"/>
                <a:gd name="T59" fmla="*/ 18 h 23"/>
                <a:gd name="T60" fmla="*/ 0 w 97"/>
                <a:gd name="T61" fmla="*/ 18 h 23"/>
                <a:gd name="T62" fmla="*/ 0 w 97"/>
                <a:gd name="T63" fmla="*/ 20 h 23"/>
                <a:gd name="T64" fmla="*/ 1 w 97"/>
                <a:gd name="T65" fmla="*/ 22 h 23"/>
                <a:gd name="T66" fmla="*/ 4 w 97"/>
                <a:gd name="T67" fmla="*/ 23 h 23"/>
                <a:gd name="T68" fmla="*/ 97 w 97"/>
                <a:gd name="T69" fmla="*/ 23 h 23"/>
                <a:gd name="T70" fmla="*/ 97 w 97"/>
                <a:gd name="T7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23">
                  <a:moveTo>
                    <a:pt x="97" y="23"/>
                  </a:moveTo>
                  <a:cubicBezTo>
                    <a:pt x="97" y="22"/>
                    <a:pt x="97" y="22"/>
                    <a:pt x="97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2"/>
                    <a:pt x="2" y="22"/>
                    <a:pt x="2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20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3"/>
                    <a:pt x="13" y="8"/>
                    <a:pt x="20" y="6"/>
                  </a:cubicBezTo>
                  <a:cubicBezTo>
                    <a:pt x="28" y="3"/>
                    <a:pt x="36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6" y="0"/>
                    <a:pt x="28" y="2"/>
                    <a:pt x="20" y="5"/>
                  </a:cubicBezTo>
                  <a:cubicBezTo>
                    <a:pt x="12" y="8"/>
                    <a:pt x="6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0" y="21"/>
                    <a:pt x="1" y="22"/>
                  </a:cubicBezTo>
                  <a:cubicBezTo>
                    <a:pt x="2" y="23"/>
                    <a:pt x="3" y="23"/>
                    <a:pt x="4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6" name="Freeform 1039">
              <a:extLst>
                <a:ext uri="{FF2B5EF4-FFF2-40B4-BE49-F238E27FC236}">
                  <a16:creationId xmlns:a16="http://schemas.microsoft.com/office/drawing/2014/main" id="{6FBCC647-6770-44CD-ACD3-9077FA046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0" y="2161"/>
              <a:ext cx="76" cy="25"/>
            </a:xfrm>
            <a:custGeom>
              <a:avLst/>
              <a:gdLst>
                <a:gd name="T0" fmla="*/ 30 w 30"/>
                <a:gd name="T1" fmla="*/ 0 h 10"/>
                <a:gd name="T2" fmla="*/ 20 w 30"/>
                <a:gd name="T3" fmla="*/ 0 h 10"/>
                <a:gd name="T4" fmla="*/ 0 w 30"/>
                <a:gd name="T5" fmla="*/ 10 h 10"/>
                <a:gd name="T6" fmla="*/ 8 w 30"/>
                <a:gd name="T7" fmla="*/ 10 h 10"/>
                <a:gd name="T8" fmla="*/ 30 w 3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0">
                  <a:moveTo>
                    <a:pt x="3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3" y="2"/>
                    <a:pt x="6" y="6"/>
                    <a:pt x="0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4" y="6"/>
                    <a:pt x="18" y="3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7" name="Freeform 1040">
              <a:extLst>
                <a:ext uri="{FF2B5EF4-FFF2-40B4-BE49-F238E27FC236}">
                  <a16:creationId xmlns:a16="http://schemas.microsoft.com/office/drawing/2014/main" id="{3E468F3A-0CA1-45DC-A32A-1696317C7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161"/>
              <a:ext cx="86" cy="25"/>
            </a:xfrm>
            <a:custGeom>
              <a:avLst/>
              <a:gdLst>
                <a:gd name="T0" fmla="*/ 31 w 34"/>
                <a:gd name="T1" fmla="*/ 0 h 10"/>
                <a:gd name="T2" fmla="*/ 31 w 34"/>
                <a:gd name="T3" fmla="*/ 0 h 10"/>
                <a:gd name="T4" fmla="*/ 21 w 34"/>
                <a:gd name="T5" fmla="*/ 0 h 10"/>
                <a:gd name="T6" fmla="*/ 21 w 34"/>
                <a:gd name="T7" fmla="*/ 0 h 10"/>
                <a:gd name="T8" fmla="*/ 1 w 34"/>
                <a:gd name="T9" fmla="*/ 10 h 10"/>
                <a:gd name="T10" fmla="*/ 0 w 34"/>
                <a:gd name="T11" fmla="*/ 10 h 10"/>
                <a:gd name="T12" fmla="*/ 9 w 34"/>
                <a:gd name="T13" fmla="*/ 10 h 10"/>
                <a:gd name="T14" fmla="*/ 9 w 34"/>
                <a:gd name="T15" fmla="*/ 10 h 10"/>
                <a:gd name="T16" fmla="*/ 31 w 34"/>
                <a:gd name="T17" fmla="*/ 1 h 10"/>
                <a:gd name="T18" fmla="*/ 34 w 34"/>
                <a:gd name="T19" fmla="*/ 0 h 10"/>
                <a:gd name="T20" fmla="*/ 31 w 34"/>
                <a:gd name="T21" fmla="*/ 0 h 10"/>
                <a:gd name="T22" fmla="*/ 31 w 34"/>
                <a:gd name="T23" fmla="*/ 0 h 10"/>
                <a:gd name="T24" fmla="*/ 30 w 34"/>
                <a:gd name="T25" fmla="*/ 0 h 10"/>
                <a:gd name="T26" fmla="*/ 8 w 34"/>
                <a:gd name="T27" fmla="*/ 10 h 10"/>
                <a:gd name="T28" fmla="*/ 9 w 34"/>
                <a:gd name="T29" fmla="*/ 10 h 10"/>
                <a:gd name="T30" fmla="*/ 9 w 34"/>
                <a:gd name="T31" fmla="*/ 9 h 10"/>
                <a:gd name="T32" fmla="*/ 1 w 34"/>
                <a:gd name="T33" fmla="*/ 9 h 10"/>
                <a:gd name="T34" fmla="*/ 1 w 34"/>
                <a:gd name="T35" fmla="*/ 10 h 10"/>
                <a:gd name="T36" fmla="*/ 2 w 34"/>
                <a:gd name="T37" fmla="*/ 10 h 10"/>
                <a:gd name="T38" fmla="*/ 21 w 34"/>
                <a:gd name="T39" fmla="*/ 1 h 10"/>
                <a:gd name="T40" fmla="*/ 21 w 34"/>
                <a:gd name="T41" fmla="*/ 0 h 10"/>
                <a:gd name="T42" fmla="*/ 21 w 34"/>
                <a:gd name="T43" fmla="*/ 1 h 10"/>
                <a:gd name="T44" fmla="*/ 31 w 34"/>
                <a:gd name="T45" fmla="*/ 1 h 10"/>
                <a:gd name="T46" fmla="*/ 31 w 34"/>
                <a:gd name="T47" fmla="*/ 0 h 10"/>
                <a:gd name="T48" fmla="*/ 30 w 34"/>
                <a:gd name="T49" fmla="*/ 0 h 10"/>
                <a:gd name="T50" fmla="*/ 31 w 34"/>
                <a:gd name="T5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4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2"/>
                    <a:pt x="6" y="5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5" y="6"/>
                    <a:pt x="19" y="4"/>
                    <a:pt x="31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9" y="3"/>
                    <a:pt x="15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7" y="6"/>
                    <a:pt x="14" y="3"/>
                    <a:pt x="21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8" name="Freeform 1041">
              <a:extLst>
                <a:ext uri="{FF2B5EF4-FFF2-40B4-BE49-F238E27FC236}">
                  <a16:creationId xmlns:a16="http://schemas.microsoft.com/office/drawing/2014/main" id="{C48C40B7-6A12-4DD0-B49F-4CCD101A2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1" y="2156"/>
              <a:ext cx="245" cy="55"/>
            </a:xfrm>
            <a:custGeom>
              <a:avLst/>
              <a:gdLst>
                <a:gd name="T0" fmla="*/ 0 w 97"/>
                <a:gd name="T1" fmla="*/ 22 h 22"/>
                <a:gd name="T2" fmla="*/ 92 w 97"/>
                <a:gd name="T3" fmla="*/ 21 h 22"/>
                <a:gd name="T4" fmla="*/ 96 w 97"/>
                <a:gd name="T5" fmla="*/ 18 h 22"/>
                <a:gd name="T6" fmla="*/ 95 w 97"/>
                <a:gd name="T7" fmla="*/ 16 h 22"/>
                <a:gd name="T8" fmla="*/ 52 w 97"/>
                <a:gd name="T9" fmla="*/ 0 h 22"/>
                <a:gd name="T10" fmla="*/ 0 w 97"/>
                <a:gd name="T11" fmla="*/ 0 h 22"/>
                <a:gd name="T12" fmla="*/ 0 w 9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22">
                  <a:moveTo>
                    <a:pt x="0" y="22"/>
                  </a:moveTo>
                  <a:cubicBezTo>
                    <a:pt x="92" y="21"/>
                    <a:pt x="92" y="21"/>
                    <a:pt x="92" y="21"/>
                  </a:cubicBezTo>
                  <a:cubicBezTo>
                    <a:pt x="95" y="21"/>
                    <a:pt x="97" y="19"/>
                    <a:pt x="96" y="18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86" y="6"/>
                    <a:pt x="68" y="0"/>
                    <a:pt x="5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9" name="Freeform 1042">
              <a:extLst>
                <a:ext uri="{FF2B5EF4-FFF2-40B4-BE49-F238E27FC236}">
                  <a16:creationId xmlns:a16="http://schemas.microsoft.com/office/drawing/2014/main" id="{93BE0405-A3B7-4CD1-84B2-F13DF3668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8" y="2153"/>
              <a:ext cx="248" cy="58"/>
            </a:xfrm>
            <a:custGeom>
              <a:avLst/>
              <a:gdLst>
                <a:gd name="T0" fmla="*/ 1 w 98"/>
                <a:gd name="T1" fmla="*/ 23 h 23"/>
                <a:gd name="T2" fmla="*/ 1 w 98"/>
                <a:gd name="T3" fmla="*/ 23 h 23"/>
                <a:gd name="T4" fmla="*/ 93 w 98"/>
                <a:gd name="T5" fmla="*/ 23 h 23"/>
                <a:gd name="T6" fmla="*/ 96 w 98"/>
                <a:gd name="T7" fmla="*/ 22 h 23"/>
                <a:gd name="T8" fmla="*/ 98 w 98"/>
                <a:gd name="T9" fmla="*/ 20 h 23"/>
                <a:gd name="T10" fmla="*/ 97 w 98"/>
                <a:gd name="T11" fmla="*/ 18 h 23"/>
                <a:gd name="T12" fmla="*/ 97 w 98"/>
                <a:gd name="T13" fmla="*/ 18 h 23"/>
                <a:gd name="T14" fmla="*/ 96 w 98"/>
                <a:gd name="T15" fmla="*/ 17 h 23"/>
                <a:gd name="T16" fmla="*/ 96 w 98"/>
                <a:gd name="T17" fmla="*/ 17 h 23"/>
                <a:gd name="T18" fmla="*/ 96 w 98"/>
                <a:gd name="T19" fmla="*/ 17 h 23"/>
                <a:gd name="T20" fmla="*/ 77 w 98"/>
                <a:gd name="T21" fmla="*/ 5 h 23"/>
                <a:gd name="T22" fmla="*/ 53 w 98"/>
                <a:gd name="T23" fmla="*/ 0 h 23"/>
                <a:gd name="T24" fmla="*/ 53 w 98"/>
                <a:gd name="T25" fmla="*/ 0 h 23"/>
                <a:gd name="T26" fmla="*/ 53 w 98"/>
                <a:gd name="T27" fmla="*/ 1 h 23"/>
                <a:gd name="T28" fmla="*/ 53 w 98"/>
                <a:gd name="T29" fmla="*/ 0 h 23"/>
                <a:gd name="T30" fmla="*/ 0 w 98"/>
                <a:gd name="T31" fmla="*/ 0 h 23"/>
                <a:gd name="T32" fmla="*/ 0 w 98"/>
                <a:gd name="T33" fmla="*/ 23 h 23"/>
                <a:gd name="T34" fmla="*/ 1 w 98"/>
                <a:gd name="T35" fmla="*/ 23 h 23"/>
                <a:gd name="T36" fmla="*/ 1 w 98"/>
                <a:gd name="T37" fmla="*/ 23 h 23"/>
                <a:gd name="T38" fmla="*/ 1 w 98"/>
                <a:gd name="T39" fmla="*/ 23 h 23"/>
                <a:gd name="T40" fmla="*/ 1 w 98"/>
                <a:gd name="T41" fmla="*/ 1 h 23"/>
                <a:gd name="T42" fmla="*/ 53 w 98"/>
                <a:gd name="T43" fmla="*/ 1 h 23"/>
                <a:gd name="T44" fmla="*/ 53 w 98"/>
                <a:gd name="T45" fmla="*/ 1 h 23"/>
                <a:gd name="T46" fmla="*/ 53 w 98"/>
                <a:gd name="T47" fmla="*/ 1 h 23"/>
                <a:gd name="T48" fmla="*/ 77 w 98"/>
                <a:gd name="T49" fmla="*/ 6 h 23"/>
                <a:gd name="T50" fmla="*/ 95 w 98"/>
                <a:gd name="T51" fmla="*/ 18 h 23"/>
                <a:gd name="T52" fmla="*/ 96 w 98"/>
                <a:gd name="T53" fmla="*/ 19 h 23"/>
                <a:gd name="T54" fmla="*/ 97 w 98"/>
                <a:gd name="T55" fmla="*/ 19 h 23"/>
                <a:gd name="T56" fmla="*/ 96 w 98"/>
                <a:gd name="T57" fmla="*/ 19 h 23"/>
                <a:gd name="T58" fmla="*/ 97 w 98"/>
                <a:gd name="T59" fmla="*/ 20 h 23"/>
                <a:gd name="T60" fmla="*/ 96 w 98"/>
                <a:gd name="T61" fmla="*/ 21 h 23"/>
                <a:gd name="T62" fmla="*/ 93 w 98"/>
                <a:gd name="T63" fmla="*/ 22 h 23"/>
                <a:gd name="T64" fmla="*/ 1 w 98"/>
                <a:gd name="T65" fmla="*/ 22 h 23"/>
                <a:gd name="T66" fmla="*/ 1 w 98"/>
                <a:gd name="T67" fmla="*/ 23 h 23"/>
                <a:gd name="T68" fmla="*/ 1 w 98"/>
                <a:gd name="T6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8" h="23">
                  <a:moveTo>
                    <a:pt x="1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4" y="23"/>
                    <a:pt x="95" y="23"/>
                    <a:pt x="96" y="22"/>
                  </a:cubicBezTo>
                  <a:cubicBezTo>
                    <a:pt x="97" y="21"/>
                    <a:pt x="98" y="21"/>
                    <a:pt x="98" y="20"/>
                  </a:cubicBezTo>
                  <a:cubicBezTo>
                    <a:pt x="98" y="19"/>
                    <a:pt x="97" y="19"/>
                    <a:pt x="97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2" y="12"/>
                    <a:pt x="85" y="8"/>
                    <a:pt x="77" y="5"/>
                  </a:cubicBezTo>
                  <a:cubicBezTo>
                    <a:pt x="70" y="2"/>
                    <a:pt x="61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61" y="1"/>
                    <a:pt x="70" y="3"/>
                    <a:pt x="77" y="6"/>
                  </a:cubicBezTo>
                  <a:cubicBezTo>
                    <a:pt x="85" y="8"/>
                    <a:pt x="91" y="13"/>
                    <a:pt x="95" y="18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20"/>
                    <a:pt x="97" y="20"/>
                  </a:cubicBezTo>
                  <a:cubicBezTo>
                    <a:pt x="97" y="20"/>
                    <a:pt x="96" y="21"/>
                    <a:pt x="96" y="21"/>
                  </a:cubicBezTo>
                  <a:cubicBezTo>
                    <a:pt x="95" y="22"/>
                    <a:pt x="94" y="22"/>
                    <a:pt x="93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0" name="Freeform 1043">
              <a:extLst>
                <a:ext uri="{FF2B5EF4-FFF2-40B4-BE49-F238E27FC236}">
                  <a16:creationId xmlns:a16="http://schemas.microsoft.com/office/drawing/2014/main" id="{677DFE43-2938-456B-92E9-1B53EF360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5" y="2161"/>
              <a:ext cx="73" cy="25"/>
            </a:xfrm>
            <a:custGeom>
              <a:avLst/>
              <a:gdLst>
                <a:gd name="T0" fmla="*/ 0 w 29"/>
                <a:gd name="T1" fmla="*/ 0 h 10"/>
                <a:gd name="T2" fmla="*/ 9 w 29"/>
                <a:gd name="T3" fmla="*/ 0 h 10"/>
                <a:gd name="T4" fmla="*/ 29 w 29"/>
                <a:gd name="T5" fmla="*/ 10 h 10"/>
                <a:gd name="T6" fmla="*/ 22 w 29"/>
                <a:gd name="T7" fmla="*/ 10 h 10"/>
                <a:gd name="T8" fmla="*/ 0 w 2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">
                  <a:moveTo>
                    <a:pt x="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7" y="2"/>
                    <a:pt x="24" y="6"/>
                    <a:pt x="29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5" y="6"/>
                    <a:pt x="1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1" name="Freeform 1044">
              <a:extLst>
                <a:ext uri="{FF2B5EF4-FFF2-40B4-BE49-F238E27FC236}">
                  <a16:creationId xmlns:a16="http://schemas.microsoft.com/office/drawing/2014/main" id="{23A9A2C3-36E4-429A-8C67-CADCB2E38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5" y="2161"/>
              <a:ext cx="86" cy="25"/>
            </a:xfrm>
            <a:custGeom>
              <a:avLst/>
              <a:gdLst>
                <a:gd name="T0" fmla="*/ 4 w 34"/>
                <a:gd name="T1" fmla="*/ 0 h 10"/>
                <a:gd name="T2" fmla="*/ 4 w 34"/>
                <a:gd name="T3" fmla="*/ 1 h 10"/>
                <a:gd name="T4" fmla="*/ 13 w 34"/>
                <a:gd name="T5" fmla="*/ 1 h 10"/>
                <a:gd name="T6" fmla="*/ 13 w 34"/>
                <a:gd name="T7" fmla="*/ 0 h 10"/>
                <a:gd name="T8" fmla="*/ 13 w 34"/>
                <a:gd name="T9" fmla="*/ 1 h 10"/>
                <a:gd name="T10" fmla="*/ 33 w 34"/>
                <a:gd name="T11" fmla="*/ 10 h 10"/>
                <a:gd name="T12" fmla="*/ 33 w 34"/>
                <a:gd name="T13" fmla="*/ 10 h 10"/>
                <a:gd name="T14" fmla="*/ 33 w 34"/>
                <a:gd name="T15" fmla="*/ 9 h 10"/>
                <a:gd name="T16" fmla="*/ 26 w 34"/>
                <a:gd name="T17" fmla="*/ 9 h 10"/>
                <a:gd name="T18" fmla="*/ 26 w 34"/>
                <a:gd name="T19" fmla="*/ 10 h 10"/>
                <a:gd name="T20" fmla="*/ 26 w 34"/>
                <a:gd name="T21" fmla="*/ 10 h 10"/>
                <a:gd name="T22" fmla="*/ 4 w 34"/>
                <a:gd name="T23" fmla="*/ 0 h 10"/>
                <a:gd name="T24" fmla="*/ 4 w 34"/>
                <a:gd name="T25" fmla="*/ 0 h 10"/>
                <a:gd name="T26" fmla="*/ 4 w 34"/>
                <a:gd name="T27" fmla="*/ 1 h 10"/>
                <a:gd name="T28" fmla="*/ 4 w 34"/>
                <a:gd name="T29" fmla="*/ 0 h 10"/>
                <a:gd name="T30" fmla="*/ 4 w 34"/>
                <a:gd name="T31" fmla="*/ 1 h 10"/>
                <a:gd name="T32" fmla="*/ 26 w 34"/>
                <a:gd name="T33" fmla="*/ 10 h 10"/>
                <a:gd name="T34" fmla="*/ 26 w 34"/>
                <a:gd name="T35" fmla="*/ 10 h 10"/>
                <a:gd name="T36" fmla="*/ 34 w 34"/>
                <a:gd name="T37" fmla="*/ 10 h 10"/>
                <a:gd name="T38" fmla="*/ 33 w 34"/>
                <a:gd name="T39" fmla="*/ 10 h 10"/>
                <a:gd name="T40" fmla="*/ 13 w 34"/>
                <a:gd name="T41" fmla="*/ 0 h 10"/>
                <a:gd name="T42" fmla="*/ 13 w 34"/>
                <a:gd name="T43" fmla="*/ 0 h 10"/>
                <a:gd name="T44" fmla="*/ 0 w 34"/>
                <a:gd name="T45" fmla="*/ 0 h 10"/>
                <a:gd name="T46" fmla="*/ 4 w 34"/>
                <a:gd name="T47" fmla="*/ 1 h 10"/>
                <a:gd name="T48" fmla="*/ 4 w 34"/>
                <a:gd name="T4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10">
                  <a:moveTo>
                    <a:pt x="4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1" y="3"/>
                    <a:pt x="28" y="6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0" y="5"/>
                    <a:pt x="16" y="3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15" y="4"/>
                    <a:pt x="19" y="6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28" y="5"/>
                    <a:pt x="21" y="2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2" name="Freeform 1045">
              <a:extLst>
                <a:ext uri="{FF2B5EF4-FFF2-40B4-BE49-F238E27FC236}">
                  <a16:creationId xmlns:a16="http://schemas.microsoft.com/office/drawing/2014/main" id="{E20293C2-2911-4F3A-9DD2-EE0E057D0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3" name="Freeform 1046">
              <a:extLst>
                <a:ext uri="{FF2B5EF4-FFF2-40B4-BE49-F238E27FC236}">
                  <a16:creationId xmlns:a16="http://schemas.microsoft.com/office/drawing/2014/main" id="{B098E4D5-565D-434F-B63F-EE63679A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3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4" name="Freeform 1047">
              <a:extLst>
                <a:ext uri="{FF2B5EF4-FFF2-40B4-BE49-F238E27FC236}">
                  <a16:creationId xmlns:a16="http://schemas.microsoft.com/office/drawing/2014/main" id="{68D0E7E9-86FF-49F5-9E3E-C80119807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5" name="Freeform 1048">
              <a:extLst>
                <a:ext uri="{FF2B5EF4-FFF2-40B4-BE49-F238E27FC236}">
                  <a16:creationId xmlns:a16="http://schemas.microsoft.com/office/drawing/2014/main" id="{739BDF1E-F35B-4F24-B8B6-FEF30F5ED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6" name="Freeform 1049">
              <a:extLst>
                <a:ext uri="{FF2B5EF4-FFF2-40B4-BE49-F238E27FC236}">
                  <a16:creationId xmlns:a16="http://schemas.microsoft.com/office/drawing/2014/main" id="{22852AB5-2256-454D-986B-FE6C3EB79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7" name="Freeform 1050">
              <a:extLst>
                <a:ext uri="{FF2B5EF4-FFF2-40B4-BE49-F238E27FC236}">
                  <a16:creationId xmlns:a16="http://schemas.microsoft.com/office/drawing/2014/main" id="{C6E89C6E-1CA9-4FFE-98F8-775152FAD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8" name="Freeform 1051">
              <a:extLst>
                <a:ext uri="{FF2B5EF4-FFF2-40B4-BE49-F238E27FC236}">
                  <a16:creationId xmlns:a16="http://schemas.microsoft.com/office/drawing/2014/main" id="{4404DE4C-9960-4B38-AA0E-AD01FB5DF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9" name="Freeform 1052">
              <a:extLst>
                <a:ext uri="{FF2B5EF4-FFF2-40B4-BE49-F238E27FC236}">
                  <a16:creationId xmlns:a16="http://schemas.microsoft.com/office/drawing/2014/main" id="{D1FD1624-BF72-4EF4-8E57-770D5BB1A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0" name="Freeform 1053">
              <a:extLst>
                <a:ext uri="{FF2B5EF4-FFF2-40B4-BE49-F238E27FC236}">
                  <a16:creationId xmlns:a16="http://schemas.microsoft.com/office/drawing/2014/main" id="{38157D2F-420F-4615-AE4E-3B23098CF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1" name="Freeform 1054">
              <a:extLst>
                <a:ext uri="{FF2B5EF4-FFF2-40B4-BE49-F238E27FC236}">
                  <a16:creationId xmlns:a16="http://schemas.microsoft.com/office/drawing/2014/main" id="{1394BAAA-F268-479A-81E0-1060137D4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2" name="Freeform 1055">
              <a:extLst>
                <a:ext uri="{FF2B5EF4-FFF2-40B4-BE49-F238E27FC236}">
                  <a16:creationId xmlns:a16="http://schemas.microsoft.com/office/drawing/2014/main" id="{DCFE633B-1693-4B95-9083-82B12C452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2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3" name="Freeform 1056">
              <a:extLst>
                <a:ext uri="{FF2B5EF4-FFF2-40B4-BE49-F238E27FC236}">
                  <a16:creationId xmlns:a16="http://schemas.microsoft.com/office/drawing/2014/main" id="{4F968AD0-B184-4251-9776-53898C9C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4" name="Freeform 1057">
              <a:extLst>
                <a:ext uri="{FF2B5EF4-FFF2-40B4-BE49-F238E27FC236}">
                  <a16:creationId xmlns:a16="http://schemas.microsoft.com/office/drawing/2014/main" id="{16A287CE-5D74-4481-BD8C-F17D26C9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5" name="Freeform 1058">
              <a:extLst>
                <a:ext uri="{FF2B5EF4-FFF2-40B4-BE49-F238E27FC236}">
                  <a16:creationId xmlns:a16="http://schemas.microsoft.com/office/drawing/2014/main" id="{8043B751-C1D2-4A7E-9FE3-D1D2C3711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6" name="Freeform 1059">
              <a:extLst>
                <a:ext uri="{FF2B5EF4-FFF2-40B4-BE49-F238E27FC236}">
                  <a16:creationId xmlns:a16="http://schemas.microsoft.com/office/drawing/2014/main" id="{B0FBAC92-DF70-4626-B5C3-3C12BA87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7" name="Freeform 1060">
              <a:extLst>
                <a:ext uri="{FF2B5EF4-FFF2-40B4-BE49-F238E27FC236}">
                  <a16:creationId xmlns:a16="http://schemas.microsoft.com/office/drawing/2014/main" id="{D72D3475-19F6-4A86-A663-F1B8C6277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8" name="Freeform 1061">
              <a:extLst>
                <a:ext uri="{FF2B5EF4-FFF2-40B4-BE49-F238E27FC236}">
                  <a16:creationId xmlns:a16="http://schemas.microsoft.com/office/drawing/2014/main" id="{0CFA00A8-D14F-4209-810D-31515073B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9" name="Freeform 1062">
              <a:extLst>
                <a:ext uri="{FF2B5EF4-FFF2-40B4-BE49-F238E27FC236}">
                  <a16:creationId xmlns:a16="http://schemas.microsoft.com/office/drawing/2014/main" id="{C8108C30-3134-4FA3-BF60-0D55D2A53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" y="2168"/>
              <a:ext cx="8" cy="18"/>
            </a:xfrm>
            <a:custGeom>
              <a:avLst/>
              <a:gdLst>
                <a:gd name="T0" fmla="*/ 0 w 3"/>
                <a:gd name="T1" fmla="*/ 7 h 7"/>
                <a:gd name="T2" fmla="*/ 0 w 3"/>
                <a:gd name="T3" fmla="*/ 2 h 7"/>
                <a:gd name="T4" fmla="*/ 1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1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0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0" name="Freeform 1063">
              <a:extLst>
                <a:ext uri="{FF2B5EF4-FFF2-40B4-BE49-F238E27FC236}">
                  <a16:creationId xmlns:a16="http://schemas.microsoft.com/office/drawing/2014/main" id="{377AC8A9-1487-4E61-A6F6-79C6D35CB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1" name="Freeform 1064">
              <a:extLst>
                <a:ext uri="{FF2B5EF4-FFF2-40B4-BE49-F238E27FC236}">
                  <a16:creationId xmlns:a16="http://schemas.microsoft.com/office/drawing/2014/main" id="{2259D390-8861-471F-A42B-8FAA0591B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2" name="Freeform 1065">
              <a:extLst>
                <a:ext uri="{FF2B5EF4-FFF2-40B4-BE49-F238E27FC236}">
                  <a16:creationId xmlns:a16="http://schemas.microsoft.com/office/drawing/2014/main" id="{DD9937C3-0CF5-4173-800D-2B35F8152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3" name="Freeform 1066">
              <a:extLst>
                <a:ext uri="{FF2B5EF4-FFF2-40B4-BE49-F238E27FC236}">
                  <a16:creationId xmlns:a16="http://schemas.microsoft.com/office/drawing/2014/main" id="{D018B06F-24C5-4601-9E62-D0BAB208F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4" name="Freeform 1067">
              <a:extLst>
                <a:ext uri="{FF2B5EF4-FFF2-40B4-BE49-F238E27FC236}">
                  <a16:creationId xmlns:a16="http://schemas.microsoft.com/office/drawing/2014/main" id="{7D2F854F-A368-41C5-8E16-6F6AD0E5A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5" name="Freeform 1068">
              <a:extLst>
                <a:ext uri="{FF2B5EF4-FFF2-40B4-BE49-F238E27FC236}">
                  <a16:creationId xmlns:a16="http://schemas.microsoft.com/office/drawing/2014/main" id="{09444B5F-A409-42BD-854E-96B38AEB9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9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6" name="Freeform 1069">
              <a:extLst>
                <a:ext uri="{FF2B5EF4-FFF2-40B4-BE49-F238E27FC236}">
                  <a16:creationId xmlns:a16="http://schemas.microsoft.com/office/drawing/2014/main" id="{FC4462A0-4895-4866-878E-E7166AF7E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7" name="Freeform 1070">
              <a:extLst>
                <a:ext uri="{FF2B5EF4-FFF2-40B4-BE49-F238E27FC236}">
                  <a16:creationId xmlns:a16="http://schemas.microsoft.com/office/drawing/2014/main" id="{73D69CAF-830B-4AE9-85C7-A7B60BFB3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8" name="Freeform 1071">
              <a:extLst>
                <a:ext uri="{FF2B5EF4-FFF2-40B4-BE49-F238E27FC236}">
                  <a16:creationId xmlns:a16="http://schemas.microsoft.com/office/drawing/2014/main" id="{F7E6B74F-F4C0-43CA-B9B5-B550E2ED1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9" name="Freeform 1072">
              <a:extLst>
                <a:ext uri="{FF2B5EF4-FFF2-40B4-BE49-F238E27FC236}">
                  <a16:creationId xmlns:a16="http://schemas.microsoft.com/office/drawing/2014/main" id="{8D7CCC67-C95D-4B30-93DC-E2557F919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0" name="Freeform 1073">
              <a:extLst>
                <a:ext uri="{FF2B5EF4-FFF2-40B4-BE49-F238E27FC236}">
                  <a16:creationId xmlns:a16="http://schemas.microsoft.com/office/drawing/2014/main" id="{0D9D139B-577E-47DB-942C-BA20A3F4D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5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1" name="Freeform 1074">
              <a:extLst>
                <a:ext uri="{FF2B5EF4-FFF2-40B4-BE49-F238E27FC236}">
                  <a16:creationId xmlns:a16="http://schemas.microsoft.com/office/drawing/2014/main" id="{9B39EC1F-B585-43BA-9628-CB0CBD0A8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2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2" name="Freeform 1075">
              <a:extLst>
                <a:ext uri="{FF2B5EF4-FFF2-40B4-BE49-F238E27FC236}">
                  <a16:creationId xmlns:a16="http://schemas.microsoft.com/office/drawing/2014/main" id="{BCE62C82-6503-45B5-9790-EE76DFF18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3" name="Freeform 1076">
              <a:extLst>
                <a:ext uri="{FF2B5EF4-FFF2-40B4-BE49-F238E27FC236}">
                  <a16:creationId xmlns:a16="http://schemas.microsoft.com/office/drawing/2014/main" id="{7587CC9A-CE46-4A76-BA19-19745B6A9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4" name="Freeform 1077">
              <a:extLst>
                <a:ext uri="{FF2B5EF4-FFF2-40B4-BE49-F238E27FC236}">
                  <a16:creationId xmlns:a16="http://schemas.microsoft.com/office/drawing/2014/main" id="{3BA35521-D656-49EC-A71A-D12A72881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8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5" name="Freeform 1078">
              <a:extLst>
                <a:ext uri="{FF2B5EF4-FFF2-40B4-BE49-F238E27FC236}">
                  <a16:creationId xmlns:a16="http://schemas.microsoft.com/office/drawing/2014/main" id="{E5B66BEE-34AA-49F4-BA6C-7C5528546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6" name="Freeform 1079">
              <a:extLst>
                <a:ext uri="{FF2B5EF4-FFF2-40B4-BE49-F238E27FC236}">
                  <a16:creationId xmlns:a16="http://schemas.microsoft.com/office/drawing/2014/main" id="{EC0E0F35-73BC-4B37-A75D-681A426B2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9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7" name="Freeform 1080">
              <a:extLst>
                <a:ext uri="{FF2B5EF4-FFF2-40B4-BE49-F238E27FC236}">
                  <a16:creationId xmlns:a16="http://schemas.microsoft.com/office/drawing/2014/main" id="{9FD13478-5159-4166-AE9C-ECF6307EF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8" name="Freeform 1081">
              <a:extLst>
                <a:ext uri="{FF2B5EF4-FFF2-40B4-BE49-F238E27FC236}">
                  <a16:creationId xmlns:a16="http://schemas.microsoft.com/office/drawing/2014/main" id="{263F2A97-10E1-4A0E-A3B9-9E2B3EDCD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9" name="Freeform 1082">
              <a:extLst>
                <a:ext uri="{FF2B5EF4-FFF2-40B4-BE49-F238E27FC236}">
                  <a16:creationId xmlns:a16="http://schemas.microsoft.com/office/drawing/2014/main" id="{ACA31B2E-B6D9-486D-AB2A-91B860709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0" name="Freeform 1083">
              <a:extLst>
                <a:ext uri="{FF2B5EF4-FFF2-40B4-BE49-F238E27FC236}">
                  <a16:creationId xmlns:a16="http://schemas.microsoft.com/office/drawing/2014/main" id="{B9D8F3F6-08A5-4A89-9453-73A1EA61F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1" name="Freeform 1084">
              <a:extLst>
                <a:ext uri="{FF2B5EF4-FFF2-40B4-BE49-F238E27FC236}">
                  <a16:creationId xmlns:a16="http://schemas.microsoft.com/office/drawing/2014/main" id="{8F81596A-BC09-46AB-AABB-8F6B5C326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2" name="Freeform 1085">
              <a:extLst>
                <a:ext uri="{FF2B5EF4-FFF2-40B4-BE49-F238E27FC236}">
                  <a16:creationId xmlns:a16="http://schemas.microsoft.com/office/drawing/2014/main" id="{339B0D0D-FC90-401F-AFC1-2C987ED79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2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3" name="Freeform 1086">
              <a:extLst>
                <a:ext uri="{FF2B5EF4-FFF2-40B4-BE49-F238E27FC236}">
                  <a16:creationId xmlns:a16="http://schemas.microsoft.com/office/drawing/2014/main" id="{C2120AF0-B259-4691-BD41-D241FB189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9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4" name="Freeform 1087">
              <a:extLst>
                <a:ext uri="{FF2B5EF4-FFF2-40B4-BE49-F238E27FC236}">
                  <a16:creationId xmlns:a16="http://schemas.microsoft.com/office/drawing/2014/main" id="{90958BE5-3CF8-4A0A-AC9E-430195186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5" name="Freeform 1088">
              <a:extLst>
                <a:ext uri="{FF2B5EF4-FFF2-40B4-BE49-F238E27FC236}">
                  <a16:creationId xmlns:a16="http://schemas.microsoft.com/office/drawing/2014/main" id="{0ADD1BA0-C86A-4267-8585-E474974D0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6" name="Freeform 1089">
              <a:extLst>
                <a:ext uri="{FF2B5EF4-FFF2-40B4-BE49-F238E27FC236}">
                  <a16:creationId xmlns:a16="http://schemas.microsoft.com/office/drawing/2014/main" id="{5D1BA62F-8E11-4E6D-BC66-B96E59F83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7" name="Freeform 1090">
              <a:extLst>
                <a:ext uri="{FF2B5EF4-FFF2-40B4-BE49-F238E27FC236}">
                  <a16:creationId xmlns:a16="http://schemas.microsoft.com/office/drawing/2014/main" id="{2AF835F4-4F31-4BFF-97F5-7B4F27159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8" name="Freeform 1091">
              <a:extLst>
                <a:ext uri="{FF2B5EF4-FFF2-40B4-BE49-F238E27FC236}">
                  <a16:creationId xmlns:a16="http://schemas.microsoft.com/office/drawing/2014/main" id="{39732EBC-FFFF-42CC-8192-1187CB3A4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" y="2143"/>
              <a:ext cx="20" cy="8"/>
            </a:xfrm>
            <a:custGeom>
              <a:avLst/>
              <a:gdLst>
                <a:gd name="T0" fmla="*/ 8 w 8"/>
                <a:gd name="T1" fmla="*/ 2 h 3"/>
                <a:gd name="T2" fmla="*/ 4 w 8"/>
                <a:gd name="T3" fmla="*/ 0 h 3"/>
                <a:gd name="T4" fmla="*/ 0 w 8"/>
                <a:gd name="T5" fmla="*/ 2 h 3"/>
                <a:gd name="T6" fmla="*/ 1 w 8"/>
                <a:gd name="T7" fmla="*/ 3 h 3"/>
                <a:gd name="T8" fmla="*/ 4 w 8"/>
                <a:gd name="T9" fmla="*/ 1 h 3"/>
                <a:gd name="T10" fmla="*/ 7 w 8"/>
                <a:gd name="T11" fmla="*/ 3 h 3"/>
                <a:gd name="T12" fmla="*/ 8 w 8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8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19" name="Freeform 1092">
              <a:extLst>
                <a:ext uri="{FF2B5EF4-FFF2-40B4-BE49-F238E27FC236}">
                  <a16:creationId xmlns:a16="http://schemas.microsoft.com/office/drawing/2014/main" id="{884E7F87-98E2-4CAB-9274-47C0865EE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" y="2133"/>
              <a:ext cx="38" cy="10"/>
            </a:xfrm>
            <a:custGeom>
              <a:avLst/>
              <a:gdLst>
                <a:gd name="T0" fmla="*/ 15 w 15"/>
                <a:gd name="T1" fmla="*/ 3 h 4"/>
                <a:gd name="T2" fmla="*/ 8 w 15"/>
                <a:gd name="T3" fmla="*/ 0 h 4"/>
                <a:gd name="T4" fmla="*/ 0 w 15"/>
                <a:gd name="T5" fmla="*/ 3 h 4"/>
                <a:gd name="T6" fmla="*/ 1 w 15"/>
                <a:gd name="T7" fmla="*/ 4 h 4"/>
                <a:gd name="T8" fmla="*/ 8 w 15"/>
                <a:gd name="T9" fmla="*/ 1 h 4"/>
                <a:gd name="T10" fmla="*/ 14 w 15"/>
                <a:gd name="T11" fmla="*/ 4 h 4"/>
                <a:gd name="T12" fmla="*/ 15 w 15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15" y="3"/>
                  </a:moveTo>
                  <a:cubicBezTo>
                    <a:pt x="13" y="1"/>
                    <a:pt x="11" y="0"/>
                    <a:pt x="8" y="0"/>
                  </a:cubicBezTo>
                  <a:cubicBezTo>
                    <a:pt x="5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2"/>
                    <a:pt x="5" y="1"/>
                    <a:pt x="8" y="1"/>
                  </a:cubicBezTo>
                  <a:cubicBezTo>
                    <a:pt x="10" y="1"/>
                    <a:pt x="13" y="2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0" name="Freeform 1093">
              <a:extLst>
                <a:ext uri="{FF2B5EF4-FFF2-40B4-BE49-F238E27FC236}">
                  <a16:creationId xmlns:a16="http://schemas.microsoft.com/office/drawing/2014/main" id="{5D162B3E-B3F3-427B-8031-300EBF9C9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" y="2120"/>
              <a:ext cx="55" cy="15"/>
            </a:xfrm>
            <a:custGeom>
              <a:avLst/>
              <a:gdLst>
                <a:gd name="T0" fmla="*/ 22 w 22"/>
                <a:gd name="T1" fmla="*/ 6 h 6"/>
                <a:gd name="T2" fmla="*/ 11 w 22"/>
                <a:gd name="T3" fmla="*/ 0 h 6"/>
                <a:gd name="T4" fmla="*/ 0 w 22"/>
                <a:gd name="T5" fmla="*/ 6 h 6"/>
                <a:gd name="T6" fmla="*/ 1 w 22"/>
                <a:gd name="T7" fmla="*/ 6 h 6"/>
                <a:gd name="T8" fmla="*/ 11 w 22"/>
                <a:gd name="T9" fmla="*/ 1 h 6"/>
                <a:gd name="T10" fmla="*/ 21 w 22"/>
                <a:gd name="T11" fmla="*/ 6 h 6"/>
                <a:gd name="T12" fmla="*/ 22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22" y="6"/>
                  </a:moveTo>
                  <a:cubicBezTo>
                    <a:pt x="19" y="3"/>
                    <a:pt x="15" y="0"/>
                    <a:pt x="11" y="0"/>
                  </a:cubicBezTo>
                  <a:cubicBezTo>
                    <a:pt x="6" y="0"/>
                    <a:pt x="2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7" y="1"/>
                    <a:pt x="11" y="1"/>
                  </a:cubicBezTo>
                  <a:cubicBezTo>
                    <a:pt x="15" y="1"/>
                    <a:pt x="18" y="3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1" name="Rectangle 1094">
              <a:extLst>
                <a:ext uri="{FF2B5EF4-FFF2-40B4-BE49-F238E27FC236}">
                  <a16:creationId xmlns:a16="http://schemas.microsoft.com/office/drawing/2014/main" id="{0A774A76-4DC7-45BA-AAC7-46BF0F752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" y="2156"/>
              <a:ext cx="250" cy="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2" name="Freeform 1095">
              <a:extLst>
                <a:ext uri="{FF2B5EF4-FFF2-40B4-BE49-F238E27FC236}">
                  <a16:creationId xmlns:a16="http://schemas.microsoft.com/office/drawing/2014/main" id="{599040BE-4EA3-4A6B-A9F3-A5E803F47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3" y="2153"/>
              <a:ext cx="253" cy="58"/>
            </a:xfrm>
            <a:custGeom>
              <a:avLst/>
              <a:gdLst>
                <a:gd name="T0" fmla="*/ 253 w 253"/>
                <a:gd name="T1" fmla="*/ 58 h 58"/>
                <a:gd name="T2" fmla="*/ 253 w 253"/>
                <a:gd name="T3" fmla="*/ 56 h 58"/>
                <a:gd name="T4" fmla="*/ 3 w 253"/>
                <a:gd name="T5" fmla="*/ 56 h 58"/>
                <a:gd name="T6" fmla="*/ 3 w 253"/>
                <a:gd name="T7" fmla="*/ 3 h 58"/>
                <a:gd name="T8" fmla="*/ 250 w 253"/>
                <a:gd name="T9" fmla="*/ 3 h 58"/>
                <a:gd name="T10" fmla="*/ 250 w 253"/>
                <a:gd name="T11" fmla="*/ 58 h 58"/>
                <a:gd name="T12" fmla="*/ 253 w 253"/>
                <a:gd name="T13" fmla="*/ 58 h 58"/>
                <a:gd name="T14" fmla="*/ 253 w 253"/>
                <a:gd name="T15" fmla="*/ 56 h 58"/>
                <a:gd name="T16" fmla="*/ 253 w 253"/>
                <a:gd name="T17" fmla="*/ 58 h 58"/>
                <a:gd name="T18" fmla="*/ 253 w 253"/>
                <a:gd name="T19" fmla="*/ 58 h 58"/>
                <a:gd name="T20" fmla="*/ 253 w 253"/>
                <a:gd name="T21" fmla="*/ 0 h 58"/>
                <a:gd name="T22" fmla="*/ 0 w 253"/>
                <a:gd name="T23" fmla="*/ 0 h 58"/>
                <a:gd name="T24" fmla="*/ 0 w 253"/>
                <a:gd name="T25" fmla="*/ 58 h 58"/>
                <a:gd name="T26" fmla="*/ 253 w 253"/>
                <a:gd name="T27" fmla="*/ 58 h 58"/>
                <a:gd name="T28" fmla="*/ 253 w 253"/>
                <a:gd name="T29" fmla="*/ 58 h 58"/>
                <a:gd name="T30" fmla="*/ 253 w 253"/>
                <a:gd name="T3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3" h="58">
                  <a:moveTo>
                    <a:pt x="253" y="58"/>
                  </a:moveTo>
                  <a:lnTo>
                    <a:pt x="253" y="56"/>
                  </a:lnTo>
                  <a:lnTo>
                    <a:pt x="3" y="56"/>
                  </a:lnTo>
                  <a:lnTo>
                    <a:pt x="3" y="3"/>
                  </a:lnTo>
                  <a:lnTo>
                    <a:pt x="250" y="3"/>
                  </a:lnTo>
                  <a:lnTo>
                    <a:pt x="250" y="58"/>
                  </a:lnTo>
                  <a:lnTo>
                    <a:pt x="253" y="58"/>
                  </a:lnTo>
                  <a:lnTo>
                    <a:pt x="253" y="56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5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3" name="Freeform 1096">
              <a:extLst>
                <a:ext uri="{FF2B5EF4-FFF2-40B4-BE49-F238E27FC236}">
                  <a16:creationId xmlns:a16="http://schemas.microsoft.com/office/drawing/2014/main" id="{F1E0A7D3-2E0A-4921-9C98-40E222A5A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" y="2211"/>
              <a:ext cx="12" cy="5"/>
            </a:xfrm>
            <a:custGeom>
              <a:avLst/>
              <a:gdLst>
                <a:gd name="T0" fmla="*/ 2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4" name="Freeform 1097">
              <a:extLst>
                <a:ext uri="{FF2B5EF4-FFF2-40B4-BE49-F238E27FC236}">
                  <a16:creationId xmlns:a16="http://schemas.microsoft.com/office/drawing/2014/main" id="{A828E267-E283-499E-8012-EE7A91EDE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3 w 7"/>
                <a:gd name="T13" fmla="*/ 4 h 4"/>
                <a:gd name="T14" fmla="*/ 3 w 7"/>
                <a:gd name="T15" fmla="*/ 3 h 4"/>
                <a:gd name="T16" fmla="*/ 3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3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5" name="Freeform 1098">
              <a:extLst>
                <a:ext uri="{FF2B5EF4-FFF2-40B4-BE49-F238E27FC236}">
                  <a16:creationId xmlns:a16="http://schemas.microsoft.com/office/drawing/2014/main" id="{E9F0DFED-C37C-4589-88BF-BD57DF4DF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6" y="2211"/>
              <a:ext cx="13" cy="5"/>
            </a:xfrm>
            <a:custGeom>
              <a:avLst/>
              <a:gdLst>
                <a:gd name="T0" fmla="*/ 2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6" name="Freeform 1099">
              <a:extLst>
                <a:ext uri="{FF2B5EF4-FFF2-40B4-BE49-F238E27FC236}">
                  <a16:creationId xmlns:a16="http://schemas.microsoft.com/office/drawing/2014/main" id="{2FD7ECB7-534B-4F42-93C1-C4FCE210B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3 w 7"/>
                <a:gd name="T13" fmla="*/ 4 h 4"/>
                <a:gd name="T14" fmla="*/ 3 w 7"/>
                <a:gd name="T15" fmla="*/ 3 h 4"/>
                <a:gd name="T16" fmla="*/ 3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3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7" name="Freeform 1100">
              <a:extLst>
                <a:ext uri="{FF2B5EF4-FFF2-40B4-BE49-F238E27FC236}">
                  <a16:creationId xmlns:a16="http://schemas.microsoft.com/office/drawing/2014/main" id="{572A04A0-A56E-4E3E-A070-5C0680DFE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" y="2211"/>
              <a:ext cx="13" cy="5"/>
            </a:xfrm>
            <a:custGeom>
              <a:avLst/>
              <a:gdLst>
                <a:gd name="T0" fmla="*/ 2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8" name="Freeform 1101">
              <a:extLst>
                <a:ext uri="{FF2B5EF4-FFF2-40B4-BE49-F238E27FC236}">
                  <a16:creationId xmlns:a16="http://schemas.microsoft.com/office/drawing/2014/main" id="{E0FEF84D-8B42-48CE-906D-24DF07210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" y="2209"/>
              <a:ext cx="17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3 w 7"/>
                <a:gd name="T13" fmla="*/ 4 h 4"/>
                <a:gd name="T14" fmla="*/ 3 w 7"/>
                <a:gd name="T15" fmla="*/ 3 h 4"/>
                <a:gd name="T16" fmla="*/ 3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3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29" name="Freeform 1102">
              <a:extLst>
                <a:ext uri="{FF2B5EF4-FFF2-40B4-BE49-F238E27FC236}">
                  <a16:creationId xmlns:a16="http://schemas.microsoft.com/office/drawing/2014/main" id="{65A06C8B-437A-4D43-8650-533E968B6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0" name="Freeform 1103">
              <a:extLst>
                <a:ext uri="{FF2B5EF4-FFF2-40B4-BE49-F238E27FC236}">
                  <a16:creationId xmlns:a16="http://schemas.microsoft.com/office/drawing/2014/main" id="{C3328738-C6A1-4BA9-9C2A-252192D6F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1" name="Freeform 1104">
              <a:extLst>
                <a:ext uri="{FF2B5EF4-FFF2-40B4-BE49-F238E27FC236}">
                  <a16:creationId xmlns:a16="http://schemas.microsoft.com/office/drawing/2014/main" id="{EC33CD06-4F8E-4A6D-B939-167C75583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2" name="Freeform 1105">
              <a:extLst>
                <a:ext uri="{FF2B5EF4-FFF2-40B4-BE49-F238E27FC236}">
                  <a16:creationId xmlns:a16="http://schemas.microsoft.com/office/drawing/2014/main" id="{60FFEB4E-4FF1-47CE-9C92-A2B6A97C5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3" name="Freeform 1106">
              <a:extLst>
                <a:ext uri="{FF2B5EF4-FFF2-40B4-BE49-F238E27FC236}">
                  <a16:creationId xmlns:a16="http://schemas.microsoft.com/office/drawing/2014/main" id="{10F9D531-5B24-4B56-8B62-4BE55ACE6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4" name="Freeform 1107">
              <a:extLst>
                <a:ext uri="{FF2B5EF4-FFF2-40B4-BE49-F238E27FC236}">
                  <a16:creationId xmlns:a16="http://schemas.microsoft.com/office/drawing/2014/main" id="{93369D39-E5B8-4C2B-B159-5C7994CB0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5" name="Freeform 1108">
              <a:extLst>
                <a:ext uri="{FF2B5EF4-FFF2-40B4-BE49-F238E27FC236}">
                  <a16:creationId xmlns:a16="http://schemas.microsoft.com/office/drawing/2014/main" id="{85AC361A-37D1-445A-825B-EADA10E5E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6" name="Freeform 1109">
              <a:extLst>
                <a:ext uri="{FF2B5EF4-FFF2-40B4-BE49-F238E27FC236}">
                  <a16:creationId xmlns:a16="http://schemas.microsoft.com/office/drawing/2014/main" id="{0168896D-1884-4172-972E-7839C795E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6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7" name="Freeform 1110">
              <a:extLst>
                <a:ext uri="{FF2B5EF4-FFF2-40B4-BE49-F238E27FC236}">
                  <a16:creationId xmlns:a16="http://schemas.microsoft.com/office/drawing/2014/main" id="{94E3A76A-77E1-4652-9250-A0C8DF41D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1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8" name="Freeform 1111">
              <a:extLst>
                <a:ext uri="{FF2B5EF4-FFF2-40B4-BE49-F238E27FC236}">
                  <a16:creationId xmlns:a16="http://schemas.microsoft.com/office/drawing/2014/main" id="{36857162-309E-42F1-B22D-05192E5AF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1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6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39" name="Freeform 1112">
              <a:extLst>
                <a:ext uri="{FF2B5EF4-FFF2-40B4-BE49-F238E27FC236}">
                  <a16:creationId xmlns:a16="http://schemas.microsoft.com/office/drawing/2014/main" id="{106E876D-6FB0-469F-AB36-11C2C58D4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0" name="Freeform 1113">
              <a:extLst>
                <a:ext uri="{FF2B5EF4-FFF2-40B4-BE49-F238E27FC236}">
                  <a16:creationId xmlns:a16="http://schemas.microsoft.com/office/drawing/2014/main" id="{D0C45786-9CFD-4941-8A21-5835AFE7A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1" name="Freeform 1114">
              <a:extLst>
                <a:ext uri="{FF2B5EF4-FFF2-40B4-BE49-F238E27FC236}">
                  <a16:creationId xmlns:a16="http://schemas.microsoft.com/office/drawing/2014/main" id="{2AD1A89F-B8A7-4B91-82F9-3C46F253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4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2" name="Freeform 1115">
              <a:extLst>
                <a:ext uri="{FF2B5EF4-FFF2-40B4-BE49-F238E27FC236}">
                  <a16:creationId xmlns:a16="http://schemas.microsoft.com/office/drawing/2014/main" id="{2CA9F37B-68B8-4FAD-949A-E28DCD6E2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" y="2209"/>
              <a:ext cx="17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7 w 7"/>
                <a:gd name="T11" fmla="*/ 1 h 4"/>
                <a:gd name="T12" fmla="*/ 7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3" name="Freeform 1116">
              <a:extLst>
                <a:ext uri="{FF2B5EF4-FFF2-40B4-BE49-F238E27FC236}">
                  <a16:creationId xmlns:a16="http://schemas.microsoft.com/office/drawing/2014/main" id="{519B3067-A97B-4A06-B3EF-C9CA5B09A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" y="2211"/>
              <a:ext cx="13" cy="5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4" name="Freeform 1117">
              <a:extLst>
                <a:ext uri="{FF2B5EF4-FFF2-40B4-BE49-F238E27FC236}">
                  <a16:creationId xmlns:a16="http://schemas.microsoft.com/office/drawing/2014/main" id="{485AE98B-9E70-44E0-B45F-98A7EF977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5" name="Freeform 1118">
              <a:extLst>
                <a:ext uri="{FF2B5EF4-FFF2-40B4-BE49-F238E27FC236}">
                  <a16:creationId xmlns:a16="http://schemas.microsoft.com/office/drawing/2014/main" id="{78CAD667-CA39-42E1-A885-92116D005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" y="2211"/>
              <a:ext cx="12" cy="5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6" name="Freeform 1119">
              <a:extLst>
                <a:ext uri="{FF2B5EF4-FFF2-40B4-BE49-F238E27FC236}">
                  <a16:creationId xmlns:a16="http://schemas.microsoft.com/office/drawing/2014/main" id="{DE736B86-B993-45C8-9FE4-282077355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7" name="Freeform 1120">
              <a:extLst>
                <a:ext uri="{FF2B5EF4-FFF2-40B4-BE49-F238E27FC236}">
                  <a16:creationId xmlns:a16="http://schemas.microsoft.com/office/drawing/2014/main" id="{73FC7B7D-A5DA-4538-802D-8CC2CD463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8" name="Freeform 1121">
              <a:extLst>
                <a:ext uri="{FF2B5EF4-FFF2-40B4-BE49-F238E27FC236}">
                  <a16:creationId xmlns:a16="http://schemas.microsoft.com/office/drawing/2014/main" id="{8011510E-D31A-41B8-A8E8-93E34550D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4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49" name="Freeform 1122">
              <a:extLst>
                <a:ext uri="{FF2B5EF4-FFF2-40B4-BE49-F238E27FC236}">
                  <a16:creationId xmlns:a16="http://schemas.microsoft.com/office/drawing/2014/main" id="{913B054B-25F6-4D5E-AC9B-65B1AD6A9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0" name="Freeform 1123">
              <a:extLst>
                <a:ext uri="{FF2B5EF4-FFF2-40B4-BE49-F238E27FC236}">
                  <a16:creationId xmlns:a16="http://schemas.microsoft.com/office/drawing/2014/main" id="{442D09B0-854C-4AD3-A707-102622311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1" name="Freeform 1124">
              <a:extLst>
                <a:ext uri="{FF2B5EF4-FFF2-40B4-BE49-F238E27FC236}">
                  <a16:creationId xmlns:a16="http://schemas.microsoft.com/office/drawing/2014/main" id="{393FFD48-A2C4-46F6-99FF-239E59E6D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2" name="Freeform 1125">
              <a:extLst>
                <a:ext uri="{FF2B5EF4-FFF2-40B4-BE49-F238E27FC236}">
                  <a16:creationId xmlns:a16="http://schemas.microsoft.com/office/drawing/2014/main" id="{0B2E89AA-1E83-4EDA-9EAA-A1004F4B6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" y="2209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3" name="Freeform 1126">
              <a:extLst>
                <a:ext uri="{FF2B5EF4-FFF2-40B4-BE49-F238E27FC236}">
                  <a16:creationId xmlns:a16="http://schemas.microsoft.com/office/drawing/2014/main" id="{B9136F5F-E2D5-4D50-8264-BAD4CAA81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4" name="Freeform 1127">
              <a:extLst>
                <a:ext uri="{FF2B5EF4-FFF2-40B4-BE49-F238E27FC236}">
                  <a16:creationId xmlns:a16="http://schemas.microsoft.com/office/drawing/2014/main" id="{82832493-A39E-4C78-8351-9F1AFA9AB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5" name="Freeform 1128">
              <a:extLst>
                <a:ext uri="{FF2B5EF4-FFF2-40B4-BE49-F238E27FC236}">
                  <a16:creationId xmlns:a16="http://schemas.microsoft.com/office/drawing/2014/main" id="{E31C32EA-7ED1-4F61-916A-EE3CD9F33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8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6" name="Freeform 1129">
              <a:extLst>
                <a:ext uri="{FF2B5EF4-FFF2-40B4-BE49-F238E27FC236}">
                  <a16:creationId xmlns:a16="http://schemas.microsoft.com/office/drawing/2014/main" id="{A0938A09-4EC4-4FE6-9823-D8D56B00D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8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7" name="Freeform 1130">
              <a:extLst>
                <a:ext uri="{FF2B5EF4-FFF2-40B4-BE49-F238E27FC236}">
                  <a16:creationId xmlns:a16="http://schemas.microsoft.com/office/drawing/2014/main" id="{06A1140F-8A96-4788-BB9F-E0B2A941E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8" name="Freeform 1131">
              <a:extLst>
                <a:ext uri="{FF2B5EF4-FFF2-40B4-BE49-F238E27FC236}">
                  <a16:creationId xmlns:a16="http://schemas.microsoft.com/office/drawing/2014/main" id="{11C878AB-3E48-402C-9770-7A416FB2A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9" name="Freeform 1132">
              <a:extLst>
                <a:ext uri="{FF2B5EF4-FFF2-40B4-BE49-F238E27FC236}">
                  <a16:creationId xmlns:a16="http://schemas.microsoft.com/office/drawing/2014/main" id="{4EF21845-290C-49B5-81CA-6F31930CA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" y="2156"/>
              <a:ext cx="246" cy="55"/>
            </a:xfrm>
            <a:custGeom>
              <a:avLst/>
              <a:gdLst>
                <a:gd name="T0" fmla="*/ 97 w 97"/>
                <a:gd name="T1" fmla="*/ 22 h 22"/>
                <a:gd name="T2" fmla="*/ 5 w 97"/>
                <a:gd name="T3" fmla="*/ 21 h 22"/>
                <a:gd name="T4" fmla="*/ 1 w 97"/>
                <a:gd name="T5" fmla="*/ 18 h 22"/>
                <a:gd name="T6" fmla="*/ 2 w 97"/>
                <a:gd name="T7" fmla="*/ 16 h 22"/>
                <a:gd name="T8" fmla="*/ 44 w 97"/>
                <a:gd name="T9" fmla="*/ 0 h 22"/>
                <a:gd name="T10" fmla="*/ 97 w 97"/>
                <a:gd name="T11" fmla="*/ 0 h 22"/>
                <a:gd name="T12" fmla="*/ 97 w 9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22">
                  <a:moveTo>
                    <a:pt x="97" y="22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2" y="21"/>
                    <a:pt x="0" y="19"/>
                    <a:pt x="1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0" y="6"/>
                    <a:pt x="28" y="0"/>
                    <a:pt x="44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0" name="Freeform 1133">
              <a:extLst>
                <a:ext uri="{FF2B5EF4-FFF2-40B4-BE49-F238E27FC236}">
                  <a16:creationId xmlns:a16="http://schemas.microsoft.com/office/drawing/2014/main" id="{5FE0401A-2AB2-4126-9F69-FCFC58630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" y="2153"/>
              <a:ext cx="246" cy="58"/>
            </a:xfrm>
            <a:custGeom>
              <a:avLst/>
              <a:gdLst>
                <a:gd name="T0" fmla="*/ 97 w 97"/>
                <a:gd name="T1" fmla="*/ 23 h 23"/>
                <a:gd name="T2" fmla="*/ 97 w 97"/>
                <a:gd name="T3" fmla="*/ 22 h 23"/>
                <a:gd name="T4" fmla="*/ 5 w 97"/>
                <a:gd name="T5" fmla="*/ 22 h 23"/>
                <a:gd name="T6" fmla="*/ 2 w 97"/>
                <a:gd name="T7" fmla="*/ 21 h 23"/>
                <a:gd name="T8" fmla="*/ 1 w 97"/>
                <a:gd name="T9" fmla="*/ 20 h 23"/>
                <a:gd name="T10" fmla="*/ 1 w 97"/>
                <a:gd name="T11" fmla="*/ 19 h 23"/>
                <a:gd name="T12" fmla="*/ 1 w 97"/>
                <a:gd name="T13" fmla="*/ 19 h 23"/>
                <a:gd name="T14" fmla="*/ 1 w 97"/>
                <a:gd name="T15" fmla="*/ 19 h 23"/>
                <a:gd name="T16" fmla="*/ 2 w 97"/>
                <a:gd name="T17" fmla="*/ 18 h 23"/>
                <a:gd name="T18" fmla="*/ 2 w 97"/>
                <a:gd name="T19" fmla="*/ 18 h 23"/>
                <a:gd name="T20" fmla="*/ 20 w 97"/>
                <a:gd name="T21" fmla="*/ 6 h 23"/>
                <a:gd name="T22" fmla="*/ 44 w 97"/>
                <a:gd name="T23" fmla="*/ 1 h 23"/>
                <a:gd name="T24" fmla="*/ 44 w 97"/>
                <a:gd name="T25" fmla="*/ 1 h 23"/>
                <a:gd name="T26" fmla="*/ 44 w 97"/>
                <a:gd name="T27" fmla="*/ 1 h 23"/>
                <a:gd name="T28" fmla="*/ 96 w 97"/>
                <a:gd name="T29" fmla="*/ 1 h 23"/>
                <a:gd name="T30" fmla="*/ 96 w 97"/>
                <a:gd name="T31" fmla="*/ 23 h 23"/>
                <a:gd name="T32" fmla="*/ 97 w 97"/>
                <a:gd name="T33" fmla="*/ 23 h 23"/>
                <a:gd name="T34" fmla="*/ 97 w 97"/>
                <a:gd name="T35" fmla="*/ 22 h 23"/>
                <a:gd name="T36" fmla="*/ 97 w 97"/>
                <a:gd name="T37" fmla="*/ 23 h 23"/>
                <a:gd name="T38" fmla="*/ 97 w 97"/>
                <a:gd name="T39" fmla="*/ 23 h 23"/>
                <a:gd name="T40" fmla="*/ 97 w 97"/>
                <a:gd name="T41" fmla="*/ 0 h 23"/>
                <a:gd name="T42" fmla="*/ 44 w 97"/>
                <a:gd name="T43" fmla="*/ 0 h 23"/>
                <a:gd name="T44" fmla="*/ 44 w 97"/>
                <a:gd name="T45" fmla="*/ 1 h 23"/>
                <a:gd name="T46" fmla="*/ 44 w 97"/>
                <a:gd name="T47" fmla="*/ 0 h 23"/>
                <a:gd name="T48" fmla="*/ 44 w 97"/>
                <a:gd name="T49" fmla="*/ 0 h 23"/>
                <a:gd name="T50" fmla="*/ 20 w 97"/>
                <a:gd name="T51" fmla="*/ 5 h 23"/>
                <a:gd name="T52" fmla="*/ 2 w 97"/>
                <a:gd name="T53" fmla="*/ 17 h 23"/>
                <a:gd name="T54" fmla="*/ 2 w 97"/>
                <a:gd name="T55" fmla="*/ 17 h 23"/>
                <a:gd name="T56" fmla="*/ 2 w 97"/>
                <a:gd name="T57" fmla="*/ 17 h 23"/>
                <a:gd name="T58" fmla="*/ 0 w 97"/>
                <a:gd name="T59" fmla="*/ 18 h 23"/>
                <a:gd name="T60" fmla="*/ 0 w 97"/>
                <a:gd name="T61" fmla="*/ 18 h 23"/>
                <a:gd name="T62" fmla="*/ 0 w 97"/>
                <a:gd name="T63" fmla="*/ 20 h 23"/>
                <a:gd name="T64" fmla="*/ 1 w 97"/>
                <a:gd name="T65" fmla="*/ 22 h 23"/>
                <a:gd name="T66" fmla="*/ 5 w 97"/>
                <a:gd name="T67" fmla="*/ 23 h 23"/>
                <a:gd name="T68" fmla="*/ 97 w 97"/>
                <a:gd name="T69" fmla="*/ 23 h 23"/>
                <a:gd name="T70" fmla="*/ 97 w 97"/>
                <a:gd name="T7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23">
                  <a:moveTo>
                    <a:pt x="97" y="23"/>
                  </a:moveTo>
                  <a:cubicBezTo>
                    <a:pt x="97" y="22"/>
                    <a:pt x="97" y="22"/>
                    <a:pt x="97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2"/>
                    <a:pt x="3" y="22"/>
                    <a:pt x="2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20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3"/>
                    <a:pt x="13" y="8"/>
                    <a:pt x="20" y="6"/>
                  </a:cubicBezTo>
                  <a:cubicBezTo>
                    <a:pt x="28" y="3"/>
                    <a:pt x="36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6" y="0"/>
                    <a:pt x="28" y="2"/>
                    <a:pt x="20" y="5"/>
                  </a:cubicBezTo>
                  <a:cubicBezTo>
                    <a:pt x="12" y="8"/>
                    <a:pt x="6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1" y="21"/>
                    <a:pt x="1" y="22"/>
                  </a:cubicBezTo>
                  <a:cubicBezTo>
                    <a:pt x="2" y="23"/>
                    <a:pt x="3" y="23"/>
                    <a:pt x="5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1" name="Freeform 1134">
              <a:extLst>
                <a:ext uri="{FF2B5EF4-FFF2-40B4-BE49-F238E27FC236}">
                  <a16:creationId xmlns:a16="http://schemas.microsoft.com/office/drawing/2014/main" id="{0A040256-1352-4EB8-B7F7-65FD88779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6" y="2161"/>
              <a:ext cx="75" cy="25"/>
            </a:xfrm>
            <a:custGeom>
              <a:avLst/>
              <a:gdLst>
                <a:gd name="T0" fmla="*/ 30 w 30"/>
                <a:gd name="T1" fmla="*/ 0 h 10"/>
                <a:gd name="T2" fmla="*/ 20 w 30"/>
                <a:gd name="T3" fmla="*/ 0 h 10"/>
                <a:gd name="T4" fmla="*/ 0 w 30"/>
                <a:gd name="T5" fmla="*/ 10 h 10"/>
                <a:gd name="T6" fmla="*/ 8 w 30"/>
                <a:gd name="T7" fmla="*/ 10 h 10"/>
                <a:gd name="T8" fmla="*/ 30 w 3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0">
                  <a:moveTo>
                    <a:pt x="3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3" y="2"/>
                    <a:pt x="6" y="6"/>
                    <a:pt x="0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4" y="6"/>
                    <a:pt x="18" y="3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2" name="Freeform 1135">
              <a:extLst>
                <a:ext uri="{FF2B5EF4-FFF2-40B4-BE49-F238E27FC236}">
                  <a16:creationId xmlns:a16="http://schemas.microsoft.com/office/drawing/2014/main" id="{4480CB30-F202-44B1-8515-6907B7AFF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" y="2161"/>
              <a:ext cx="86" cy="25"/>
            </a:xfrm>
            <a:custGeom>
              <a:avLst/>
              <a:gdLst>
                <a:gd name="T0" fmla="*/ 31 w 34"/>
                <a:gd name="T1" fmla="*/ 0 h 10"/>
                <a:gd name="T2" fmla="*/ 31 w 34"/>
                <a:gd name="T3" fmla="*/ 0 h 10"/>
                <a:gd name="T4" fmla="*/ 21 w 34"/>
                <a:gd name="T5" fmla="*/ 0 h 10"/>
                <a:gd name="T6" fmla="*/ 21 w 34"/>
                <a:gd name="T7" fmla="*/ 0 h 10"/>
                <a:gd name="T8" fmla="*/ 1 w 34"/>
                <a:gd name="T9" fmla="*/ 10 h 10"/>
                <a:gd name="T10" fmla="*/ 0 w 34"/>
                <a:gd name="T11" fmla="*/ 10 h 10"/>
                <a:gd name="T12" fmla="*/ 9 w 34"/>
                <a:gd name="T13" fmla="*/ 10 h 10"/>
                <a:gd name="T14" fmla="*/ 9 w 34"/>
                <a:gd name="T15" fmla="*/ 10 h 10"/>
                <a:gd name="T16" fmla="*/ 31 w 34"/>
                <a:gd name="T17" fmla="*/ 1 h 10"/>
                <a:gd name="T18" fmla="*/ 34 w 34"/>
                <a:gd name="T19" fmla="*/ 0 h 10"/>
                <a:gd name="T20" fmla="*/ 31 w 34"/>
                <a:gd name="T21" fmla="*/ 0 h 10"/>
                <a:gd name="T22" fmla="*/ 31 w 34"/>
                <a:gd name="T23" fmla="*/ 0 h 10"/>
                <a:gd name="T24" fmla="*/ 31 w 34"/>
                <a:gd name="T25" fmla="*/ 0 h 10"/>
                <a:gd name="T26" fmla="*/ 8 w 34"/>
                <a:gd name="T27" fmla="*/ 10 h 10"/>
                <a:gd name="T28" fmla="*/ 9 w 34"/>
                <a:gd name="T29" fmla="*/ 10 h 10"/>
                <a:gd name="T30" fmla="*/ 9 w 34"/>
                <a:gd name="T31" fmla="*/ 9 h 10"/>
                <a:gd name="T32" fmla="*/ 1 w 34"/>
                <a:gd name="T33" fmla="*/ 9 h 10"/>
                <a:gd name="T34" fmla="*/ 1 w 34"/>
                <a:gd name="T35" fmla="*/ 10 h 10"/>
                <a:gd name="T36" fmla="*/ 2 w 34"/>
                <a:gd name="T37" fmla="*/ 10 h 10"/>
                <a:gd name="T38" fmla="*/ 21 w 34"/>
                <a:gd name="T39" fmla="*/ 1 h 10"/>
                <a:gd name="T40" fmla="*/ 21 w 34"/>
                <a:gd name="T41" fmla="*/ 0 h 10"/>
                <a:gd name="T42" fmla="*/ 21 w 34"/>
                <a:gd name="T43" fmla="*/ 1 h 10"/>
                <a:gd name="T44" fmla="*/ 31 w 34"/>
                <a:gd name="T45" fmla="*/ 1 h 10"/>
                <a:gd name="T46" fmla="*/ 31 w 34"/>
                <a:gd name="T47" fmla="*/ 0 h 10"/>
                <a:gd name="T48" fmla="*/ 31 w 34"/>
                <a:gd name="T4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2"/>
                    <a:pt x="6" y="5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5" y="6"/>
                    <a:pt x="19" y="4"/>
                    <a:pt x="31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9" y="3"/>
                    <a:pt x="15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7" y="6"/>
                    <a:pt x="14" y="3"/>
                    <a:pt x="21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3" name="Freeform 1136">
              <a:extLst>
                <a:ext uri="{FF2B5EF4-FFF2-40B4-BE49-F238E27FC236}">
                  <a16:creationId xmlns:a16="http://schemas.microsoft.com/office/drawing/2014/main" id="{5551901C-3BD2-4B8E-9BD4-2E32E1ECF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" y="2156"/>
              <a:ext cx="245" cy="55"/>
            </a:xfrm>
            <a:custGeom>
              <a:avLst/>
              <a:gdLst>
                <a:gd name="T0" fmla="*/ 0 w 97"/>
                <a:gd name="T1" fmla="*/ 22 h 22"/>
                <a:gd name="T2" fmla="*/ 92 w 97"/>
                <a:gd name="T3" fmla="*/ 21 h 22"/>
                <a:gd name="T4" fmla="*/ 96 w 97"/>
                <a:gd name="T5" fmla="*/ 18 h 22"/>
                <a:gd name="T6" fmla="*/ 95 w 97"/>
                <a:gd name="T7" fmla="*/ 16 h 22"/>
                <a:gd name="T8" fmla="*/ 52 w 97"/>
                <a:gd name="T9" fmla="*/ 0 h 22"/>
                <a:gd name="T10" fmla="*/ 0 w 97"/>
                <a:gd name="T11" fmla="*/ 0 h 22"/>
                <a:gd name="T12" fmla="*/ 0 w 9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22">
                  <a:moveTo>
                    <a:pt x="0" y="22"/>
                  </a:moveTo>
                  <a:cubicBezTo>
                    <a:pt x="92" y="21"/>
                    <a:pt x="92" y="21"/>
                    <a:pt x="92" y="21"/>
                  </a:cubicBezTo>
                  <a:cubicBezTo>
                    <a:pt x="95" y="21"/>
                    <a:pt x="97" y="19"/>
                    <a:pt x="96" y="18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86" y="6"/>
                    <a:pt x="68" y="0"/>
                    <a:pt x="5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4" name="Freeform 1137">
              <a:extLst>
                <a:ext uri="{FF2B5EF4-FFF2-40B4-BE49-F238E27FC236}">
                  <a16:creationId xmlns:a16="http://schemas.microsoft.com/office/drawing/2014/main" id="{712B7BF5-C12F-43EB-B2A3-BE0DEA654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2153"/>
              <a:ext cx="248" cy="58"/>
            </a:xfrm>
            <a:custGeom>
              <a:avLst/>
              <a:gdLst>
                <a:gd name="T0" fmla="*/ 1 w 98"/>
                <a:gd name="T1" fmla="*/ 23 h 23"/>
                <a:gd name="T2" fmla="*/ 1 w 98"/>
                <a:gd name="T3" fmla="*/ 23 h 23"/>
                <a:gd name="T4" fmla="*/ 93 w 98"/>
                <a:gd name="T5" fmla="*/ 23 h 23"/>
                <a:gd name="T6" fmla="*/ 96 w 98"/>
                <a:gd name="T7" fmla="*/ 22 h 23"/>
                <a:gd name="T8" fmla="*/ 98 w 98"/>
                <a:gd name="T9" fmla="*/ 20 h 23"/>
                <a:gd name="T10" fmla="*/ 97 w 98"/>
                <a:gd name="T11" fmla="*/ 18 h 23"/>
                <a:gd name="T12" fmla="*/ 97 w 98"/>
                <a:gd name="T13" fmla="*/ 18 h 23"/>
                <a:gd name="T14" fmla="*/ 96 w 98"/>
                <a:gd name="T15" fmla="*/ 17 h 23"/>
                <a:gd name="T16" fmla="*/ 96 w 98"/>
                <a:gd name="T17" fmla="*/ 17 h 23"/>
                <a:gd name="T18" fmla="*/ 96 w 98"/>
                <a:gd name="T19" fmla="*/ 17 h 23"/>
                <a:gd name="T20" fmla="*/ 77 w 98"/>
                <a:gd name="T21" fmla="*/ 5 h 23"/>
                <a:gd name="T22" fmla="*/ 54 w 98"/>
                <a:gd name="T23" fmla="*/ 0 h 23"/>
                <a:gd name="T24" fmla="*/ 53 w 98"/>
                <a:gd name="T25" fmla="*/ 0 h 23"/>
                <a:gd name="T26" fmla="*/ 53 w 98"/>
                <a:gd name="T27" fmla="*/ 1 h 23"/>
                <a:gd name="T28" fmla="*/ 53 w 98"/>
                <a:gd name="T29" fmla="*/ 0 h 23"/>
                <a:gd name="T30" fmla="*/ 0 w 98"/>
                <a:gd name="T31" fmla="*/ 0 h 23"/>
                <a:gd name="T32" fmla="*/ 0 w 98"/>
                <a:gd name="T33" fmla="*/ 23 h 23"/>
                <a:gd name="T34" fmla="*/ 1 w 98"/>
                <a:gd name="T35" fmla="*/ 23 h 23"/>
                <a:gd name="T36" fmla="*/ 1 w 98"/>
                <a:gd name="T37" fmla="*/ 23 h 23"/>
                <a:gd name="T38" fmla="*/ 1 w 98"/>
                <a:gd name="T39" fmla="*/ 23 h 23"/>
                <a:gd name="T40" fmla="*/ 1 w 98"/>
                <a:gd name="T41" fmla="*/ 1 h 23"/>
                <a:gd name="T42" fmla="*/ 53 w 98"/>
                <a:gd name="T43" fmla="*/ 1 h 23"/>
                <a:gd name="T44" fmla="*/ 53 w 98"/>
                <a:gd name="T45" fmla="*/ 1 h 23"/>
                <a:gd name="T46" fmla="*/ 54 w 98"/>
                <a:gd name="T47" fmla="*/ 1 h 23"/>
                <a:gd name="T48" fmla="*/ 77 w 98"/>
                <a:gd name="T49" fmla="*/ 6 h 23"/>
                <a:gd name="T50" fmla="*/ 95 w 98"/>
                <a:gd name="T51" fmla="*/ 18 h 23"/>
                <a:gd name="T52" fmla="*/ 95 w 98"/>
                <a:gd name="T53" fmla="*/ 18 h 23"/>
                <a:gd name="T54" fmla="*/ 96 w 98"/>
                <a:gd name="T55" fmla="*/ 19 h 23"/>
                <a:gd name="T56" fmla="*/ 97 w 98"/>
                <a:gd name="T57" fmla="*/ 19 h 23"/>
                <a:gd name="T58" fmla="*/ 96 w 98"/>
                <a:gd name="T59" fmla="*/ 19 h 23"/>
                <a:gd name="T60" fmla="*/ 97 w 98"/>
                <a:gd name="T61" fmla="*/ 20 h 23"/>
                <a:gd name="T62" fmla="*/ 96 w 98"/>
                <a:gd name="T63" fmla="*/ 21 h 23"/>
                <a:gd name="T64" fmla="*/ 93 w 98"/>
                <a:gd name="T65" fmla="*/ 22 h 23"/>
                <a:gd name="T66" fmla="*/ 1 w 98"/>
                <a:gd name="T67" fmla="*/ 22 h 23"/>
                <a:gd name="T68" fmla="*/ 1 w 98"/>
                <a:gd name="T69" fmla="*/ 23 h 23"/>
                <a:gd name="T70" fmla="*/ 1 w 98"/>
                <a:gd name="T7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8" h="23">
                  <a:moveTo>
                    <a:pt x="1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4" y="23"/>
                    <a:pt x="95" y="23"/>
                    <a:pt x="96" y="22"/>
                  </a:cubicBezTo>
                  <a:cubicBezTo>
                    <a:pt x="97" y="21"/>
                    <a:pt x="98" y="21"/>
                    <a:pt x="98" y="20"/>
                  </a:cubicBezTo>
                  <a:cubicBezTo>
                    <a:pt x="98" y="19"/>
                    <a:pt x="97" y="19"/>
                    <a:pt x="97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2" y="12"/>
                    <a:pt x="85" y="8"/>
                    <a:pt x="77" y="5"/>
                  </a:cubicBezTo>
                  <a:cubicBezTo>
                    <a:pt x="70" y="2"/>
                    <a:pt x="61" y="0"/>
                    <a:pt x="5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61" y="1"/>
                    <a:pt x="70" y="3"/>
                    <a:pt x="77" y="6"/>
                  </a:cubicBezTo>
                  <a:cubicBezTo>
                    <a:pt x="85" y="8"/>
                    <a:pt x="91" y="13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20"/>
                    <a:pt x="97" y="20"/>
                  </a:cubicBezTo>
                  <a:cubicBezTo>
                    <a:pt x="97" y="20"/>
                    <a:pt x="96" y="21"/>
                    <a:pt x="96" y="21"/>
                  </a:cubicBezTo>
                  <a:cubicBezTo>
                    <a:pt x="95" y="22"/>
                    <a:pt x="94" y="22"/>
                    <a:pt x="93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5" name="Freeform 1138">
              <a:extLst>
                <a:ext uri="{FF2B5EF4-FFF2-40B4-BE49-F238E27FC236}">
                  <a16:creationId xmlns:a16="http://schemas.microsoft.com/office/drawing/2014/main" id="{B4B61E57-A83A-4D48-8503-C3765C734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" y="2161"/>
              <a:ext cx="74" cy="25"/>
            </a:xfrm>
            <a:custGeom>
              <a:avLst/>
              <a:gdLst>
                <a:gd name="T0" fmla="*/ 0 w 29"/>
                <a:gd name="T1" fmla="*/ 0 h 10"/>
                <a:gd name="T2" fmla="*/ 9 w 29"/>
                <a:gd name="T3" fmla="*/ 0 h 10"/>
                <a:gd name="T4" fmla="*/ 29 w 29"/>
                <a:gd name="T5" fmla="*/ 10 h 10"/>
                <a:gd name="T6" fmla="*/ 22 w 29"/>
                <a:gd name="T7" fmla="*/ 10 h 10"/>
                <a:gd name="T8" fmla="*/ 0 w 2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">
                  <a:moveTo>
                    <a:pt x="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7" y="2"/>
                    <a:pt x="24" y="6"/>
                    <a:pt x="29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5" y="6"/>
                    <a:pt x="1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6" name="Freeform 1139">
              <a:extLst>
                <a:ext uri="{FF2B5EF4-FFF2-40B4-BE49-F238E27FC236}">
                  <a16:creationId xmlns:a16="http://schemas.microsoft.com/office/drawing/2014/main" id="{AAC166DE-F866-4C5B-A216-A6BBDA053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0" y="2161"/>
              <a:ext cx="89" cy="25"/>
            </a:xfrm>
            <a:custGeom>
              <a:avLst/>
              <a:gdLst>
                <a:gd name="T0" fmla="*/ 4 w 35"/>
                <a:gd name="T1" fmla="*/ 0 h 10"/>
                <a:gd name="T2" fmla="*/ 4 w 35"/>
                <a:gd name="T3" fmla="*/ 1 h 10"/>
                <a:gd name="T4" fmla="*/ 13 w 35"/>
                <a:gd name="T5" fmla="*/ 1 h 10"/>
                <a:gd name="T6" fmla="*/ 13 w 35"/>
                <a:gd name="T7" fmla="*/ 0 h 10"/>
                <a:gd name="T8" fmla="*/ 13 w 35"/>
                <a:gd name="T9" fmla="*/ 1 h 10"/>
                <a:gd name="T10" fmla="*/ 33 w 35"/>
                <a:gd name="T11" fmla="*/ 10 h 10"/>
                <a:gd name="T12" fmla="*/ 33 w 35"/>
                <a:gd name="T13" fmla="*/ 10 h 10"/>
                <a:gd name="T14" fmla="*/ 33 w 35"/>
                <a:gd name="T15" fmla="*/ 9 h 10"/>
                <a:gd name="T16" fmla="*/ 26 w 35"/>
                <a:gd name="T17" fmla="*/ 9 h 10"/>
                <a:gd name="T18" fmla="*/ 26 w 35"/>
                <a:gd name="T19" fmla="*/ 10 h 10"/>
                <a:gd name="T20" fmla="*/ 26 w 35"/>
                <a:gd name="T21" fmla="*/ 10 h 10"/>
                <a:gd name="T22" fmla="*/ 4 w 35"/>
                <a:gd name="T23" fmla="*/ 0 h 10"/>
                <a:gd name="T24" fmla="*/ 4 w 35"/>
                <a:gd name="T25" fmla="*/ 0 h 10"/>
                <a:gd name="T26" fmla="*/ 4 w 35"/>
                <a:gd name="T27" fmla="*/ 1 h 10"/>
                <a:gd name="T28" fmla="*/ 4 w 35"/>
                <a:gd name="T29" fmla="*/ 0 h 10"/>
                <a:gd name="T30" fmla="*/ 4 w 35"/>
                <a:gd name="T31" fmla="*/ 1 h 10"/>
                <a:gd name="T32" fmla="*/ 26 w 35"/>
                <a:gd name="T33" fmla="*/ 10 h 10"/>
                <a:gd name="T34" fmla="*/ 26 w 35"/>
                <a:gd name="T35" fmla="*/ 10 h 10"/>
                <a:gd name="T36" fmla="*/ 35 w 35"/>
                <a:gd name="T37" fmla="*/ 10 h 10"/>
                <a:gd name="T38" fmla="*/ 34 w 35"/>
                <a:gd name="T39" fmla="*/ 10 h 10"/>
                <a:gd name="T40" fmla="*/ 13 w 35"/>
                <a:gd name="T41" fmla="*/ 0 h 10"/>
                <a:gd name="T42" fmla="*/ 13 w 35"/>
                <a:gd name="T43" fmla="*/ 0 h 10"/>
                <a:gd name="T44" fmla="*/ 0 w 35"/>
                <a:gd name="T45" fmla="*/ 0 h 10"/>
                <a:gd name="T46" fmla="*/ 4 w 35"/>
                <a:gd name="T47" fmla="*/ 1 h 10"/>
                <a:gd name="T48" fmla="*/ 4 w 35"/>
                <a:gd name="T4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10">
                  <a:moveTo>
                    <a:pt x="4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1" y="3"/>
                    <a:pt x="28" y="6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0" y="5"/>
                    <a:pt x="16" y="3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15" y="4"/>
                    <a:pt x="19" y="6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28" y="5"/>
                    <a:pt x="21" y="2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7" name="Freeform 1140">
              <a:extLst>
                <a:ext uri="{FF2B5EF4-FFF2-40B4-BE49-F238E27FC236}">
                  <a16:creationId xmlns:a16="http://schemas.microsoft.com/office/drawing/2014/main" id="{3DECD241-0C6A-426E-8090-9C3CCFD27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8" name="Freeform 1141">
              <a:extLst>
                <a:ext uri="{FF2B5EF4-FFF2-40B4-BE49-F238E27FC236}">
                  <a16:creationId xmlns:a16="http://schemas.microsoft.com/office/drawing/2014/main" id="{D450EE55-5FF4-4A26-863C-8ED6A19F7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9" name="Freeform 1142">
              <a:extLst>
                <a:ext uri="{FF2B5EF4-FFF2-40B4-BE49-F238E27FC236}">
                  <a16:creationId xmlns:a16="http://schemas.microsoft.com/office/drawing/2014/main" id="{8C2247D1-74E1-443E-ABE0-B067B81CD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1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0" name="Freeform 1143">
              <a:extLst>
                <a:ext uri="{FF2B5EF4-FFF2-40B4-BE49-F238E27FC236}">
                  <a16:creationId xmlns:a16="http://schemas.microsoft.com/office/drawing/2014/main" id="{E94FB7D0-EE64-4ACE-A6AE-025560B8E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1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1" name="Freeform 1144">
              <a:extLst>
                <a:ext uri="{FF2B5EF4-FFF2-40B4-BE49-F238E27FC236}">
                  <a16:creationId xmlns:a16="http://schemas.microsoft.com/office/drawing/2014/main" id="{B227CE39-9E6B-4270-AC53-35A52CFFE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2" name="Freeform 1145">
              <a:extLst>
                <a:ext uri="{FF2B5EF4-FFF2-40B4-BE49-F238E27FC236}">
                  <a16:creationId xmlns:a16="http://schemas.microsoft.com/office/drawing/2014/main" id="{294C1D56-7643-4073-A246-5FF6BAB8B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3" name="Freeform 1146">
              <a:extLst>
                <a:ext uri="{FF2B5EF4-FFF2-40B4-BE49-F238E27FC236}">
                  <a16:creationId xmlns:a16="http://schemas.microsoft.com/office/drawing/2014/main" id="{7C19528A-81FB-498C-BEE6-0488C17B1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4" name="Freeform 1147">
              <a:extLst>
                <a:ext uri="{FF2B5EF4-FFF2-40B4-BE49-F238E27FC236}">
                  <a16:creationId xmlns:a16="http://schemas.microsoft.com/office/drawing/2014/main" id="{26491046-19E3-4931-8B5B-27F727171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5" name="Freeform 1148">
              <a:extLst>
                <a:ext uri="{FF2B5EF4-FFF2-40B4-BE49-F238E27FC236}">
                  <a16:creationId xmlns:a16="http://schemas.microsoft.com/office/drawing/2014/main" id="{003BC88F-04F1-4C95-9B1C-A8088BA89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6" name="Freeform 1149">
              <a:extLst>
                <a:ext uri="{FF2B5EF4-FFF2-40B4-BE49-F238E27FC236}">
                  <a16:creationId xmlns:a16="http://schemas.microsoft.com/office/drawing/2014/main" id="{B01B3071-4BD7-4D4F-A563-8F426CDDA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7" name="Freeform 1150">
              <a:extLst>
                <a:ext uri="{FF2B5EF4-FFF2-40B4-BE49-F238E27FC236}">
                  <a16:creationId xmlns:a16="http://schemas.microsoft.com/office/drawing/2014/main" id="{E345F8DB-12D5-470F-BD93-1397C4EF7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8" name="Freeform 1151">
              <a:extLst>
                <a:ext uri="{FF2B5EF4-FFF2-40B4-BE49-F238E27FC236}">
                  <a16:creationId xmlns:a16="http://schemas.microsoft.com/office/drawing/2014/main" id="{6CB92FB3-2B1C-4F34-9BBD-1CBB2080C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9" name="Freeform 1152">
              <a:extLst>
                <a:ext uri="{FF2B5EF4-FFF2-40B4-BE49-F238E27FC236}">
                  <a16:creationId xmlns:a16="http://schemas.microsoft.com/office/drawing/2014/main" id="{66717CDD-E5A1-469B-A934-2C26B75ED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0" name="Freeform 1153">
              <a:extLst>
                <a:ext uri="{FF2B5EF4-FFF2-40B4-BE49-F238E27FC236}">
                  <a16:creationId xmlns:a16="http://schemas.microsoft.com/office/drawing/2014/main" id="{F0B4414E-A9BB-4D19-A498-71A136821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1" name="Freeform 1154">
              <a:extLst>
                <a:ext uri="{FF2B5EF4-FFF2-40B4-BE49-F238E27FC236}">
                  <a16:creationId xmlns:a16="http://schemas.microsoft.com/office/drawing/2014/main" id="{22142AA3-7F45-487A-A831-631398FF0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2" name="Freeform 1155">
              <a:extLst>
                <a:ext uri="{FF2B5EF4-FFF2-40B4-BE49-F238E27FC236}">
                  <a16:creationId xmlns:a16="http://schemas.microsoft.com/office/drawing/2014/main" id="{BDC31A1F-00D6-42D6-BF43-407A610E1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8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3" name="Freeform 1156">
              <a:extLst>
                <a:ext uri="{FF2B5EF4-FFF2-40B4-BE49-F238E27FC236}">
                  <a16:creationId xmlns:a16="http://schemas.microsoft.com/office/drawing/2014/main" id="{87152E1B-D2A4-4839-AB0E-AA079F5D2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4" name="Freeform 1157">
              <a:extLst>
                <a:ext uri="{FF2B5EF4-FFF2-40B4-BE49-F238E27FC236}">
                  <a16:creationId xmlns:a16="http://schemas.microsoft.com/office/drawing/2014/main" id="{5C9CCB2E-2220-4437-B30E-5CCC5EB0A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0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5" name="Freeform 1158">
              <a:extLst>
                <a:ext uri="{FF2B5EF4-FFF2-40B4-BE49-F238E27FC236}">
                  <a16:creationId xmlns:a16="http://schemas.microsoft.com/office/drawing/2014/main" id="{D45BA63A-AC23-4EF9-AF5E-27C1DEACC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6" name="Freeform 1159">
              <a:extLst>
                <a:ext uri="{FF2B5EF4-FFF2-40B4-BE49-F238E27FC236}">
                  <a16:creationId xmlns:a16="http://schemas.microsoft.com/office/drawing/2014/main" id="{6A4B4293-E76E-4363-94D6-0BC12F8AD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7" name="Freeform 1160">
              <a:extLst>
                <a:ext uri="{FF2B5EF4-FFF2-40B4-BE49-F238E27FC236}">
                  <a16:creationId xmlns:a16="http://schemas.microsoft.com/office/drawing/2014/main" id="{893CFFC3-9EFE-4296-BE2B-CEA92F91F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8" name="Freeform 1161">
              <a:extLst>
                <a:ext uri="{FF2B5EF4-FFF2-40B4-BE49-F238E27FC236}">
                  <a16:creationId xmlns:a16="http://schemas.microsoft.com/office/drawing/2014/main" id="{B4C2ABAA-411E-4303-B756-A220AD02B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1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9" name="Freeform 1162">
              <a:extLst>
                <a:ext uri="{FF2B5EF4-FFF2-40B4-BE49-F238E27FC236}">
                  <a16:creationId xmlns:a16="http://schemas.microsoft.com/office/drawing/2014/main" id="{71EA43B7-F9AF-4EBA-BE78-5EA90A4A2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0" name="Freeform 1163">
              <a:extLst>
                <a:ext uri="{FF2B5EF4-FFF2-40B4-BE49-F238E27FC236}">
                  <a16:creationId xmlns:a16="http://schemas.microsoft.com/office/drawing/2014/main" id="{790D1C9C-7EC4-45BE-9891-A593DE271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1" name="Freeform 1164">
              <a:extLst>
                <a:ext uri="{FF2B5EF4-FFF2-40B4-BE49-F238E27FC236}">
                  <a16:creationId xmlns:a16="http://schemas.microsoft.com/office/drawing/2014/main" id="{5D674AAC-5BA2-4336-B7DE-150044BFC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2" name="Freeform 1165">
              <a:extLst>
                <a:ext uri="{FF2B5EF4-FFF2-40B4-BE49-F238E27FC236}">
                  <a16:creationId xmlns:a16="http://schemas.microsoft.com/office/drawing/2014/main" id="{6BA90908-EE5E-483C-BA3E-D39D86A48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3" name="Freeform 1166">
              <a:extLst>
                <a:ext uri="{FF2B5EF4-FFF2-40B4-BE49-F238E27FC236}">
                  <a16:creationId xmlns:a16="http://schemas.microsoft.com/office/drawing/2014/main" id="{90CC6DA1-2F2A-4A0C-BBEA-CF9DF342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4" name="Freeform 1167">
              <a:extLst>
                <a:ext uri="{FF2B5EF4-FFF2-40B4-BE49-F238E27FC236}">
                  <a16:creationId xmlns:a16="http://schemas.microsoft.com/office/drawing/2014/main" id="{E94616EE-7C7D-486E-A9D9-A6FF819F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5" name="Freeform 1168">
              <a:extLst>
                <a:ext uri="{FF2B5EF4-FFF2-40B4-BE49-F238E27FC236}">
                  <a16:creationId xmlns:a16="http://schemas.microsoft.com/office/drawing/2014/main" id="{E63B8ADC-C18A-4682-B38C-B21A3ECCB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6" name="Freeform 1169">
              <a:extLst>
                <a:ext uri="{FF2B5EF4-FFF2-40B4-BE49-F238E27FC236}">
                  <a16:creationId xmlns:a16="http://schemas.microsoft.com/office/drawing/2014/main" id="{F1AB3D51-E167-46DB-B45E-771DE24AA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2168"/>
              <a:ext cx="11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7" name="Freeform 1170">
              <a:extLst>
                <a:ext uri="{FF2B5EF4-FFF2-40B4-BE49-F238E27FC236}">
                  <a16:creationId xmlns:a16="http://schemas.microsoft.com/office/drawing/2014/main" id="{687713EA-AD40-40B9-955C-295963A42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8" name="Freeform 1171">
              <a:extLst>
                <a:ext uri="{FF2B5EF4-FFF2-40B4-BE49-F238E27FC236}">
                  <a16:creationId xmlns:a16="http://schemas.microsoft.com/office/drawing/2014/main" id="{CEE10187-4700-4EB8-83C4-8FE4BC955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9" name="Freeform 1172">
              <a:extLst>
                <a:ext uri="{FF2B5EF4-FFF2-40B4-BE49-F238E27FC236}">
                  <a16:creationId xmlns:a16="http://schemas.microsoft.com/office/drawing/2014/main" id="{19767186-F8A6-4F5A-A08D-4949B2188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0" name="Freeform 1173">
              <a:extLst>
                <a:ext uri="{FF2B5EF4-FFF2-40B4-BE49-F238E27FC236}">
                  <a16:creationId xmlns:a16="http://schemas.microsoft.com/office/drawing/2014/main" id="{0BCC9366-6E61-4395-AFA2-B7D9F1426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2168"/>
              <a:ext cx="11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1" name="Freeform 1174">
              <a:extLst>
                <a:ext uri="{FF2B5EF4-FFF2-40B4-BE49-F238E27FC236}">
                  <a16:creationId xmlns:a16="http://schemas.microsoft.com/office/drawing/2014/main" id="{509904E2-5B3D-4EF6-8D11-203E5C689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2" name="Freeform 1175">
              <a:extLst>
                <a:ext uri="{FF2B5EF4-FFF2-40B4-BE49-F238E27FC236}">
                  <a16:creationId xmlns:a16="http://schemas.microsoft.com/office/drawing/2014/main" id="{BB122B0F-DFAA-4C8A-8F48-D0A35937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3" name="Freeform 1176">
              <a:extLst>
                <a:ext uri="{FF2B5EF4-FFF2-40B4-BE49-F238E27FC236}">
                  <a16:creationId xmlns:a16="http://schemas.microsoft.com/office/drawing/2014/main" id="{72DC665A-AF8A-48EE-B269-ECE6107D4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4" name="Freeform 1177">
              <a:extLst>
                <a:ext uri="{FF2B5EF4-FFF2-40B4-BE49-F238E27FC236}">
                  <a16:creationId xmlns:a16="http://schemas.microsoft.com/office/drawing/2014/main" id="{B4C04CB7-D812-4E97-ADA6-880ED210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2168"/>
              <a:ext cx="11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5" name="Freeform 1178">
              <a:extLst>
                <a:ext uri="{FF2B5EF4-FFF2-40B4-BE49-F238E27FC236}">
                  <a16:creationId xmlns:a16="http://schemas.microsoft.com/office/drawing/2014/main" id="{A63D2343-B727-4254-8264-85E4D0FA6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6" name="Freeform 1179">
              <a:extLst>
                <a:ext uri="{FF2B5EF4-FFF2-40B4-BE49-F238E27FC236}">
                  <a16:creationId xmlns:a16="http://schemas.microsoft.com/office/drawing/2014/main" id="{11E68C55-C7D1-4CE1-84F7-3B867A954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7" name="Freeform 1180">
              <a:extLst>
                <a:ext uri="{FF2B5EF4-FFF2-40B4-BE49-F238E27FC236}">
                  <a16:creationId xmlns:a16="http://schemas.microsoft.com/office/drawing/2014/main" id="{95CDB885-3F0D-4DFC-9D40-80F2322A6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8" name="Freeform 1181">
              <a:extLst>
                <a:ext uri="{FF2B5EF4-FFF2-40B4-BE49-F238E27FC236}">
                  <a16:creationId xmlns:a16="http://schemas.microsoft.com/office/drawing/2014/main" id="{E7669F05-FC16-4AE9-98E3-50C7A16E9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" y="2168"/>
              <a:ext cx="11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9" name="Freeform 1182">
              <a:extLst>
                <a:ext uri="{FF2B5EF4-FFF2-40B4-BE49-F238E27FC236}">
                  <a16:creationId xmlns:a16="http://schemas.microsoft.com/office/drawing/2014/main" id="{5480915C-0715-46E9-9C6D-6C00C158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0" name="Freeform 1183">
              <a:extLst>
                <a:ext uri="{FF2B5EF4-FFF2-40B4-BE49-F238E27FC236}">
                  <a16:creationId xmlns:a16="http://schemas.microsoft.com/office/drawing/2014/main" id="{238F897F-6F5A-4AB4-BEF7-E917E0930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1" name="Freeform 1184">
              <a:extLst>
                <a:ext uri="{FF2B5EF4-FFF2-40B4-BE49-F238E27FC236}">
                  <a16:creationId xmlns:a16="http://schemas.microsoft.com/office/drawing/2014/main" id="{627DE37B-2468-4D07-8214-40799271E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2" name="Freeform 1185">
              <a:extLst>
                <a:ext uri="{FF2B5EF4-FFF2-40B4-BE49-F238E27FC236}">
                  <a16:creationId xmlns:a16="http://schemas.microsoft.com/office/drawing/2014/main" id="{EB633C3E-0EB8-4D21-8530-77649E9A9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3" name="Freeform 1186">
              <a:extLst>
                <a:ext uri="{FF2B5EF4-FFF2-40B4-BE49-F238E27FC236}">
                  <a16:creationId xmlns:a16="http://schemas.microsoft.com/office/drawing/2014/main" id="{556EA132-3110-4207-9E4B-C261F4FCE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2143"/>
              <a:ext cx="21" cy="8"/>
            </a:xfrm>
            <a:custGeom>
              <a:avLst/>
              <a:gdLst>
                <a:gd name="T0" fmla="*/ 8 w 8"/>
                <a:gd name="T1" fmla="*/ 2 h 3"/>
                <a:gd name="T2" fmla="*/ 4 w 8"/>
                <a:gd name="T3" fmla="*/ 0 h 3"/>
                <a:gd name="T4" fmla="*/ 0 w 8"/>
                <a:gd name="T5" fmla="*/ 2 h 3"/>
                <a:gd name="T6" fmla="*/ 1 w 8"/>
                <a:gd name="T7" fmla="*/ 3 h 3"/>
                <a:gd name="T8" fmla="*/ 4 w 8"/>
                <a:gd name="T9" fmla="*/ 1 h 3"/>
                <a:gd name="T10" fmla="*/ 7 w 8"/>
                <a:gd name="T11" fmla="*/ 3 h 3"/>
                <a:gd name="T12" fmla="*/ 8 w 8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8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4" name="Freeform 1187">
              <a:extLst>
                <a:ext uri="{FF2B5EF4-FFF2-40B4-BE49-F238E27FC236}">
                  <a16:creationId xmlns:a16="http://schemas.microsoft.com/office/drawing/2014/main" id="{EE458305-B711-4A6E-8910-E26F12E37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" y="2133"/>
              <a:ext cx="35" cy="10"/>
            </a:xfrm>
            <a:custGeom>
              <a:avLst/>
              <a:gdLst>
                <a:gd name="T0" fmla="*/ 14 w 14"/>
                <a:gd name="T1" fmla="*/ 3 h 4"/>
                <a:gd name="T2" fmla="*/ 7 w 14"/>
                <a:gd name="T3" fmla="*/ 0 h 4"/>
                <a:gd name="T4" fmla="*/ 0 w 14"/>
                <a:gd name="T5" fmla="*/ 3 h 4"/>
                <a:gd name="T6" fmla="*/ 0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3"/>
                  </a:moveTo>
                  <a:cubicBezTo>
                    <a:pt x="12" y="1"/>
                    <a:pt x="10" y="0"/>
                    <a:pt x="7" y="0"/>
                  </a:cubicBezTo>
                  <a:cubicBezTo>
                    <a:pt x="4" y="0"/>
                    <a:pt x="1" y="1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4" y="1"/>
                    <a:pt x="7" y="1"/>
                  </a:cubicBezTo>
                  <a:cubicBezTo>
                    <a:pt x="9" y="1"/>
                    <a:pt x="12" y="2"/>
                    <a:pt x="13" y="4"/>
                  </a:cubicBezTo>
                  <a:cubicBezTo>
                    <a:pt x="14" y="3"/>
                    <a:pt x="14" y="3"/>
                    <a:pt x="14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5" name="Freeform 1188">
              <a:extLst>
                <a:ext uri="{FF2B5EF4-FFF2-40B4-BE49-F238E27FC236}">
                  <a16:creationId xmlns:a16="http://schemas.microsoft.com/office/drawing/2014/main" id="{728EC86F-F07D-4FB1-BA1E-0B38FFB58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" y="2120"/>
              <a:ext cx="55" cy="15"/>
            </a:xfrm>
            <a:custGeom>
              <a:avLst/>
              <a:gdLst>
                <a:gd name="T0" fmla="*/ 22 w 22"/>
                <a:gd name="T1" fmla="*/ 6 h 6"/>
                <a:gd name="T2" fmla="*/ 11 w 22"/>
                <a:gd name="T3" fmla="*/ 0 h 6"/>
                <a:gd name="T4" fmla="*/ 0 w 22"/>
                <a:gd name="T5" fmla="*/ 6 h 6"/>
                <a:gd name="T6" fmla="*/ 1 w 22"/>
                <a:gd name="T7" fmla="*/ 6 h 6"/>
                <a:gd name="T8" fmla="*/ 11 w 22"/>
                <a:gd name="T9" fmla="*/ 1 h 6"/>
                <a:gd name="T10" fmla="*/ 21 w 22"/>
                <a:gd name="T11" fmla="*/ 6 h 6"/>
                <a:gd name="T12" fmla="*/ 22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22" y="6"/>
                  </a:moveTo>
                  <a:cubicBezTo>
                    <a:pt x="19" y="3"/>
                    <a:pt x="15" y="0"/>
                    <a:pt x="11" y="0"/>
                  </a:cubicBezTo>
                  <a:cubicBezTo>
                    <a:pt x="6" y="0"/>
                    <a:pt x="2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7" y="1"/>
                    <a:pt x="11" y="1"/>
                  </a:cubicBezTo>
                  <a:cubicBezTo>
                    <a:pt x="15" y="1"/>
                    <a:pt x="19" y="3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6" name="Rectangle 1189">
              <a:extLst>
                <a:ext uri="{FF2B5EF4-FFF2-40B4-BE49-F238E27FC236}">
                  <a16:creationId xmlns:a16="http://schemas.microsoft.com/office/drawing/2014/main" id="{C36271B8-A7FC-424A-8A65-6CBE2471FA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2" y="2156"/>
              <a:ext cx="251" cy="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7" name="Freeform 1190">
              <a:extLst>
                <a:ext uri="{FF2B5EF4-FFF2-40B4-BE49-F238E27FC236}">
                  <a16:creationId xmlns:a16="http://schemas.microsoft.com/office/drawing/2014/main" id="{391800FD-01F4-49A3-9B92-9B10F050A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" y="2153"/>
              <a:ext cx="253" cy="58"/>
            </a:xfrm>
            <a:custGeom>
              <a:avLst/>
              <a:gdLst>
                <a:gd name="T0" fmla="*/ 253 w 253"/>
                <a:gd name="T1" fmla="*/ 58 h 58"/>
                <a:gd name="T2" fmla="*/ 253 w 253"/>
                <a:gd name="T3" fmla="*/ 56 h 58"/>
                <a:gd name="T4" fmla="*/ 2 w 253"/>
                <a:gd name="T5" fmla="*/ 56 h 58"/>
                <a:gd name="T6" fmla="*/ 2 w 253"/>
                <a:gd name="T7" fmla="*/ 3 h 58"/>
                <a:gd name="T8" fmla="*/ 250 w 253"/>
                <a:gd name="T9" fmla="*/ 3 h 58"/>
                <a:gd name="T10" fmla="*/ 250 w 253"/>
                <a:gd name="T11" fmla="*/ 58 h 58"/>
                <a:gd name="T12" fmla="*/ 253 w 253"/>
                <a:gd name="T13" fmla="*/ 58 h 58"/>
                <a:gd name="T14" fmla="*/ 253 w 253"/>
                <a:gd name="T15" fmla="*/ 56 h 58"/>
                <a:gd name="T16" fmla="*/ 253 w 253"/>
                <a:gd name="T17" fmla="*/ 58 h 58"/>
                <a:gd name="T18" fmla="*/ 253 w 253"/>
                <a:gd name="T19" fmla="*/ 58 h 58"/>
                <a:gd name="T20" fmla="*/ 253 w 253"/>
                <a:gd name="T21" fmla="*/ 0 h 58"/>
                <a:gd name="T22" fmla="*/ 0 w 253"/>
                <a:gd name="T23" fmla="*/ 0 h 58"/>
                <a:gd name="T24" fmla="*/ 0 w 253"/>
                <a:gd name="T25" fmla="*/ 58 h 58"/>
                <a:gd name="T26" fmla="*/ 253 w 253"/>
                <a:gd name="T27" fmla="*/ 58 h 58"/>
                <a:gd name="T28" fmla="*/ 253 w 253"/>
                <a:gd name="T29" fmla="*/ 58 h 58"/>
                <a:gd name="T30" fmla="*/ 253 w 253"/>
                <a:gd name="T3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3" h="58">
                  <a:moveTo>
                    <a:pt x="253" y="58"/>
                  </a:moveTo>
                  <a:lnTo>
                    <a:pt x="253" y="56"/>
                  </a:lnTo>
                  <a:lnTo>
                    <a:pt x="2" y="56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50" y="58"/>
                  </a:lnTo>
                  <a:lnTo>
                    <a:pt x="253" y="58"/>
                  </a:lnTo>
                  <a:lnTo>
                    <a:pt x="253" y="56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53" y="5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8" name="Freeform 1191">
              <a:extLst>
                <a:ext uri="{FF2B5EF4-FFF2-40B4-BE49-F238E27FC236}">
                  <a16:creationId xmlns:a16="http://schemas.microsoft.com/office/drawing/2014/main" id="{4D69A465-A710-4C73-8A1E-779F55967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5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9" name="Freeform 1192">
              <a:extLst>
                <a:ext uri="{FF2B5EF4-FFF2-40B4-BE49-F238E27FC236}">
                  <a16:creationId xmlns:a16="http://schemas.microsoft.com/office/drawing/2014/main" id="{5B51F482-A212-4F3B-A8D1-6163C6BC1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5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0" name="Freeform 1193">
              <a:extLst>
                <a:ext uri="{FF2B5EF4-FFF2-40B4-BE49-F238E27FC236}">
                  <a16:creationId xmlns:a16="http://schemas.microsoft.com/office/drawing/2014/main" id="{C33C0143-A5ED-4B45-9BBF-AFB557E1A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5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1" name="Freeform 1194">
              <a:extLst>
                <a:ext uri="{FF2B5EF4-FFF2-40B4-BE49-F238E27FC236}">
                  <a16:creationId xmlns:a16="http://schemas.microsoft.com/office/drawing/2014/main" id="{81BC7598-A504-4815-9412-8623C094D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6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2" name="Freeform 1195">
              <a:extLst>
                <a:ext uri="{FF2B5EF4-FFF2-40B4-BE49-F238E27FC236}">
                  <a16:creationId xmlns:a16="http://schemas.microsoft.com/office/drawing/2014/main" id="{DFC4D5CA-C7F3-4583-B64B-A8CC34028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5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3" name="Freeform 1196">
              <a:extLst>
                <a:ext uri="{FF2B5EF4-FFF2-40B4-BE49-F238E27FC236}">
                  <a16:creationId xmlns:a16="http://schemas.microsoft.com/office/drawing/2014/main" id="{7C3E0A22-B6F4-4C10-958D-B8BE0B4A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1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1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1 h 4"/>
                <a:gd name="T20" fmla="*/ 0 w 6"/>
                <a:gd name="T21" fmla="*/ 1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1 h 4"/>
                <a:gd name="T28" fmla="*/ 6 w 6"/>
                <a:gd name="T29" fmla="*/ 1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4" name="Freeform 1197">
              <a:extLst>
                <a:ext uri="{FF2B5EF4-FFF2-40B4-BE49-F238E27FC236}">
                  <a16:creationId xmlns:a16="http://schemas.microsoft.com/office/drawing/2014/main" id="{3E2D7598-5220-4004-BFE6-2C184DFC1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" y="2211"/>
              <a:ext cx="13" cy="5"/>
            </a:xfrm>
            <a:custGeom>
              <a:avLst/>
              <a:gdLst>
                <a:gd name="T0" fmla="*/ 3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5" name="Freeform 1198">
              <a:extLst>
                <a:ext uri="{FF2B5EF4-FFF2-40B4-BE49-F238E27FC236}">
                  <a16:creationId xmlns:a16="http://schemas.microsoft.com/office/drawing/2014/main" id="{262F5896-5988-4909-8D12-10EC534D3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6" name="Freeform 1199">
              <a:extLst>
                <a:ext uri="{FF2B5EF4-FFF2-40B4-BE49-F238E27FC236}">
                  <a16:creationId xmlns:a16="http://schemas.microsoft.com/office/drawing/2014/main" id="{F16E5D48-C73E-4FE0-9216-147FE4CD5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" y="2211"/>
              <a:ext cx="13" cy="5"/>
            </a:xfrm>
            <a:custGeom>
              <a:avLst/>
              <a:gdLst>
                <a:gd name="T0" fmla="*/ 3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7" name="Freeform 1200">
              <a:extLst>
                <a:ext uri="{FF2B5EF4-FFF2-40B4-BE49-F238E27FC236}">
                  <a16:creationId xmlns:a16="http://schemas.microsoft.com/office/drawing/2014/main" id="{9A2FE19F-161F-4698-91DE-E2320F076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2209"/>
              <a:ext cx="17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8" name="Freeform 1201">
              <a:extLst>
                <a:ext uri="{FF2B5EF4-FFF2-40B4-BE49-F238E27FC236}">
                  <a16:creationId xmlns:a16="http://schemas.microsoft.com/office/drawing/2014/main" id="{BA097930-4B0D-44C0-9FA6-79551D56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" y="2211"/>
              <a:ext cx="16" cy="5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4" y="2"/>
                    <a:pt x="6" y="1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9" name="Freeform 1202">
              <a:extLst>
                <a:ext uri="{FF2B5EF4-FFF2-40B4-BE49-F238E27FC236}">
                  <a16:creationId xmlns:a16="http://schemas.microsoft.com/office/drawing/2014/main" id="{0FB012E2-4AA3-42C1-AF8B-569A9E803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7 w 7"/>
                <a:gd name="T25" fmla="*/ 1 h 4"/>
                <a:gd name="T26" fmla="*/ 7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0" name="Freeform 1203">
              <a:extLst>
                <a:ext uri="{FF2B5EF4-FFF2-40B4-BE49-F238E27FC236}">
                  <a16:creationId xmlns:a16="http://schemas.microsoft.com/office/drawing/2014/main" id="{57215538-956A-48BC-8E74-51ABA099E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2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1" name="Freeform 1204">
              <a:extLst>
                <a:ext uri="{FF2B5EF4-FFF2-40B4-BE49-F238E27FC236}">
                  <a16:creationId xmlns:a16="http://schemas.microsoft.com/office/drawing/2014/main" id="{534A3FF6-1C07-4323-9226-91B365912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2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2" name="Freeform 1205">
              <a:extLst>
                <a:ext uri="{FF2B5EF4-FFF2-40B4-BE49-F238E27FC236}">
                  <a16:creationId xmlns:a16="http://schemas.microsoft.com/office/drawing/2014/main" id="{8C1B4E81-EDDF-420F-B829-0A7DBA4E0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3" name="Freeform 1206">
              <a:extLst>
                <a:ext uri="{FF2B5EF4-FFF2-40B4-BE49-F238E27FC236}">
                  <a16:creationId xmlns:a16="http://schemas.microsoft.com/office/drawing/2014/main" id="{36B31596-EDB2-402F-B2A1-A4DBA0673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4" name="Freeform 1207">
              <a:extLst>
                <a:ext uri="{FF2B5EF4-FFF2-40B4-BE49-F238E27FC236}">
                  <a16:creationId xmlns:a16="http://schemas.microsoft.com/office/drawing/2014/main" id="{34ED49B1-01B9-4525-BECE-04A56ABB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5" name="Freeform 1208">
              <a:extLst>
                <a:ext uri="{FF2B5EF4-FFF2-40B4-BE49-F238E27FC236}">
                  <a16:creationId xmlns:a16="http://schemas.microsoft.com/office/drawing/2014/main" id="{D8FD61CE-A5AB-4ED3-BCEC-17E1EA44E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6" name="Freeform 1209">
              <a:extLst>
                <a:ext uri="{FF2B5EF4-FFF2-40B4-BE49-F238E27FC236}">
                  <a16:creationId xmlns:a16="http://schemas.microsoft.com/office/drawing/2014/main" id="{DA84221D-CAE2-4049-A886-611D67112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211"/>
              <a:ext cx="12" cy="5"/>
            </a:xfrm>
            <a:custGeom>
              <a:avLst/>
              <a:gdLst>
                <a:gd name="T0" fmla="*/ 2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38" name="Group 1411">
            <a:extLst>
              <a:ext uri="{FF2B5EF4-FFF2-40B4-BE49-F238E27FC236}">
                <a16:creationId xmlns:a16="http://schemas.microsoft.com/office/drawing/2014/main" id="{4AB1984F-5ED7-4B67-9A0A-F92331E31472}"/>
              </a:ext>
            </a:extLst>
          </p:cNvPr>
          <p:cNvGrpSpPr>
            <a:grpSpLocks/>
          </p:cNvGrpSpPr>
          <p:nvPr/>
        </p:nvGrpSpPr>
        <p:grpSpPr bwMode="auto">
          <a:xfrm>
            <a:off x="435717" y="3644102"/>
            <a:ext cx="6066011" cy="834301"/>
            <a:chOff x="844" y="2120"/>
            <a:chExt cx="2741" cy="377"/>
          </a:xfrm>
        </p:grpSpPr>
        <p:sp>
          <p:nvSpPr>
            <p:cNvPr id="1137" name="Freeform 1211">
              <a:extLst>
                <a:ext uri="{FF2B5EF4-FFF2-40B4-BE49-F238E27FC236}">
                  <a16:creationId xmlns:a16="http://schemas.microsoft.com/office/drawing/2014/main" id="{0A5ED19C-AC96-4363-ACAE-DF3D69908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8" name="Freeform 1212">
              <a:extLst>
                <a:ext uri="{FF2B5EF4-FFF2-40B4-BE49-F238E27FC236}">
                  <a16:creationId xmlns:a16="http://schemas.microsoft.com/office/drawing/2014/main" id="{5D204618-8309-44CC-BB9A-02920CFA6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2211"/>
              <a:ext cx="13" cy="5"/>
            </a:xfrm>
            <a:custGeom>
              <a:avLst/>
              <a:gdLst>
                <a:gd name="T0" fmla="*/ 2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9" name="Freeform 1213">
              <a:extLst>
                <a:ext uri="{FF2B5EF4-FFF2-40B4-BE49-F238E27FC236}">
                  <a16:creationId xmlns:a16="http://schemas.microsoft.com/office/drawing/2014/main" id="{EEE1F119-98F7-4D8E-B86A-E0AD02675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2209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6 w 7"/>
                <a:gd name="T17" fmla="*/ 1 h 4"/>
                <a:gd name="T18" fmla="*/ 6 w 7"/>
                <a:gd name="T19" fmla="*/ 1 h 4"/>
                <a:gd name="T20" fmla="*/ 6 w 7"/>
                <a:gd name="T21" fmla="*/ 1 h 4"/>
                <a:gd name="T22" fmla="*/ 6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3 w 7"/>
                <a:gd name="T29" fmla="*/ 3 h 4"/>
                <a:gd name="T30" fmla="*/ 3 w 7"/>
                <a:gd name="T31" fmla="*/ 3 h 4"/>
                <a:gd name="T32" fmla="*/ 3 w 7"/>
                <a:gd name="T33" fmla="*/ 4 h 4"/>
                <a:gd name="T34" fmla="*/ 7 w 7"/>
                <a:gd name="T35" fmla="*/ 1 h 4"/>
                <a:gd name="T36" fmla="*/ 6 w 7"/>
                <a:gd name="T37" fmla="*/ 1 h 4"/>
                <a:gd name="T38" fmla="*/ 7 w 7"/>
                <a:gd name="T39" fmla="*/ 1 h 4"/>
                <a:gd name="T40" fmla="*/ 7 w 7"/>
                <a:gd name="T41" fmla="*/ 1 h 4"/>
                <a:gd name="T42" fmla="*/ 6 w 7"/>
                <a:gd name="T43" fmla="*/ 1 h 4"/>
                <a:gd name="T44" fmla="*/ 7 w 7"/>
                <a:gd name="T45" fmla="*/ 1 h 4"/>
                <a:gd name="T46" fmla="*/ 7 w 7"/>
                <a:gd name="T47" fmla="*/ 1 h 4"/>
                <a:gd name="T48" fmla="*/ 7 w 7"/>
                <a:gd name="T49" fmla="*/ 0 h 4"/>
                <a:gd name="T50" fmla="*/ 0 w 7"/>
                <a:gd name="T51" fmla="*/ 0 h 4"/>
                <a:gd name="T52" fmla="*/ 0 w 7"/>
                <a:gd name="T53" fmla="*/ 1 h 4"/>
                <a:gd name="T54" fmla="*/ 3 w 7"/>
                <a:gd name="T55" fmla="*/ 4 h 4"/>
                <a:gd name="T56" fmla="*/ 3 w 7"/>
                <a:gd name="T5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0" name="Freeform 1214">
              <a:extLst>
                <a:ext uri="{FF2B5EF4-FFF2-40B4-BE49-F238E27FC236}">
                  <a16:creationId xmlns:a16="http://schemas.microsoft.com/office/drawing/2014/main" id="{D4241EDF-FB96-48B2-B9BB-A7594AF8F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" y="2211"/>
              <a:ext cx="13" cy="5"/>
            </a:xfrm>
            <a:custGeom>
              <a:avLst/>
              <a:gdLst>
                <a:gd name="T0" fmla="*/ 2 w 5"/>
                <a:gd name="T1" fmla="*/ 2 h 2"/>
                <a:gd name="T2" fmla="*/ 0 w 5"/>
                <a:gd name="T3" fmla="*/ 0 h 2"/>
                <a:gd name="T4" fmla="*/ 5 w 5"/>
                <a:gd name="T5" fmla="*/ 0 h 2"/>
                <a:gd name="T6" fmla="*/ 2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4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1" name="Freeform 1215">
              <a:extLst>
                <a:ext uri="{FF2B5EF4-FFF2-40B4-BE49-F238E27FC236}">
                  <a16:creationId xmlns:a16="http://schemas.microsoft.com/office/drawing/2014/main" id="{0676D072-FDF0-467E-8B8E-821CFFEB7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2209"/>
              <a:ext cx="17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1 h 4"/>
                <a:gd name="T14" fmla="*/ 6 w 7"/>
                <a:gd name="T15" fmla="*/ 1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2" name="Freeform 1216">
              <a:extLst>
                <a:ext uri="{FF2B5EF4-FFF2-40B4-BE49-F238E27FC236}">
                  <a16:creationId xmlns:a16="http://schemas.microsoft.com/office/drawing/2014/main" id="{BE357849-D677-4929-9D00-07969DA33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3" name="Freeform 1217">
              <a:extLst>
                <a:ext uri="{FF2B5EF4-FFF2-40B4-BE49-F238E27FC236}">
                  <a16:creationId xmlns:a16="http://schemas.microsoft.com/office/drawing/2014/main" id="{325469ED-1FFF-4C3D-92CA-F2B8A5590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0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4" name="Freeform 1218">
              <a:extLst>
                <a:ext uri="{FF2B5EF4-FFF2-40B4-BE49-F238E27FC236}">
                  <a16:creationId xmlns:a16="http://schemas.microsoft.com/office/drawing/2014/main" id="{2C77D6CE-4154-4401-AD8B-47ADFAD11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5" name="Freeform 1219">
              <a:extLst>
                <a:ext uri="{FF2B5EF4-FFF2-40B4-BE49-F238E27FC236}">
                  <a16:creationId xmlns:a16="http://schemas.microsoft.com/office/drawing/2014/main" id="{8E1B3171-3944-4E38-848C-02A56E2C1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" y="2209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0 w 6"/>
                <a:gd name="T5" fmla="*/ 1 h 4"/>
                <a:gd name="T6" fmla="*/ 0 w 6"/>
                <a:gd name="T7" fmla="*/ 1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1 h 4"/>
                <a:gd name="T14" fmla="*/ 5 w 6"/>
                <a:gd name="T15" fmla="*/ 1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1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1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6" name="Freeform 1220">
              <a:extLst>
                <a:ext uri="{FF2B5EF4-FFF2-40B4-BE49-F238E27FC236}">
                  <a16:creationId xmlns:a16="http://schemas.microsoft.com/office/drawing/2014/main" id="{7034BE36-8DA0-497C-B3AB-B59B24A8D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2211"/>
              <a:ext cx="15" cy="5"/>
            </a:xfrm>
            <a:custGeom>
              <a:avLst/>
              <a:gdLst>
                <a:gd name="T0" fmla="*/ 3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3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7" name="Freeform 1221">
              <a:extLst>
                <a:ext uri="{FF2B5EF4-FFF2-40B4-BE49-F238E27FC236}">
                  <a16:creationId xmlns:a16="http://schemas.microsoft.com/office/drawing/2014/main" id="{7FB22A35-1872-4EEC-BED7-4C9756508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3 h 4"/>
                <a:gd name="T4" fmla="*/ 1 w 7"/>
                <a:gd name="T5" fmla="*/ 1 h 4"/>
                <a:gd name="T6" fmla="*/ 1 w 7"/>
                <a:gd name="T7" fmla="*/ 1 h 4"/>
                <a:gd name="T8" fmla="*/ 1 w 7"/>
                <a:gd name="T9" fmla="*/ 1 h 4"/>
                <a:gd name="T10" fmla="*/ 7 w 7"/>
                <a:gd name="T11" fmla="*/ 1 h 4"/>
                <a:gd name="T12" fmla="*/ 7 w 7"/>
                <a:gd name="T13" fmla="*/ 1 h 4"/>
                <a:gd name="T14" fmla="*/ 6 w 7"/>
                <a:gd name="T15" fmla="*/ 1 h 4"/>
                <a:gd name="T16" fmla="*/ 4 w 7"/>
                <a:gd name="T17" fmla="*/ 3 h 4"/>
                <a:gd name="T18" fmla="*/ 4 w 7"/>
                <a:gd name="T19" fmla="*/ 3 h 4"/>
                <a:gd name="T20" fmla="*/ 4 w 7"/>
                <a:gd name="T21" fmla="*/ 4 h 4"/>
                <a:gd name="T22" fmla="*/ 7 w 7"/>
                <a:gd name="T23" fmla="*/ 1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1 h 4"/>
                <a:gd name="T30" fmla="*/ 4 w 7"/>
                <a:gd name="T31" fmla="*/ 4 h 4"/>
                <a:gd name="T32" fmla="*/ 4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8" name="Freeform 1222">
              <a:extLst>
                <a:ext uri="{FF2B5EF4-FFF2-40B4-BE49-F238E27FC236}">
                  <a16:creationId xmlns:a16="http://schemas.microsoft.com/office/drawing/2014/main" id="{83515D8E-A043-466A-A788-3ACE4B10E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2211"/>
              <a:ext cx="13" cy="5"/>
            </a:xfrm>
            <a:custGeom>
              <a:avLst/>
              <a:gdLst>
                <a:gd name="T0" fmla="*/ 3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9" name="Freeform 1223">
              <a:extLst>
                <a:ext uri="{FF2B5EF4-FFF2-40B4-BE49-F238E27FC236}">
                  <a16:creationId xmlns:a16="http://schemas.microsoft.com/office/drawing/2014/main" id="{4446B593-EFD3-4DE6-9F21-386A649FF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0" name="Freeform 1224">
              <a:extLst>
                <a:ext uri="{FF2B5EF4-FFF2-40B4-BE49-F238E27FC236}">
                  <a16:creationId xmlns:a16="http://schemas.microsoft.com/office/drawing/2014/main" id="{354F2E15-BD17-4B5E-A21B-FE14C9677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2211"/>
              <a:ext cx="12" cy="5"/>
            </a:xfrm>
            <a:custGeom>
              <a:avLst/>
              <a:gdLst>
                <a:gd name="T0" fmla="*/ 3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1" name="Freeform 1225">
              <a:extLst>
                <a:ext uri="{FF2B5EF4-FFF2-40B4-BE49-F238E27FC236}">
                  <a16:creationId xmlns:a16="http://schemas.microsoft.com/office/drawing/2014/main" id="{9CF20424-F28F-480A-B85F-A10D870C0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2" name="Freeform 1226">
              <a:extLst>
                <a:ext uri="{FF2B5EF4-FFF2-40B4-BE49-F238E27FC236}">
                  <a16:creationId xmlns:a16="http://schemas.microsoft.com/office/drawing/2014/main" id="{B0C5A21F-7BCC-4837-AB51-886E07FC3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211"/>
              <a:ext cx="12" cy="5"/>
            </a:xfrm>
            <a:custGeom>
              <a:avLst/>
              <a:gdLst>
                <a:gd name="T0" fmla="*/ 3 w 5"/>
                <a:gd name="T1" fmla="*/ 2 h 2"/>
                <a:gd name="T2" fmla="*/ 5 w 5"/>
                <a:gd name="T3" fmla="*/ 0 h 2"/>
                <a:gd name="T4" fmla="*/ 0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4" y="2"/>
                    <a:pt x="5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3" name="Freeform 1227">
              <a:extLst>
                <a:ext uri="{FF2B5EF4-FFF2-40B4-BE49-F238E27FC236}">
                  <a16:creationId xmlns:a16="http://schemas.microsoft.com/office/drawing/2014/main" id="{A8DE7ED7-1E3D-4F87-9E62-01937D56E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7" y="2209"/>
              <a:ext cx="18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1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1 h 4"/>
                <a:gd name="T20" fmla="*/ 1 w 7"/>
                <a:gd name="T21" fmla="*/ 1 h 4"/>
                <a:gd name="T22" fmla="*/ 1 w 7"/>
                <a:gd name="T23" fmla="*/ 1 h 4"/>
                <a:gd name="T24" fmla="*/ 6 w 7"/>
                <a:gd name="T25" fmla="*/ 1 h 4"/>
                <a:gd name="T26" fmla="*/ 6 w 7"/>
                <a:gd name="T27" fmla="*/ 1 h 4"/>
                <a:gd name="T28" fmla="*/ 6 w 7"/>
                <a:gd name="T29" fmla="*/ 1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7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4" name="Freeform 1228">
              <a:extLst>
                <a:ext uri="{FF2B5EF4-FFF2-40B4-BE49-F238E27FC236}">
                  <a16:creationId xmlns:a16="http://schemas.microsoft.com/office/drawing/2014/main" id="{90AE0F4E-7410-4F27-9295-A0009BD3E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" y="2156"/>
              <a:ext cx="248" cy="55"/>
            </a:xfrm>
            <a:custGeom>
              <a:avLst/>
              <a:gdLst>
                <a:gd name="T0" fmla="*/ 98 w 98"/>
                <a:gd name="T1" fmla="*/ 22 h 22"/>
                <a:gd name="T2" fmla="*/ 5 w 98"/>
                <a:gd name="T3" fmla="*/ 21 h 22"/>
                <a:gd name="T4" fmla="*/ 2 w 98"/>
                <a:gd name="T5" fmla="*/ 18 h 22"/>
                <a:gd name="T6" fmla="*/ 3 w 98"/>
                <a:gd name="T7" fmla="*/ 16 h 22"/>
                <a:gd name="T8" fmla="*/ 45 w 98"/>
                <a:gd name="T9" fmla="*/ 0 h 22"/>
                <a:gd name="T10" fmla="*/ 98 w 98"/>
                <a:gd name="T11" fmla="*/ 0 h 22"/>
                <a:gd name="T12" fmla="*/ 98 w 9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22">
                  <a:moveTo>
                    <a:pt x="98" y="22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0" y="19"/>
                    <a:pt x="2" y="1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1" y="6"/>
                    <a:pt x="29" y="0"/>
                    <a:pt x="45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5" name="Freeform 1229">
              <a:extLst>
                <a:ext uri="{FF2B5EF4-FFF2-40B4-BE49-F238E27FC236}">
                  <a16:creationId xmlns:a16="http://schemas.microsoft.com/office/drawing/2014/main" id="{8C0CDDC7-7E3E-4DA6-BFEC-FF0E4F9D8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" y="2153"/>
              <a:ext cx="245" cy="58"/>
            </a:xfrm>
            <a:custGeom>
              <a:avLst/>
              <a:gdLst>
                <a:gd name="T0" fmla="*/ 97 w 97"/>
                <a:gd name="T1" fmla="*/ 23 h 23"/>
                <a:gd name="T2" fmla="*/ 97 w 97"/>
                <a:gd name="T3" fmla="*/ 22 h 23"/>
                <a:gd name="T4" fmla="*/ 4 w 97"/>
                <a:gd name="T5" fmla="*/ 22 h 23"/>
                <a:gd name="T6" fmla="*/ 2 w 97"/>
                <a:gd name="T7" fmla="*/ 21 h 23"/>
                <a:gd name="T8" fmla="*/ 1 w 97"/>
                <a:gd name="T9" fmla="*/ 20 h 23"/>
                <a:gd name="T10" fmla="*/ 1 w 97"/>
                <a:gd name="T11" fmla="*/ 19 h 23"/>
                <a:gd name="T12" fmla="*/ 1 w 97"/>
                <a:gd name="T13" fmla="*/ 19 h 23"/>
                <a:gd name="T14" fmla="*/ 1 w 97"/>
                <a:gd name="T15" fmla="*/ 19 h 23"/>
                <a:gd name="T16" fmla="*/ 2 w 97"/>
                <a:gd name="T17" fmla="*/ 18 h 23"/>
                <a:gd name="T18" fmla="*/ 2 w 97"/>
                <a:gd name="T19" fmla="*/ 18 h 23"/>
                <a:gd name="T20" fmla="*/ 20 w 97"/>
                <a:gd name="T21" fmla="*/ 6 h 23"/>
                <a:gd name="T22" fmla="*/ 44 w 97"/>
                <a:gd name="T23" fmla="*/ 1 h 23"/>
                <a:gd name="T24" fmla="*/ 44 w 97"/>
                <a:gd name="T25" fmla="*/ 1 h 23"/>
                <a:gd name="T26" fmla="*/ 44 w 97"/>
                <a:gd name="T27" fmla="*/ 1 h 23"/>
                <a:gd name="T28" fmla="*/ 96 w 97"/>
                <a:gd name="T29" fmla="*/ 1 h 23"/>
                <a:gd name="T30" fmla="*/ 96 w 97"/>
                <a:gd name="T31" fmla="*/ 23 h 23"/>
                <a:gd name="T32" fmla="*/ 97 w 97"/>
                <a:gd name="T33" fmla="*/ 23 h 23"/>
                <a:gd name="T34" fmla="*/ 97 w 97"/>
                <a:gd name="T35" fmla="*/ 22 h 23"/>
                <a:gd name="T36" fmla="*/ 97 w 97"/>
                <a:gd name="T37" fmla="*/ 23 h 23"/>
                <a:gd name="T38" fmla="*/ 97 w 97"/>
                <a:gd name="T39" fmla="*/ 23 h 23"/>
                <a:gd name="T40" fmla="*/ 97 w 97"/>
                <a:gd name="T41" fmla="*/ 0 h 23"/>
                <a:gd name="T42" fmla="*/ 44 w 97"/>
                <a:gd name="T43" fmla="*/ 0 h 23"/>
                <a:gd name="T44" fmla="*/ 44 w 97"/>
                <a:gd name="T45" fmla="*/ 1 h 23"/>
                <a:gd name="T46" fmla="*/ 44 w 97"/>
                <a:gd name="T47" fmla="*/ 0 h 23"/>
                <a:gd name="T48" fmla="*/ 44 w 97"/>
                <a:gd name="T49" fmla="*/ 0 h 23"/>
                <a:gd name="T50" fmla="*/ 20 w 97"/>
                <a:gd name="T51" fmla="*/ 5 h 23"/>
                <a:gd name="T52" fmla="*/ 1 w 97"/>
                <a:gd name="T53" fmla="*/ 17 h 23"/>
                <a:gd name="T54" fmla="*/ 2 w 97"/>
                <a:gd name="T55" fmla="*/ 17 h 23"/>
                <a:gd name="T56" fmla="*/ 1 w 97"/>
                <a:gd name="T57" fmla="*/ 17 h 23"/>
                <a:gd name="T58" fmla="*/ 0 w 97"/>
                <a:gd name="T59" fmla="*/ 18 h 23"/>
                <a:gd name="T60" fmla="*/ 0 w 97"/>
                <a:gd name="T61" fmla="*/ 18 h 23"/>
                <a:gd name="T62" fmla="*/ 0 w 97"/>
                <a:gd name="T63" fmla="*/ 20 h 23"/>
                <a:gd name="T64" fmla="*/ 1 w 97"/>
                <a:gd name="T65" fmla="*/ 22 h 23"/>
                <a:gd name="T66" fmla="*/ 4 w 97"/>
                <a:gd name="T67" fmla="*/ 23 h 23"/>
                <a:gd name="T68" fmla="*/ 97 w 97"/>
                <a:gd name="T69" fmla="*/ 23 h 23"/>
                <a:gd name="T70" fmla="*/ 97 w 97"/>
                <a:gd name="T7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23">
                  <a:moveTo>
                    <a:pt x="97" y="23"/>
                  </a:moveTo>
                  <a:cubicBezTo>
                    <a:pt x="97" y="22"/>
                    <a:pt x="97" y="22"/>
                    <a:pt x="97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2"/>
                    <a:pt x="2" y="22"/>
                    <a:pt x="2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20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3"/>
                    <a:pt x="13" y="8"/>
                    <a:pt x="20" y="6"/>
                  </a:cubicBezTo>
                  <a:cubicBezTo>
                    <a:pt x="28" y="3"/>
                    <a:pt x="36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6" y="0"/>
                    <a:pt x="27" y="2"/>
                    <a:pt x="20" y="5"/>
                  </a:cubicBezTo>
                  <a:cubicBezTo>
                    <a:pt x="12" y="8"/>
                    <a:pt x="6" y="12"/>
                    <a:pt x="1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0" y="21"/>
                    <a:pt x="1" y="22"/>
                  </a:cubicBezTo>
                  <a:cubicBezTo>
                    <a:pt x="2" y="23"/>
                    <a:pt x="3" y="23"/>
                    <a:pt x="4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6" name="Freeform 1230">
              <a:extLst>
                <a:ext uri="{FF2B5EF4-FFF2-40B4-BE49-F238E27FC236}">
                  <a16:creationId xmlns:a16="http://schemas.microsoft.com/office/drawing/2014/main" id="{EABF4C1B-FF1E-4914-9F29-0C747BB98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" y="2161"/>
              <a:ext cx="73" cy="25"/>
            </a:xfrm>
            <a:custGeom>
              <a:avLst/>
              <a:gdLst>
                <a:gd name="T0" fmla="*/ 29 w 29"/>
                <a:gd name="T1" fmla="*/ 0 h 10"/>
                <a:gd name="T2" fmla="*/ 20 w 29"/>
                <a:gd name="T3" fmla="*/ 0 h 10"/>
                <a:gd name="T4" fmla="*/ 0 w 29"/>
                <a:gd name="T5" fmla="*/ 10 h 10"/>
                <a:gd name="T6" fmla="*/ 7 w 29"/>
                <a:gd name="T7" fmla="*/ 10 h 10"/>
                <a:gd name="T8" fmla="*/ 29 w 2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">
                  <a:moveTo>
                    <a:pt x="29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2" y="2"/>
                    <a:pt x="5" y="6"/>
                    <a:pt x="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8" y="3"/>
                    <a:pt x="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7" name="Freeform 1231">
              <a:extLst>
                <a:ext uri="{FF2B5EF4-FFF2-40B4-BE49-F238E27FC236}">
                  <a16:creationId xmlns:a16="http://schemas.microsoft.com/office/drawing/2014/main" id="{BF20FB18-2370-43A4-9D03-63DE612DA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" y="2161"/>
              <a:ext cx="86" cy="25"/>
            </a:xfrm>
            <a:custGeom>
              <a:avLst/>
              <a:gdLst>
                <a:gd name="T0" fmla="*/ 30 w 34"/>
                <a:gd name="T1" fmla="*/ 0 h 10"/>
                <a:gd name="T2" fmla="*/ 30 w 34"/>
                <a:gd name="T3" fmla="*/ 0 h 10"/>
                <a:gd name="T4" fmla="*/ 21 w 34"/>
                <a:gd name="T5" fmla="*/ 0 h 10"/>
                <a:gd name="T6" fmla="*/ 21 w 34"/>
                <a:gd name="T7" fmla="*/ 0 h 10"/>
                <a:gd name="T8" fmla="*/ 1 w 34"/>
                <a:gd name="T9" fmla="*/ 10 h 10"/>
                <a:gd name="T10" fmla="*/ 0 w 34"/>
                <a:gd name="T11" fmla="*/ 10 h 10"/>
                <a:gd name="T12" fmla="*/ 8 w 34"/>
                <a:gd name="T13" fmla="*/ 10 h 10"/>
                <a:gd name="T14" fmla="*/ 9 w 34"/>
                <a:gd name="T15" fmla="*/ 10 h 10"/>
                <a:gd name="T16" fmla="*/ 31 w 34"/>
                <a:gd name="T17" fmla="*/ 1 h 10"/>
                <a:gd name="T18" fmla="*/ 34 w 34"/>
                <a:gd name="T19" fmla="*/ 0 h 10"/>
                <a:gd name="T20" fmla="*/ 30 w 34"/>
                <a:gd name="T21" fmla="*/ 0 h 10"/>
                <a:gd name="T22" fmla="*/ 30 w 34"/>
                <a:gd name="T23" fmla="*/ 0 h 10"/>
                <a:gd name="T24" fmla="*/ 30 w 34"/>
                <a:gd name="T25" fmla="*/ 0 h 10"/>
                <a:gd name="T26" fmla="*/ 8 w 34"/>
                <a:gd name="T27" fmla="*/ 10 h 10"/>
                <a:gd name="T28" fmla="*/ 8 w 34"/>
                <a:gd name="T29" fmla="*/ 10 h 10"/>
                <a:gd name="T30" fmla="*/ 8 w 34"/>
                <a:gd name="T31" fmla="*/ 9 h 10"/>
                <a:gd name="T32" fmla="*/ 1 w 34"/>
                <a:gd name="T33" fmla="*/ 9 h 10"/>
                <a:gd name="T34" fmla="*/ 1 w 34"/>
                <a:gd name="T35" fmla="*/ 10 h 10"/>
                <a:gd name="T36" fmla="*/ 1 w 34"/>
                <a:gd name="T37" fmla="*/ 10 h 10"/>
                <a:gd name="T38" fmla="*/ 21 w 34"/>
                <a:gd name="T39" fmla="*/ 1 h 10"/>
                <a:gd name="T40" fmla="*/ 21 w 34"/>
                <a:gd name="T41" fmla="*/ 0 h 10"/>
                <a:gd name="T42" fmla="*/ 21 w 34"/>
                <a:gd name="T43" fmla="*/ 1 h 10"/>
                <a:gd name="T44" fmla="*/ 30 w 34"/>
                <a:gd name="T45" fmla="*/ 1 h 10"/>
                <a:gd name="T46" fmla="*/ 30 w 34"/>
                <a:gd name="T47" fmla="*/ 0 h 10"/>
                <a:gd name="T48" fmla="*/ 30 w 34"/>
                <a:gd name="T4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2"/>
                    <a:pt x="6" y="5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5" y="6"/>
                    <a:pt x="19" y="4"/>
                    <a:pt x="31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9" y="3"/>
                    <a:pt x="15" y="5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7" y="6"/>
                    <a:pt x="14" y="3"/>
                    <a:pt x="21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8" name="Freeform 1232">
              <a:extLst>
                <a:ext uri="{FF2B5EF4-FFF2-40B4-BE49-F238E27FC236}">
                  <a16:creationId xmlns:a16="http://schemas.microsoft.com/office/drawing/2014/main" id="{17595798-D803-4847-9C55-CAFC490F8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" y="2156"/>
              <a:ext cx="248" cy="55"/>
            </a:xfrm>
            <a:custGeom>
              <a:avLst/>
              <a:gdLst>
                <a:gd name="T0" fmla="*/ 1 w 98"/>
                <a:gd name="T1" fmla="*/ 22 h 22"/>
                <a:gd name="T2" fmla="*/ 93 w 98"/>
                <a:gd name="T3" fmla="*/ 21 h 22"/>
                <a:gd name="T4" fmla="*/ 97 w 98"/>
                <a:gd name="T5" fmla="*/ 18 h 22"/>
                <a:gd name="T6" fmla="*/ 95 w 98"/>
                <a:gd name="T7" fmla="*/ 16 h 22"/>
                <a:gd name="T8" fmla="*/ 53 w 98"/>
                <a:gd name="T9" fmla="*/ 0 h 22"/>
                <a:gd name="T10" fmla="*/ 0 w 98"/>
                <a:gd name="T11" fmla="*/ 0 h 22"/>
                <a:gd name="T12" fmla="*/ 1 w 9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22">
                  <a:moveTo>
                    <a:pt x="1" y="22"/>
                  </a:moveTo>
                  <a:cubicBezTo>
                    <a:pt x="93" y="21"/>
                    <a:pt x="93" y="21"/>
                    <a:pt x="93" y="21"/>
                  </a:cubicBezTo>
                  <a:cubicBezTo>
                    <a:pt x="96" y="21"/>
                    <a:pt x="98" y="19"/>
                    <a:pt x="97" y="18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87" y="6"/>
                    <a:pt x="69" y="0"/>
                    <a:pt x="5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9" name="Freeform 1233">
              <a:extLst>
                <a:ext uri="{FF2B5EF4-FFF2-40B4-BE49-F238E27FC236}">
                  <a16:creationId xmlns:a16="http://schemas.microsoft.com/office/drawing/2014/main" id="{595D751F-0118-44C1-B9E5-598475C80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" y="2153"/>
              <a:ext cx="245" cy="58"/>
            </a:xfrm>
            <a:custGeom>
              <a:avLst/>
              <a:gdLst>
                <a:gd name="T0" fmla="*/ 1 w 97"/>
                <a:gd name="T1" fmla="*/ 23 h 23"/>
                <a:gd name="T2" fmla="*/ 1 w 97"/>
                <a:gd name="T3" fmla="*/ 23 h 23"/>
                <a:gd name="T4" fmla="*/ 93 w 97"/>
                <a:gd name="T5" fmla="*/ 23 h 23"/>
                <a:gd name="T6" fmla="*/ 96 w 97"/>
                <a:gd name="T7" fmla="*/ 22 h 23"/>
                <a:gd name="T8" fmla="*/ 97 w 97"/>
                <a:gd name="T9" fmla="*/ 20 h 23"/>
                <a:gd name="T10" fmla="*/ 97 w 97"/>
                <a:gd name="T11" fmla="*/ 18 h 23"/>
                <a:gd name="T12" fmla="*/ 97 w 97"/>
                <a:gd name="T13" fmla="*/ 18 h 23"/>
                <a:gd name="T14" fmla="*/ 96 w 97"/>
                <a:gd name="T15" fmla="*/ 17 h 23"/>
                <a:gd name="T16" fmla="*/ 95 w 97"/>
                <a:gd name="T17" fmla="*/ 17 h 23"/>
                <a:gd name="T18" fmla="*/ 96 w 97"/>
                <a:gd name="T19" fmla="*/ 17 h 23"/>
                <a:gd name="T20" fmla="*/ 77 w 97"/>
                <a:gd name="T21" fmla="*/ 5 h 23"/>
                <a:gd name="T22" fmla="*/ 53 w 97"/>
                <a:gd name="T23" fmla="*/ 0 h 23"/>
                <a:gd name="T24" fmla="*/ 53 w 97"/>
                <a:gd name="T25" fmla="*/ 0 h 23"/>
                <a:gd name="T26" fmla="*/ 53 w 97"/>
                <a:gd name="T27" fmla="*/ 1 h 23"/>
                <a:gd name="T28" fmla="*/ 53 w 97"/>
                <a:gd name="T29" fmla="*/ 0 h 23"/>
                <a:gd name="T30" fmla="*/ 0 w 97"/>
                <a:gd name="T31" fmla="*/ 0 h 23"/>
                <a:gd name="T32" fmla="*/ 0 w 97"/>
                <a:gd name="T33" fmla="*/ 23 h 23"/>
                <a:gd name="T34" fmla="*/ 1 w 97"/>
                <a:gd name="T35" fmla="*/ 23 h 23"/>
                <a:gd name="T36" fmla="*/ 1 w 97"/>
                <a:gd name="T37" fmla="*/ 23 h 23"/>
                <a:gd name="T38" fmla="*/ 1 w 97"/>
                <a:gd name="T39" fmla="*/ 23 h 23"/>
                <a:gd name="T40" fmla="*/ 1 w 97"/>
                <a:gd name="T41" fmla="*/ 1 h 23"/>
                <a:gd name="T42" fmla="*/ 53 w 97"/>
                <a:gd name="T43" fmla="*/ 1 h 23"/>
                <a:gd name="T44" fmla="*/ 53 w 97"/>
                <a:gd name="T45" fmla="*/ 1 h 23"/>
                <a:gd name="T46" fmla="*/ 53 w 97"/>
                <a:gd name="T47" fmla="*/ 1 h 23"/>
                <a:gd name="T48" fmla="*/ 77 w 97"/>
                <a:gd name="T49" fmla="*/ 6 h 23"/>
                <a:gd name="T50" fmla="*/ 95 w 97"/>
                <a:gd name="T51" fmla="*/ 18 h 23"/>
                <a:gd name="T52" fmla="*/ 95 w 97"/>
                <a:gd name="T53" fmla="*/ 18 h 23"/>
                <a:gd name="T54" fmla="*/ 96 w 97"/>
                <a:gd name="T55" fmla="*/ 19 h 23"/>
                <a:gd name="T56" fmla="*/ 97 w 97"/>
                <a:gd name="T57" fmla="*/ 19 h 23"/>
                <a:gd name="T58" fmla="*/ 96 w 97"/>
                <a:gd name="T59" fmla="*/ 19 h 23"/>
                <a:gd name="T60" fmla="*/ 96 w 97"/>
                <a:gd name="T61" fmla="*/ 20 h 23"/>
                <a:gd name="T62" fmla="*/ 95 w 97"/>
                <a:gd name="T63" fmla="*/ 21 h 23"/>
                <a:gd name="T64" fmla="*/ 93 w 97"/>
                <a:gd name="T65" fmla="*/ 22 h 23"/>
                <a:gd name="T66" fmla="*/ 1 w 97"/>
                <a:gd name="T67" fmla="*/ 22 h 23"/>
                <a:gd name="T68" fmla="*/ 1 w 97"/>
                <a:gd name="T69" fmla="*/ 23 h 23"/>
                <a:gd name="T70" fmla="*/ 1 w 97"/>
                <a:gd name="T7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23">
                  <a:moveTo>
                    <a:pt x="1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4" y="23"/>
                    <a:pt x="95" y="23"/>
                    <a:pt x="96" y="22"/>
                  </a:cubicBezTo>
                  <a:cubicBezTo>
                    <a:pt x="97" y="21"/>
                    <a:pt x="97" y="21"/>
                    <a:pt x="97" y="20"/>
                  </a:cubicBezTo>
                  <a:cubicBezTo>
                    <a:pt x="97" y="19"/>
                    <a:pt x="97" y="19"/>
                    <a:pt x="97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2" y="12"/>
                    <a:pt x="85" y="8"/>
                    <a:pt x="77" y="5"/>
                  </a:cubicBezTo>
                  <a:cubicBezTo>
                    <a:pt x="70" y="2"/>
                    <a:pt x="61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61" y="1"/>
                    <a:pt x="69" y="3"/>
                    <a:pt x="77" y="6"/>
                  </a:cubicBezTo>
                  <a:cubicBezTo>
                    <a:pt x="84" y="8"/>
                    <a:pt x="91" y="13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20"/>
                    <a:pt x="96" y="20"/>
                  </a:cubicBezTo>
                  <a:cubicBezTo>
                    <a:pt x="96" y="20"/>
                    <a:pt x="96" y="21"/>
                    <a:pt x="95" y="21"/>
                  </a:cubicBezTo>
                  <a:cubicBezTo>
                    <a:pt x="95" y="22"/>
                    <a:pt x="94" y="22"/>
                    <a:pt x="93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0" name="Freeform 1234">
              <a:extLst>
                <a:ext uri="{FF2B5EF4-FFF2-40B4-BE49-F238E27FC236}">
                  <a16:creationId xmlns:a16="http://schemas.microsoft.com/office/drawing/2014/main" id="{D60B7346-E871-4EB2-B858-3B277090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" y="2161"/>
              <a:ext cx="73" cy="25"/>
            </a:xfrm>
            <a:custGeom>
              <a:avLst/>
              <a:gdLst>
                <a:gd name="T0" fmla="*/ 0 w 29"/>
                <a:gd name="T1" fmla="*/ 0 h 10"/>
                <a:gd name="T2" fmla="*/ 9 w 29"/>
                <a:gd name="T3" fmla="*/ 0 h 10"/>
                <a:gd name="T4" fmla="*/ 29 w 29"/>
                <a:gd name="T5" fmla="*/ 10 h 10"/>
                <a:gd name="T6" fmla="*/ 22 w 29"/>
                <a:gd name="T7" fmla="*/ 10 h 10"/>
                <a:gd name="T8" fmla="*/ 0 w 2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">
                  <a:moveTo>
                    <a:pt x="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7" y="2"/>
                    <a:pt x="24" y="6"/>
                    <a:pt x="29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5" y="6"/>
                    <a:pt x="1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1" name="Freeform 1235">
              <a:extLst>
                <a:ext uri="{FF2B5EF4-FFF2-40B4-BE49-F238E27FC236}">
                  <a16:creationId xmlns:a16="http://schemas.microsoft.com/office/drawing/2014/main" id="{44C214CB-4B37-428E-8CA3-7E037BAE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" y="2161"/>
              <a:ext cx="86" cy="25"/>
            </a:xfrm>
            <a:custGeom>
              <a:avLst/>
              <a:gdLst>
                <a:gd name="T0" fmla="*/ 4 w 34"/>
                <a:gd name="T1" fmla="*/ 0 h 10"/>
                <a:gd name="T2" fmla="*/ 4 w 34"/>
                <a:gd name="T3" fmla="*/ 1 h 10"/>
                <a:gd name="T4" fmla="*/ 13 w 34"/>
                <a:gd name="T5" fmla="*/ 1 h 10"/>
                <a:gd name="T6" fmla="*/ 13 w 34"/>
                <a:gd name="T7" fmla="*/ 0 h 10"/>
                <a:gd name="T8" fmla="*/ 13 w 34"/>
                <a:gd name="T9" fmla="*/ 1 h 10"/>
                <a:gd name="T10" fmla="*/ 33 w 34"/>
                <a:gd name="T11" fmla="*/ 10 h 10"/>
                <a:gd name="T12" fmla="*/ 33 w 34"/>
                <a:gd name="T13" fmla="*/ 10 h 10"/>
                <a:gd name="T14" fmla="*/ 33 w 34"/>
                <a:gd name="T15" fmla="*/ 9 h 10"/>
                <a:gd name="T16" fmla="*/ 26 w 34"/>
                <a:gd name="T17" fmla="*/ 9 h 10"/>
                <a:gd name="T18" fmla="*/ 26 w 34"/>
                <a:gd name="T19" fmla="*/ 10 h 10"/>
                <a:gd name="T20" fmla="*/ 26 w 34"/>
                <a:gd name="T21" fmla="*/ 10 h 10"/>
                <a:gd name="T22" fmla="*/ 4 w 34"/>
                <a:gd name="T23" fmla="*/ 0 h 10"/>
                <a:gd name="T24" fmla="*/ 4 w 34"/>
                <a:gd name="T25" fmla="*/ 0 h 10"/>
                <a:gd name="T26" fmla="*/ 4 w 34"/>
                <a:gd name="T27" fmla="*/ 1 h 10"/>
                <a:gd name="T28" fmla="*/ 4 w 34"/>
                <a:gd name="T29" fmla="*/ 0 h 10"/>
                <a:gd name="T30" fmla="*/ 4 w 34"/>
                <a:gd name="T31" fmla="*/ 1 h 10"/>
                <a:gd name="T32" fmla="*/ 26 w 34"/>
                <a:gd name="T33" fmla="*/ 10 h 10"/>
                <a:gd name="T34" fmla="*/ 26 w 34"/>
                <a:gd name="T35" fmla="*/ 10 h 10"/>
                <a:gd name="T36" fmla="*/ 34 w 34"/>
                <a:gd name="T37" fmla="*/ 10 h 10"/>
                <a:gd name="T38" fmla="*/ 33 w 34"/>
                <a:gd name="T39" fmla="*/ 10 h 10"/>
                <a:gd name="T40" fmla="*/ 13 w 34"/>
                <a:gd name="T41" fmla="*/ 0 h 10"/>
                <a:gd name="T42" fmla="*/ 13 w 34"/>
                <a:gd name="T43" fmla="*/ 0 h 10"/>
                <a:gd name="T44" fmla="*/ 0 w 34"/>
                <a:gd name="T45" fmla="*/ 0 h 10"/>
                <a:gd name="T46" fmla="*/ 4 w 34"/>
                <a:gd name="T47" fmla="*/ 1 h 10"/>
                <a:gd name="T48" fmla="*/ 4 w 34"/>
                <a:gd name="T4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10">
                  <a:moveTo>
                    <a:pt x="4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0" y="3"/>
                    <a:pt x="28" y="6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19" y="5"/>
                    <a:pt x="15" y="3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15" y="4"/>
                    <a:pt x="19" y="6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28" y="5"/>
                    <a:pt x="21" y="2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2" name="Freeform 1236">
              <a:extLst>
                <a:ext uri="{FF2B5EF4-FFF2-40B4-BE49-F238E27FC236}">
                  <a16:creationId xmlns:a16="http://schemas.microsoft.com/office/drawing/2014/main" id="{9114BD25-EF19-4A62-8BE9-FD5578EF5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3" name="Freeform 1237">
              <a:extLst>
                <a:ext uri="{FF2B5EF4-FFF2-40B4-BE49-F238E27FC236}">
                  <a16:creationId xmlns:a16="http://schemas.microsoft.com/office/drawing/2014/main" id="{30262FEC-4F47-4B41-82A8-65B351BCB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4" name="Freeform 1238">
              <a:extLst>
                <a:ext uri="{FF2B5EF4-FFF2-40B4-BE49-F238E27FC236}">
                  <a16:creationId xmlns:a16="http://schemas.microsoft.com/office/drawing/2014/main" id="{AE51866E-B8BF-433D-A904-D3AABE472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5" name="Freeform 1239">
              <a:extLst>
                <a:ext uri="{FF2B5EF4-FFF2-40B4-BE49-F238E27FC236}">
                  <a16:creationId xmlns:a16="http://schemas.microsoft.com/office/drawing/2014/main" id="{5F98083F-4300-46CC-AB02-B39EF24DB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6" name="Freeform 1240">
              <a:extLst>
                <a:ext uri="{FF2B5EF4-FFF2-40B4-BE49-F238E27FC236}">
                  <a16:creationId xmlns:a16="http://schemas.microsoft.com/office/drawing/2014/main" id="{9E4226E1-44B7-43CE-98FF-6A66429FB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7" name="Freeform 1241">
              <a:extLst>
                <a:ext uri="{FF2B5EF4-FFF2-40B4-BE49-F238E27FC236}">
                  <a16:creationId xmlns:a16="http://schemas.microsoft.com/office/drawing/2014/main" id="{00089F02-3567-4EBF-8247-B7831E490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8" name="Freeform 1242">
              <a:extLst>
                <a:ext uri="{FF2B5EF4-FFF2-40B4-BE49-F238E27FC236}">
                  <a16:creationId xmlns:a16="http://schemas.microsoft.com/office/drawing/2014/main" id="{E27704EC-3A01-42D5-BC36-A8D443943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9" name="Freeform 1243">
              <a:extLst>
                <a:ext uri="{FF2B5EF4-FFF2-40B4-BE49-F238E27FC236}">
                  <a16:creationId xmlns:a16="http://schemas.microsoft.com/office/drawing/2014/main" id="{6CF5751E-7E95-443F-8D57-6AA6BFF2C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0" name="Freeform 1244">
              <a:extLst>
                <a:ext uri="{FF2B5EF4-FFF2-40B4-BE49-F238E27FC236}">
                  <a16:creationId xmlns:a16="http://schemas.microsoft.com/office/drawing/2014/main" id="{CB388AD5-2FCC-4622-9769-F54C38E35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1" name="Freeform 1245">
              <a:extLst>
                <a:ext uri="{FF2B5EF4-FFF2-40B4-BE49-F238E27FC236}">
                  <a16:creationId xmlns:a16="http://schemas.microsoft.com/office/drawing/2014/main" id="{825142E0-E29E-4981-B76F-EE630BB61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2" name="Freeform 1246">
              <a:extLst>
                <a:ext uri="{FF2B5EF4-FFF2-40B4-BE49-F238E27FC236}">
                  <a16:creationId xmlns:a16="http://schemas.microsoft.com/office/drawing/2014/main" id="{23E0328F-AA0B-44DF-93D4-B5636F202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3" name="Freeform 1247">
              <a:extLst>
                <a:ext uri="{FF2B5EF4-FFF2-40B4-BE49-F238E27FC236}">
                  <a16:creationId xmlns:a16="http://schemas.microsoft.com/office/drawing/2014/main" id="{ABA8175D-0D0E-49DF-9CE1-2D1FD08DA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4" name="Freeform 1248">
              <a:extLst>
                <a:ext uri="{FF2B5EF4-FFF2-40B4-BE49-F238E27FC236}">
                  <a16:creationId xmlns:a16="http://schemas.microsoft.com/office/drawing/2014/main" id="{44EBD3BA-B7FA-4796-8F60-EF3F0CC15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5" name="Freeform 1249">
              <a:extLst>
                <a:ext uri="{FF2B5EF4-FFF2-40B4-BE49-F238E27FC236}">
                  <a16:creationId xmlns:a16="http://schemas.microsoft.com/office/drawing/2014/main" id="{442F167F-280B-4F41-B7C8-C859E78A5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6" name="Freeform 1250">
              <a:extLst>
                <a:ext uri="{FF2B5EF4-FFF2-40B4-BE49-F238E27FC236}">
                  <a16:creationId xmlns:a16="http://schemas.microsoft.com/office/drawing/2014/main" id="{37F1EFA5-99F2-4C26-B9B9-BC1C90F20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7" name="Freeform 1251">
              <a:extLst>
                <a:ext uri="{FF2B5EF4-FFF2-40B4-BE49-F238E27FC236}">
                  <a16:creationId xmlns:a16="http://schemas.microsoft.com/office/drawing/2014/main" id="{FC2B9C19-CA20-4906-AB5D-CDDFC7F92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8" name="Freeform 1252">
              <a:extLst>
                <a:ext uri="{FF2B5EF4-FFF2-40B4-BE49-F238E27FC236}">
                  <a16:creationId xmlns:a16="http://schemas.microsoft.com/office/drawing/2014/main" id="{EECBE00E-63EB-4186-B051-76450B8B4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9" name="Freeform 1253">
              <a:extLst>
                <a:ext uri="{FF2B5EF4-FFF2-40B4-BE49-F238E27FC236}">
                  <a16:creationId xmlns:a16="http://schemas.microsoft.com/office/drawing/2014/main" id="{E3834645-43D9-4663-9124-841FDADAC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0" name="Freeform 1254">
              <a:extLst>
                <a:ext uri="{FF2B5EF4-FFF2-40B4-BE49-F238E27FC236}">
                  <a16:creationId xmlns:a16="http://schemas.microsoft.com/office/drawing/2014/main" id="{A2EAEC5B-3B30-4C83-907B-E1983ED2A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1" name="Freeform 1255">
              <a:extLst>
                <a:ext uri="{FF2B5EF4-FFF2-40B4-BE49-F238E27FC236}">
                  <a16:creationId xmlns:a16="http://schemas.microsoft.com/office/drawing/2014/main" id="{7139698E-BB76-4418-A0C0-271CD2825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2" name="Freeform 1256">
              <a:extLst>
                <a:ext uri="{FF2B5EF4-FFF2-40B4-BE49-F238E27FC236}">
                  <a16:creationId xmlns:a16="http://schemas.microsoft.com/office/drawing/2014/main" id="{54E2E816-0327-440B-B5BB-11AEEC6ED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3" name="Freeform 1257">
              <a:extLst>
                <a:ext uri="{FF2B5EF4-FFF2-40B4-BE49-F238E27FC236}">
                  <a16:creationId xmlns:a16="http://schemas.microsoft.com/office/drawing/2014/main" id="{4170189F-8947-47A6-B4A4-2EBCDF1D8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4" name="Freeform 1258">
              <a:extLst>
                <a:ext uri="{FF2B5EF4-FFF2-40B4-BE49-F238E27FC236}">
                  <a16:creationId xmlns:a16="http://schemas.microsoft.com/office/drawing/2014/main" id="{8E7E6563-52A7-450D-96D7-D0F1A8823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" y="2171"/>
              <a:ext cx="5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5" name="Freeform 1259">
              <a:extLst>
                <a:ext uri="{FF2B5EF4-FFF2-40B4-BE49-F238E27FC236}">
                  <a16:creationId xmlns:a16="http://schemas.microsoft.com/office/drawing/2014/main" id="{7F4A90FE-B5CF-48AE-AA8A-11E658A05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6" name="Freeform 1260">
              <a:extLst>
                <a:ext uri="{FF2B5EF4-FFF2-40B4-BE49-F238E27FC236}">
                  <a16:creationId xmlns:a16="http://schemas.microsoft.com/office/drawing/2014/main" id="{A58DD4E9-D6E7-4A2F-90AB-515448085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7" name="Freeform 1261">
              <a:extLst>
                <a:ext uri="{FF2B5EF4-FFF2-40B4-BE49-F238E27FC236}">
                  <a16:creationId xmlns:a16="http://schemas.microsoft.com/office/drawing/2014/main" id="{4B04E899-A09C-40DE-8697-AE3DB5648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8" name="Freeform 1262">
              <a:extLst>
                <a:ext uri="{FF2B5EF4-FFF2-40B4-BE49-F238E27FC236}">
                  <a16:creationId xmlns:a16="http://schemas.microsoft.com/office/drawing/2014/main" id="{F9A682A5-81E8-4A56-AA61-8AC29204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9" name="Freeform 1263">
              <a:extLst>
                <a:ext uri="{FF2B5EF4-FFF2-40B4-BE49-F238E27FC236}">
                  <a16:creationId xmlns:a16="http://schemas.microsoft.com/office/drawing/2014/main" id="{CD6AB828-CF8C-4CCE-ABA6-BB5E2716B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0" name="Freeform 1264">
              <a:extLst>
                <a:ext uri="{FF2B5EF4-FFF2-40B4-BE49-F238E27FC236}">
                  <a16:creationId xmlns:a16="http://schemas.microsoft.com/office/drawing/2014/main" id="{1800E7A6-2542-4966-B1A9-986F78053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1" name="Freeform 1265">
              <a:extLst>
                <a:ext uri="{FF2B5EF4-FFF2-40B4-BE49-F238E27FC236}">
                  <a16:creationId xmlns:a16="http://schemas.microsoft.com/office/drawing/2014/main" id="{9C6650C7-6938-4FB6-B139-8FB19E30E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2" name="Freeform 1266">
              <a:extLst>
                <a:ext uri="{FF2B5EF4-FFF2-40B4-BE49-F238E27FC236}">
                  <a16:creationId xmlns:a16="http://schemas.microsoft.com/office/drawing/2014/main" id="{7A5E991C-2D45-4926-A385-98581B539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3" name="Freeform 1267">
              <a:extLst>
                <a:ext uri="{FF2B5EF4-FFF2-40B4-BE49-F238E27FC236}">
                  <a16:creationId xmlns:a16="http://schemas.microsoft.com/office/drawing/2014/main" id="{7870AFC1-7D89-41C8-B1FE-3C2BF4706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4" name="Freeform 1268">
              <a:extLst>
                <a:ext uri="{FF2B5EF4-FFF2-40B4-BE49-F238E27FC236}">
                  <a16:creationId xmlns:a16="http://schemas.microsoft.com/office/drawing/2014/main" id="{F1F7F956-A8A3-4CF0-A0FB-591DBB008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" y="2171"/>
              <a:ext cx="6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5" name="Freeform 1269">
              <a:extLst>
                <a:ext uri="{FF2B5EF4-FFF2-40B4-BE49-F238E27FC236}">
                  <a16:creationId xmlns:a16="http://schemas.microsoft.com/office/drawing/2014/main" id="{051CF175-D2EE-44A5-8F1B-C9FAED800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6" name="Freeform 1270">
              <a:extLst>
                <a:ext uri="{FF2B5EF4-FFF2-40B4-BE49-F238E27FC236}">
                  <a16:creationId xmlns:a16="http://schemas.microsoft.com/office/drawing/2014/main" id="{5F6C88A8-A439-4234-9CBB-1216E1B34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7" name="Freeform 1271">
              <a:extLst>
                <a:ext uri="{FF2B5EF4-FFF2-40B4-BE49-F238E27FC236}">
                  <a16:creationId xmlns:a16="http://schemas.microsoft.com/office/drawing/2014/main" id="{B341D752-788F-4E09-8249-224F5E9DF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8" name="Freeform 1272">
              <a:extLst>
                <a:ext uri="{FF2B5EF4-FFF2-40B4-BE49-F238E27FC236}">
                  <a16:creationId xmlns:a16="http://schemas.microsoft.com/office/drawing/2014/main" id="{95A2FBC8-0638-4AF4-8A70-E4B3A355C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9" name="Freeform 1273">
              <a:extLst>
                <a:ext uri="{FF2B5EF4-FFF2-40B4-BE49-F238E27FC236}">
                  <a16:creationId xmlns:a16="http://schemas.microsoft.com/office/drawing/2014/main" id="{53587FFC-6A30-4BA8-A2E2-691EA5432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0" name="Freeform 1274">
              <a:extLst>
                <a:ext uri="{FF2B5EF4-FFF2-40B4-BE49-F238E27FC236}">
                  <a16:creationId xmlns:a16="http://schemas.microsoft.com/office/drawing/2014/main" id="{A89E4352-299E-441A-B71F-1E3EDDD2C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1" name="Freeform 1275">
              <a:extLst>
                <a:ext uri="{FF2B5EF4-FFF2-40B4-BE49-F238E27FC236}">
                  <a16:creationId xmlns:a16="http://schemas.microsoft.com/office/drawing/2014/main" id="{F575E40C-63EC-4E6A-A6B5-E844A7A48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2168"/>
              <a:ext cx="7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2" name="Freeform 1276">
              <a:extLst>
                <a:ext uri="{FF2B5EF4-FFF2-40B4-BE49-F238E27FC236}">
                  <a16:creationId xmlns:a16="http://schemas.microsoft.com/office/drawing/2014/main" id="{62880EAA-E4BB-41D3-99C8-0F2D808ED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171"/>
              <a:ext cx="6" cy="15"/>
            </a:xfrm>
            <a:custGeom>
              <a:avLst/>
              <a:gdLst>
                <a:gd name="T0" fmla="*/ 0 w 2"/>
                <a:gd name="T1" fmla="*/ 6 h 6"/>
                <a:gd name="T2" fmla="*/ 0 w 2"/>
                <a:gd name="T3" fmla="*/ 1 h 6"/>
                <a:gd name="T4" fmla="*/ 1 w 2"/>
                <a:gd name="T5" fmla="*/ 0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3" name="Freeform 1277">
              <a:extLst>
                <a:ext uri="{FF2B5EF4-FFF2-40B4-BE49-F238E27FC236}">
                  <a16:creationId xmlns:a16="http://schemas.microsoft.com/office/drawing/2014/main" id="{BAEEFA14-5750-4D19-94D7-D83214784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1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4" name="Freeform 1278">
              <a:extLst>
                <a:ext uri="{FF2B5EF4-FFF2-40B4-BE49-F238E27FC236}">
                  <a16:creationId xmlns:a16="http://schemas.microsoft.com/office/drawing/2014/main" id="{77EFD04C-F354-42D7-90BA-10BB7CCFB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" y="2171"/>
              <a:ext cx="7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1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5" name="Freeform 1279">
              <a:extLst>
                <a:ext uri="{FF2B5EF4-FFF2-40B4-BE49-F238E27FC236}">
                  <a16:creationId xmlns:a16="http://schemas.microsoft.com/office/drawing/2014/main" id="{8FA30D67-F246-4A99-B720-B0CE49F6F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2168"/>
              <a:ext cx="10" cy="18"/>
            </a:xfrm>
            <a:custGeom>
              <a:avLst/>
              <a:gdLst>
                <a:gd name="T0" fmla="*/ 1 w 4"/>
                <a:gd name="T1" fmla="*/ 7 h 7"/>
                <a:gd name="T2" fmla="*/ 1 w 4"/>
                <a:gd name="T3" fmla="*/ 2 h 7"/>
                <a:gd name="T4" fmla="*/ 2 w 4"/>
                <a:gd name="T5" fmla="*/ 1 h 7"/>
                <a:gd name="T6" fmla="*/ 4 w 4"/>
                <a:gd name="T7" fmla="*/ 1 h 7"/>
                <a:gd name="T8" fmla="*/ 4 w 4"/>
                <a:gd name="T9" fmla="*/ 0 h 7"/>
                <a:gd name="T10" fmla="*/ 2 w 4"/>
                <a:gd name="T11" fmla="*/ 0 h 7"/>
                <a:gd name="T12" fmla="*/ 0 w 4"/>
                <a:gd name="T13" fmla="*/ 2 h 7"/>
                <a:gd name="T14" fmla="*/ 0 w 4"/>
                <a:gd name="T15" fmla="*/ 7 h 7"/>
                <a:gd name="T16" fmla="*/ 1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6" name="Freeform 1280">
              <a:extLst>
                <a:ext uri="{FF2B5EF4-FFF2-40B4-BE49-F238E27FC236}">
                  <a16:creationId xmlns:a16="http://schemas.microsoft.com/office/drawing/2014/main" id="{AE1E4009-9FBA-458E-BCC7-880A9723E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" y="2171"/>
              <a:ext cx="8" cy="15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1 h 6"/>
                <a:gd name="T4" fmla="*/ 2 w 3"/>
                <a:gd name="T5" fmla="*/ 0 h 6"/>
                <a:gd name="T6" fmla="*/ 3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7" name="Freeform 1281">
              <a:extLst>
                <a:ext uri="{FF2B5EF4-FFF2-40B4-BE49-F238E27FC236}">
                  <a16:creationId xmlns:a16="http://schemas.microsoft.com/office/drawing/2014/main" id="{1F83A97B-8F59-4564-BF75-020ACFCA9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" y="2168"/>
              <a:ext cx="8" cy="18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2 h 7"/>
                <a:gd name="T4" fmla="*/ 2 w 3"/>
                <a:gd name="T5" fmla="*/ 1 h 7"/>
                <a:gd name="T6" fmla="*/ 3 w 3"/>
                <a:gd name="T7" fmla="*/ 1 h 7"/>
                <a:gd name="T8" fmla="*/ 3 w 3"/>
                <a:gd name="T9" fmla="*/ 0 h 7"/>
                <a:gd name="T10" fmla="*/ 2 w 3"/>
                <a:gd name="T11" fmla="*/ 0 h 7"/>
                <a:gd name="T12" fmla="*/ 0 w 3"/>
                <a:gd name="T13" fmla="*/ 2 h 7"/>
                <a:gd name="T14" fmla="*/ 0 w 3"/>
                <a:gd name="T15" fmla="*/ 7 h 7"/>
                <a:gd name="T16" fmla="*/ 1 w 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8" name="Freeform 1282">
              <a:extLst>
                <a:ext uri="{FF2B5EF4-FFF2-40B4-BE49-F238E27FC236}">
                  <a16:creationId xmlns:a16="http://schemas.microsoft.com/office/drawing/2014/main" id="{6E40EF21-CB1B-4BB2-BCC4-3A546CDDC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" y="2143"/>
              <a:ext cx="18" cy="8"/>
            </a:xfrm>
            <a:custGeom>
              <a:avLst/>
              <a:gdLst>
                <a:gd name="T0" fmla="*/ 7 w 7"/>
                <a:gd name="T1" fmla="*/ 2 h 3"/>
                <a:gd name="T2" fmla="*/ 4 w 7"/>
                <a:gd name="T3" fmla="*/ 0 h 3"/>
                <a:gd name="T4" fmla="*/ 0 w 7"/>
                <a:gd name="T5" fmla="*/ 2 h 3"/>
                <a:gd name="T6" fmla="*/ 0 w 7"/>
                <a:gd name="T7" fmla="*/ 3 h 3"/>
                <a:gd name="T8" fmla="*/ 4 w 7"/>
                <a:gd name="T9" fmla="*/ 1 h 3"/>
                <a:gd name="T10" fmla="*/ 7 w 7"/>
                <a:gd name="T11" fmla="*/ 3 h 3"/>
                <a:gd name="T12" fmla="*/ 7 w 7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9" name="Freeform 1283">
              <a:extLst>
                <a:ext uri="{FF2B5EF4-FFF2-40B4-BE49-F238E27FC236}">
                  <a16:creationId xmlns:a16="http://schemas.microsoft.com/office/drawing/2014/main" id="{15A18631-267D-437F-AE22-0C7B3BFB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" y="2133"/>
              <a:ext cx="38" cy="10"/>
            </a:xfrm>
            <a:custGeom>
              <a:avLst/>
              <a:gdLst>
                <a:gd name="T0" fmla="*/ 15 w 15"/>
                <a:gd name="T1" fmla="*/ 3 h 4"/>
                <a:gd name="T2" fmla="*/ 8 w 15"/>
                <a:gd name="T3" fmla="*/ 0 h 4"/>
                <a:gd name="T4" fmla="*/ 0 w 15"/>
                <a:gd name="T5" fmla="*/ 3 h 4"/>
                <a:gd name="T6" fmla="*/ 1 w 15"/>
                <a:gd name="T7" fmla="*/ 4 h 4"/>
                <a:gd name="T8" fmla="*/ 8 w 15"/>
                <a:gd name="T9" fmla="*/ 1 h 4"/>
                <a:gd name="T10" fmla="*/ 14 w 15"/>
                <a:gd name="T11" fmla="*/ 4 h 4"/>
                <a:gd name="T12" fmla="*/ 15 w 15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15" y="3"/>
                  </a:moveTo>
                  <a:cubicBezTo>
                    <a:pt x="13" y="1"/>
                    <a:pt x="11" y="0"/>
                    <a:pt x="8" y="0"/>
                  </a:cubicBezTo>
                  <a:cubicBezTo>
                    <a:pt x="5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2"/>
                    <a:pt x="5" y="1"/>
                    <a:pt x="8" y="1"/>
                  </a:cubicBezTo>
                  <a:cubicBezTo>
                    <a:pt x="10" y="1"/>
                    <a:pt x="13" y="2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0" name="Freeform 1284">
              <a:extLst>
                <a:ext uri="{FF2B5EF4-FFF2-40B4-BE49-F238E27FC236}">
                  <a16:creationId xmlns:a16="http://schemas.microsoft.com/office/drawing/2014/main" id="{E5C73075-35BC-404E-92AB-3425D5C26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" y="2120"/>
              <a:ext cx="53" cy="15"/>
            </a:xfrm>
            <a:custGeom>
              <a:avLst/>
              <a:gdLst>
                <a:gd name="T0" fmla="*/ 21 w 21"/>
                <a:gd name="T1" fmla="*/ 6 h 6"/>
                <a:gd name="T2" fmla="*/ 11 w 21"/>
                <a:gd name="T3" fmla="*/ 0 h 6"/>
                <a:gd name="T4" fmla="*/ 0 w 21"/>
                <a:gd name="T5" fmla="*/ 6 h 6"/>
                <a:gd name="T6" fmla="*/ 1 w 21"/>
                <a:gd name="T7" fmla="*/ 6 h 6"/>
                <a:gd name="T8" fmla="*/ 11 w 21"/>
                <a:gd name="T9" fmla="*/ 1 h 6"/>
                <a:gd name="T10" fmla="*/ 21 w 21"/>
                <a:gd name="T11" fmla="*/ 6 h 6"/>
                <a:gd name="T12" fmla="*/ 21 w 2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6">
                  <a:moveTo>
                    <a:pt x="21" y="6"/>
                  </a:moveTo>
                  <a:cubicBezTo>
                    <a:pt x="19" y="3"/>
                    <a:pt x="15" y="0"/>
                    <a:pt x="11" y="0"/>
                  </a:cubicBezTo>
                  <a:cubicBezTo>
                    <a:pt x="6" y="0"/>
                    <a:pt x="2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6" y="1"/>
                    <a:pt x="11" y="1"/>
                  </a:cubicBezTo>
                  <a:cubicBezTo>
                    <a:pt x="15" y="1"/>
                    <a:pt x="18" y="3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1" name="Freeform 1285">
              <a:extLst>
                <a:ext uri="{FF2B5EF4-FFF2-40B4-BE49-F238E27FC236}">
                  <a16:creationId xmlns:a16="http://schemas.microsoft.com/office/drawing/2014/main" id="{43E19074-462E-4179-B3C4-AD08669EF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" y="2143"/>
              <a:ext cx="18" cy="8"/>
            </a:xfrm>
            <a:custGeom>
              <a:avLst/>
              <a:gdLst>
                <a:gd name="T0" fmla="*/ 7 w 7"/>
                <a:gd name="T1" fmla="*/ 2 h 3"/>
                <a:gd name="T2" fmla="*/ 4 w 7"/>
                <a:gd name="T3" fmla="*/ 0 h 3"/>
                <a:gd name="T4" fmla="*/ 0 w 7"/>
                <a:gd name="T5" fmla="*/ 2 h 3"/>
                <a:gd name="T6" fmla="*/ 0 w 7"/>
                <a:gd name="T7" fmla="*/ 3 h 3"/>
                <a:gd name="T8" fmla="*/ 4 w 7"/>
                <a:gd name="T9" fmla="*/ 1 h 3"/>
                <a:gd name="T10" fmla="*/ 7 w 7"/>
                <a:gd name="T11" fmla="*/ 3 h 3"/>
                <a:gd name="T12" fmla="*/ 7 w 7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2" name="Freeform 1286">
              <a:extLst>
                <a:ext uri="{FF2B5EF4-FFF2-40B4-BE49-F238E27FC236}">
                  <a16:creationId xmlns:a16="http://schemas.microsoft.com/office/drawing/2014/main" id="{C7ACF9D7-8A5C-4DED-ABA4-893BDA290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133"/>
              <a:ext cx="38" cy="10"/>
            </a:xfrm>
            <a:custGeom>
              <a:avLst/>
              <a:gdLst>
                <a:gd name="T0" fmla="*/ 15 w 15"/>
                <a:gd name="T1" fmla="*/ 3 h 4"/>
                <a:gd name="T2" fmla="*/ 8 w 15"/>
                <a:gd name="T3" fmla="*/ 0 h 4"/>
                <a:gd name="T4" fmla="*/ 0 w 15"/>
                <a:gd name="T5" fmla="*/ 3 h 4"/>
                <a:gd name="T6" fmla="*/ 1 w 15"/>
                <a:gd name="T7" fmla="*/ 4 h 4"/>
                <a:gd name="T8" fmla="*/ 8 w 15"/>
                <a:gd name="T9" fmla="*/ 1 h 4"/>
                <a:gd name="T10" fmla="*/ 14 w 15"/>
                <a:gd name="T11" fmla="*/ 4 h 4"/>
                <a:gd name="T12" fmla="*/ 15 w 15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15" y="3"/>
                  </a:moveTo>
                  <a:cubicBezTo>
                    <a:pt x="13" y="1"/>
                    <a:pt x="11" y="0"/>
                    <a:pt x="8" y="0"/>
                  </a:cubicBezTo>
                  <a:cubicBezTo>
                    <a:pt x="5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2"/>
                    <a:pt x="5" y="1"/>
                    <a:pt x="8" y="1"/>
                  </a:cubicBezTo>
                  <a:cubicBezTo>
                    <a:pt x="10" y="1"/>
                    <a:pt x="13" y="2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3" name="Freeform 1287">
              <a:extLst>
                <a:ext uri="{FF2B5EF4-FFF2-40B4-BE49-F238E27FC236}">
                  <a16:creationId xmlns:a16="http://schemas.microsoft.com/office/drawing/2014/main" id="{B5A094C7-A3F1-4017-A98D-E925F610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9" y="2120"/>
              <a:ext cx="53" cy="15"/>
            </a:xfrm>
            <a:custGeom>
              <a:avLst/>
              <a:gdLst>
                <a:gd name="T0" fmla="*/ 21 w 21"/>
                <a:gd name="T1" fmla="*/ 6 h 6"/>
                <a:gd name="T2" fmla="*/ 11 w 21"/>
                <a:gd name="T3" fmla="*/ 0 h 6"/>
                <a:gd name="T4" fmla="*/ 0 w 21"/>
                <a:gd name="T5" fmla="*/ 6 h 6"/>
                <a:gd name="T6" fmla="*/ 1 w 21"/>
                <a:gd name="T7" fmla="*/ 6 h 6"/>
                <a:gd name="T8" fmla="*/ 11 w 21"/>
                <a:gd name="T9" fmla="*/ 1 h 6"/>
                <a:gd name="T10" fmla="*/ 21 w 21"/>
                <a:gd name="T11" fmla="*/ 6 h 6"/>
                <a:gd name="T12" fmla="*/ 21 w 2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6">
                  <a:moveTo>
                    <a:pt x="21" y="6"/>
                  </a:moveTo>
                  <a:cubicBezTo>
                    <a:pt x="19" y="3"/>
                    <a:pt x="15" y="0"/>
                    <a:pt x="11" y="0"/>
                  </a:cubicBezTo>
                  <a:cubicBezTo>
                    <a:pt x="6" y="0"/>
                    <a:pt x="2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6" y="1"/>
                    <a:pt x="11" y="1"/>
                  </a:cubicBezTo>
                  <a:cubicBezTo>
                    <a:pt x="15" y="1"/>
                    <a:pt x="18" y="3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4" name="Freeform 1288">
              <a:extLst>
                <a:ext uri="{FF2B5EF4-FFF2-40B4-BE49-F238E27FC236}">
                  <a16:creationId xmlns:a16="http://schemas.microsoft.com/office/drawing/2014/main" id="{E22B561C-577E-40B5-BCB5-DBF87D12E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2403"/>
              <a:ext cx="20" cy="6"/>
            </a:xfrm>
            <a:custGeom>
              <a:avLst/>
              <a:gdLst>
                <a:gd name="T0" fmla="*/ 8 w 8"/>
                <a:gd name="T1" fmla="*/ 2 h 2"/>
                <a:gd name="T2" fmla="*/ 4 w 8"/>
                <a:gd name="T3" fmla="*/ 0 h 2"/>
                <a:gd name="T4" fmla="*/ 0 w 8"/>
                <a:gd name="T5" fmla="*/ 2 h 2"/>
                <a:gd name="T6" fmla="*/ 0 w 8"/>
                <a:gd name="T7" fmla="*/ 2 h 2"/>
                <a:gd name="T8" fmla="*/ 4 w 8"/>
                <a:gd name="T9" fmla="*/ 1 h 2"/>
                <a:gd name="T10" fmla="*/ 8 w 8"/>
                <a:gd name="T11" fmla="*/ 2 h 2"/>
                <a:gd name="T12" fmla="*/ 8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1"/>
                    <a:pt x="4" y="1"/>
                  </a:cubicBezTo>
                  <a:cubicBezTo>
                    <a:pt x="5" y="1"/>
                    <a:pt x="7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5" name="Freeform 1289">
              <a:extLst>
                <a:ext uri="{FF2B5EF4-FFF2-40B4-BE49-F238E27FC236}">
                  <a16:creationId xmlns:a16="http://schemas.microsoft.com/office/drawing/2014/main" id="{01A18096-25A5-41CE-8C45-3DE60B915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" y="2391"/>
              <a:ext cx="40" cy="12"/>
            </a:xfrm>
            <a:custGeom>
              <a:avLst/>
              <a:gdLst>
                <a:gd name="T0" fmla="*/ 16 w 16"/>
                <a:gd name="T1" fmla="*/ 4 h 5"/>
                <a:gd name="T2" fmla="*/ 8 w 16"/>
                <a:gd name="T3" fmla="*/ 0 h 5"/>
                <a:gd name="T4" fmla="*/ 0 w 16"/>
                <a:gd name="T5" fmla="*/ 4 h 5"/>
                <a:gd name="T6" fmla="*/ 0 w 16"/>
                <a:gd name="T7" fmla="*/ 5 h 5"/>
                <a:gd name="T8" fmla="*/ 8 w 16"/>
                <a:gd name="T9" fmla="*/ 1 h 5"/>
                <a:gd name="T10" fmla="*/ 15 w 16"/>
                <a:gd name="T11" fmla="*/ 5 h 5"/>
                <a:gd name="T12" fmla="*/ 16 w 16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">
                  <a:moveTo>
                    <a:pt x="16" y="4"/>
                  </a:moveTo>
                  <a:cubicBezTo>
                    <a:pt x="14" y="2"/>
                    <a:pt x="11" y="0"/>
                    <a:pt x="8" y="0"/>
                  </a:cubicBezTo>
                  <a:cubicBezTo>
                    <a:pt x="5" y="0"/>
                    <a:pt x="2" y="2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2"/>
                    <a:pt x="5" y="1"/>
                    <a:pt x="8" y="1"/>
                  </a:cubicBezTo>
                  <a:cubicBezTo>
                    <a:pt x="11" y="1"/>
                    <a:pt x="14" y="2"/>
                    <a:pt x="15" y="5"/>
                  </a:cubicBezTo>
                  <a:cubicBezTo>
                    <a:pt x="16" y="4"/>
                    <a:pt x="16" y="4"/>
                    <a:pt x="16" y="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6" name="Freeform 1290">
              <a:extLst>
                <a:ext uri="{FF2B5EF4-FFF2-40B4-BE49-F238E27FC236}">
                  <a16:creationId xmlns:a16="http://schemas.microsoft.com/office/drawing/2014/main" id="{62EB146D-81E7-4FEB-8618-D1B33851E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2378"/>
              <a:ext cx="60" cy="18"/>
            </a:xfrm>
            <a:custGeom>
              <a:avLst/>
              <a:gdLst>
                <a:gd name="T0" fmla="*/ 24 w 24"/>
                <a:gd name="T1" fmla="*/ 6 h 7"/>
                <a:gd name="T2" fmla="*/ 12 w 24"/>
                <a:gd name="T3" fmla="*/ 0 h 7"/>
                <a:gd name="T4" fmla="*/ 0 w 24"/>
                <a:gd name="T5" fmla="*/ 6 h 7"/>
                <a:gd name="T6" fmla="*/ 0 w 24"/>
                <a:gd name="T7" fmla="*/ 7 h 7"/>
                <a:gd name="T8" fmla="*/ 12 w 24"/>
                <a:gd name="T9" fmla="*/ 1 h 7"/>
                <a:gd name="T10" fmla="*/ 23 w 24"/>
                <a:gd name="T11" fmla="*/ 7 h 7"/>
                <a:gd name="T12" fmla="*/ 24 w 24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7">
                  <a:moveTo>
                    <a:pt x="24" y="6"/>
                  </a:moveTo>
                  <a:cubicBezTo>
                    <a:pt x="21" y="2"/>
                    <a:pt x="17" y="0"/>
                    <a:pt x="12" y="0"/>
                  </a:cubicBezTo>
                  <a:cubicBezTo>
                    <a:pt x="7" y="0"/>
                    <a:pt x="2" y="2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3"/>
                    <a:pt x="7" y="1"/>
                    <a:pt x="12" y="1"/>
                  </a:cubicBezTo>
                  <a:cubicBezTo>
                    <a:pt x="17" y="1"/>
                    <a:pt x="21" y="3"/>
                    <a:pt x="23" y="7"/>
                  </a:cubicBezTo>
                  <a:cubicBezTo>
                    <a:pt x="24" y="6"/>
                    <a:pt x="24" y="6"/>
                    <a:pt x="24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7" name="Freeform 1291">
              <a:extLst>
                <a:ext uri="{FF2B5EF4-FFF2-40B4-BE49-F238E27FC236}">
                  <a16:creationId xmlns:a16="http://schemas.microsoft.com/office/drawing/2014/main" id="{631A8179-D3DF-4F04-91F2-DD8A3B829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" y="2409"/>
              <a:ext cx="210" cy="15"/>
            </a:xfrm>
            <a:custGeom>
              <a:avLst/>
              <a:gdLst>
                <a:gd name="T0" fmla="*/ 0 w 83"/>
                <a:gd name="T1" fmla="*/ 6 h 6"/>
                <a:gd name="T2" fmla="*/ 83 w 83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3" h="6">
                  <a:moveTo>
                    <a:pt x="0" y="6"/>
                  </a:moveTo>
                  <a:cubicBezTo>
                    <a:pt x="22" y="2"/>
                    <a:pt x="53" y="0"/>
                    <a:pt x="8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8" name="Freeform 1292">
              <a:extLst>
                <a:ext uri="{FF2B5EF4-FFF2-40B4-BE49-F238E27FC236}">
                  <a16:creationId xmlns:a16="http://schemas.microsoft.com/office/drawing/2014/main" id="{5E6339A1-0475-4754-B256-A04DA0EC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" y="2414"/>
              <a:ext cx="210" cy="12"/>
            </a:xfrm>
            <a:custGeom>
              <a:avLst/>
              <a:gdLst>
                <a:gd name="T0" fmla="*/ 1 w 83"/>
                <a:gd name="T1" fmla="*/ 4 h 5"/>
                <a:gd name="T2" fmla="*/ 43 w 83"/>
                <a:gd name="T3" fmla="*/ 1 h 5"/>
                <a:gd name="T4" fmla="*/ 83 w 83"/>
                <a:gd name="T5" fmla="*/ 5 h 5"/>
                <a:gd name="T6" fmla="*/ 83 w 83"/>
                <a:gd name="T7" fmla="*/ 4 h 5"/>
                <a:gd name="T8" fmla="*/ 43 w 83"/>
                <a:gd name="T9" fmla="*/ 0 h 5"/>
                <a:gd name="T10" fmla="*/ 0 w 83"/>
                <a:gd name="T11" fmla="*/ 3 h 5"/>
                <a:gd name="T12" fmla="*/ 1 w 83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">
                  <a:moveTo>
                    <a:pt x="1" y="4"/>
                  </a:moveTo>
                  <a:cubicBezTo>
                    <a:pt x="12" y="2"/>
                    <a:pt x="27" y="1"/>
                    <a:pt x="43" y="1"/>
                  </a:cubicBezTo>
                  <a:cubicBezTo>
                    <a:pt x="56" y="1"/>
                    <a:pt x="70" y="2"/>
                    <a:pt x="83" y="5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70" y="1"/>
                    <a:pt x="56" y="0"/>
                    <a:pt x="43" y="0"/>
                  </a:cubicBezTo>
                  <a:cubicBezTo>
                    <a:pt x="27" y="0"/>
                    <a:pt x="1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9" name="Rectangle 1293">
              <a:extLst>
                <a:ext uri="{FF2B5EF4-FFF2-40B4-BE49-F238E27FC236}">
                  <a16:creationId xmlns:a16="http://schemas.microsoft.com/office/drawing/2014/main" id="{9F5FFED1-D630-4EEA-BBD2-1B6C0D8B8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0" y="2424"/>
              <a:ext cx="246" cy="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0" name="Freeform 1294">
              <a:extLst>
                <a:ext uri="{FF2B5EF4-FFF2-40B4-BE49-F238E27FC236}">
                  <a16:creationId xmlns:a16="http://schemas.microsoft.com/office/drawing/2014/main" id="{025D0080-F087-4C57-80D7-D6DA1B4F6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0" y="2421"/>
              <a:ext cx="248" cy="66"/>
            </a:xfrm>
            <a:custGeom>
              <a:avLst/>
              <a:gdLst>
                <a:gd name="T0" fmla="*/ 246 w 248"/>
                <a:gd name="T1" fmla="*/ 66 h 66"/>
                <a:gd name="T2" fmla="*/ 246 w 248"/>
                <a:gd name="T3" fmla="*/ 63 h 66"/>
                <a:gd name="T4" fmla="*/ 3 w 248"/>
                <a:gd name="T5" fmla="*/ 63 h 66"/>
                <a:gd name="T6" fmla="*/ 3 w 248"/>
                <a:gd name="T7" fmla="*/ 3 h 66"/>
                <a:gd name="T8" fmla="*/ 246 w 248"/>
                <a:gd name="T9" fmla="*/ 3 h 66"/>
                <a:gd name="T10" fmla="*/ 246 w 248"/>
                <a:gd name="T11" fmla="*/ 66 h 66"/>
                <a:gd name="T12" fmla="*/ 246 w 248"/>
                <a:gd name="T13" fmla="*/ 66 h 66"/>
                <a:gd name="T14" fmla="*/ 246 w 248"/>
                <a:gd name="T15" fmla="*/ 63 h 66"/>
                <a:gd name="T16" fmla="*/ 246 w 248"/>
                <a:gd name="T17" fmla="*/ 66 h 66"/>
                <a:gd name="T18" fmla="*/ 248 w 248"/>
                <a:gd name="T19" fmla="*/ 66 h 66"/>
                <a:gd name="T20" fmla="*/ 248 w 248"/>
                <a:gd name="T21" fmla="*/ 0 h 66"/>
                <a:gd name="T22" fmla="*/ 0 w 248"/>
                <a:gd name="T23" fmla="*/ 0 h 66"/>
                <a:gd name="T24" fmla="*/ 0 w 248"/>
                <a:gd name="T25" fmla="*/ 66 h 66"/>
                <a:gd name="T26" fmla="*/ 248 w 248"/>
                <a:gd name="T27" fmla="*/ 66 h 66"/>
                <a:gd name="T28" fmla="*/ 248 w 248"/>
                <a:gd name="T29" fmla="*/ 66 h 66"/>
                <a:gd name="T30" fmla="*/ 246 w 248"/>
                <a:gd name="T3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66">
                  <a:moveTo>
                    <a:pt x="246" y="66"/>
                  </a:moveTo>
                  <a:lnTo>
                    <a:pt x="246" y="63"/>
                  </a:lnTo>
                  <a:lnTo>
                    <a:pt x="3" y="63"/>
                  </a:lnTo>
                  <a:lnTo>
                    <a:pt x="3" y="3"/>
                  </a:lnTo>
                  <a:lnTo>
                    <a:pt x="246" y="3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8" y="66"/>
                  </a:lnTo>
                  <a:lnTo>
                    <a:pt x="248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46" y="6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1" name="Freeform 1295">
              <a:extLst>
                <a:ext uri="{FF2B5EF4-FFF2-40B4-BE49-F238E27FC236}">
                  <a16:creationId xmlns:a16="http://schemas.microsoft.com/office/drawing/2014/main" id="{18628E47-DD89-4B15-878D-70F93D6BD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2" name="Freeform 1296">
              <a:extLst>
                <a:ext uri="{FF2B5EF4-FFF2-40B4-BE49-F238E27FC236}">
                  <a16:creationId xmlns:a16="http://schemas.microsoft.com/office/drawing/2014/main" id="{14CF956F-B8FE-43B0-BFD8-65AF2ED6E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3" name="Freeform 1297">
              <a:extLst>
                <a:ext uri="{FF2B5EF4-FFF2-40B4-BE49-F238E27FC236}">
                  <a16:creationId xmlns:a16="http://schemas.microsoft.com/office/drawing/2014/main" id="{81BEBB3B-5BE4-4960-84BF-22984FA32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0" y="2487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4" name="Freeform 1298">
              <a:extLst>
                <a:ext uri="{FF2B5EF4-FFF2-40B4-BE49-F238E27FC236}">
                  <a16:creationId xmlns:a16="http://schemas.microsoft.com/office/drawing/2014/main" id="{8EF77552-CCE9-421D-A5A4-5307576FE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5" name="Freeform 1299">
              <a:extLst>
                <a:ext uri="{FF2B5EF4-FFF2-40B4-BE49-F238E27FC236}">
                  <a16:creationId xmlns:a16="http://schemas.microsoft.com/office/drawing/2014/main" id="{BF3502CD-83EB-4534-994B-604ED04ED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6" name="Freeform 1300">
              <a:extLst>
                <a:ext uri="{FF2B5EF4-FFF2-40B4-BE49-F238E27FC236}">
                  <a16:creationId xmlns:a16="http://schemas.microsoft.com/office/drawing/2014/main" id="{489EA59C-924B-41F5-9828-31B7FBFCE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7" name="Freeform 1301">
              <a:extLst>
                <a:ext uri="{FF2B5EF4-FFF2-40B4-BE49-F238E27FC236}">
                  <a16:creationId xmlns:a16="http://schemas.microsoft.com/office/drawing/2014/main" id="{EC41650A-EEEA-4849-B7C4-DD010DA6E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2487"/>
              <a:ext cx="17" cy="8"/>
            </a:xfrm>
            <a:custGeom>
              <a:avLst/>
              <a:gdLst>
                <a:gd name="T0" fmla="*/ 4 w 7"/>
                <a:gd name="T1" fmla="*/ 3 h 3"/>
                <a:gd name="T2" fmla="*/ 7 w 7"/>
                <a:gd name="T3" fmla="*/ 0 h 3"/>
                <a:gd name="T4" fmla="*/ 0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5" y="3"/>
                    <a:pt x="7" y="2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8" name="Freeform 1302">
              <a:extLst>
                <a:ext uri="{FF2B5EF4-FFF2-40B4-BE49-F238E27FC236}">
                  <a16:creationId xmlns:a16="http://schemas.microsoft.com/office/drawing/2014/main" id="{1309494A-7BDB-467F-B884-00B64E175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2484"/>
              <a:ext cx="17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5 h 5"/>
                <a:gd name="T4" fmla="*/ 7 w 7"/>
                <a:gd name="T5" fmla="*/ 1 h 5"/>
                <a:gd name="T6" fmla="*/ 7 w 7"/>
                <a:gd name="T7" fmla="*/ 0 h 5"/>
                <a:gd name="T8" fmla="*/ 0 w 7"/>
                <a:gd name="T9" fmla="*/ 0 h 5"/>
                <a:gd name="T10" fmla="*/ 0 w 7"/>
                <a:gd name="T11" fmla="*/ 1 h 5"/>
                <a:gd name="T12" fmla="*/ 4 w 7"/>
                <a:gd name="T13" fmla="*/ 5 h 5"/>
                <a:gd name="T14" fmla="*/ 4 w 7"/>
                <a:gd name="T15" fmla="*/ 4 h 5"/>
                <a:gd name="T16" fmla="*/ 4 w 7"/>
                <a:gd name="T17" fmla="*/ 4 h 5"/>
                <a:gd name="T18" fmla="*/ 1 w 7"/>
                <a:gd name="T19" fmla="*/ 1 h 5"/>
                <a:gd name="T20" fmla="*/ 0 w 7"/>
                <a:gd name="T21" fmla="*/ 1 h 5"/>
                <a:gd name="T22" fmla="*/ 0 w 7"/>
                <a:gd name="T23" fmla="*/ 1 h 5"/>
                <a:gd name="T24" fmla="*/ 7 w 7"/>
                <a:gd name="T25" fmla="*/ 1 h 5"/>
                <a:gd name="T26" fmla="*/ 7 w 7"/>
                <a:gd name="T27" fmla="*/ 1 h 5"/>
                <a:gd name="T28" fmla="*/ 6 w 7"/>
                <a:gd name="T29" fmla="*/ 1 h 5"/>
                <a:gd name="T30" fmla="*/ 4 w 7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29" name="Freeform 1303">
              <a:extLst>
                <a:ext uri="{FF2B5EF4-FFF2-40B4-BE49-F238E27FC236}">
                  <a16:creationId xmlns:a16="http://schemas.microsoft.com/office/drawing/2014/main" id="{F3221412-BD80-4D3D-ABF2-28A36B17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" y="2487"/>
              <a:ext cx="18" cy="8"/>
            </a:xfrm>
            <a:custGeom>
              <a:avLst/>
              <a:gdLst>
                <a:gd name="T0" fmla="*/ 3 w 7"/>
                <a:gd name="T1" fmla="*/ 3 h 3"/>
                <a:gd name="T2" fmla="*/ 7 w 7"/>
                <a:gd name="T3" fmla="*/ 0 h 3"/>
                <a:gd name="T4" fmla="*/ 0 w 7"/>
                <a:gd name="T5" fmla="*/ 0 h 3"/>
                <a:gd name="T6" fmla="*/ 3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5" y="3"/>
                    <a:pt x="7" y="2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0" name="Freeform 1304">
              <a:extLst>
                <a:ext uri="{FF2B5EF4-FFF2-40B4-BE49-F238E27FC236}">
                  <a16:creationId xmlns:a16="http://schemas.microsoft.com/office/drawing/2014/main" id="{AA3EE97F-83EA-4831-9FA2-DDCB138E1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" y="2484"/>
              <a:ext cx="18" cy="13"/>
            </a:xfrm>
            <a:custGeom>
              <a:avLst/>
              <a:gdLst>
                <a:gd name="T0" fmla="*/ 3 w 7"/>
                <a:gd name="T1" fmla="*/ 4 h 5"/>
                <a:gd name="T2" fmla="*/ 3 w 7"/>
                <a:gd name="T3" fmla="*/ 5 h 5"/>
                <a:gd name="T4" fmla="*/ 7 w 7"/>
                <a:gd name="T5" fmla="*/ 1 h 5"/>
                <a:gd name="T6" fmla="*/ 7 w 7"/>
                <a:gd name="T7" fmla="*/ 0 h 5"/>
                <a:gd name="T8" fmla="*/ 0 w 7"/>
                <a:gd name="T9" fmla="*/ 0 h 5"/>
                <a:gd name="T10" fmla="*/ 0 w 7"/>
                <a:gd name="T11" fmla="*/ 1 h 5"/>
                <a:gd name="T12" fmla="*/ 0 w 7"/>
                <a:gd name="T13" fmla="*/ 1 h 5"/>
                <a:gd name="T14" fmla="*/ 3 w 7"/>
                <a:gd name="T15" fmla="*/ 5 h 5"/>
                <a:gd name="T16" fmla="*/ 3 w 7"/>
                <a:gd name="T17" fmla="*/ 4 h 5"/>
                <a:gd name="T18" fmla="*/ 3 w 7"/>
                <a:gd name="T19" fmla="*/ 4 h 5"/>
                <a:gd name="T20" fmla="*/ 1 w 7"/>
                <a:gd name="T21" fmla="*/ 1 h 5"/>
                <a:gd name="T22" fmla="*/ 0 w 7"/>
                <a:gd name="T23" fmla="*/ 1 h 5"/>
                <a:gd name="T24" fmla="*/ 1 w 7"/>
                <a:gd name="T25" fmla="*/ 1 h 5"/>
                <a:gd name="T26" fmla="*/ 1 w 7"/>
                <a:gd name="T27" fmla="*/ 1 h 5"/>
                <a:gd name="T28" fmla="*/ 0 w 7"/>
                <a:gd name="T29" fmla="*/ 1 h 5"/>
                <a:gd name="T30" fmla="*/ 1 w 7"/>
                <a:gd name="T31" fmla="*/ 1 h 5"/>
                <a:gd name="T32" fmla="*/ 0 w 7"/>
                <a:gd name="T33" fmla="*/ 1 h 5"/>
                <a:gd name="T34" fmla="*/ 0 w 7"/>
                <a:gd name="T35" fmla="*/ 1 h 5"/>
                <a:gd name="T36" fmla="*/ 7 w 7"/>
                <a:gd name="T37" fmla="*/ 1 h 5"/>
                <a:gd name="T38" fmla="*/ 7 w 7"/>
                <a:gd name="T39" fmla="*/ 1 h 5"/>
                <a:gd name="T40" fmla="*/ 6 w 7"/>
                <a:gd name="T41" fmla="*/ 1 h 5"/>
                <a:gd name="T42" fmla="*/ 3 w 7"/>
                <a:gd name="T4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5">
                  <a:moveTo>
                    <a:pt x="3" y="4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3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1" name="Freeform 1305">
              <a:extLst>
                <a:ext uri="{FF2B5EF4-FFF2-40B4-BE49-F238E27FC236}">
                  <a16:creationId xmlns:a16="http://schemas.microsoft.com/office/drawing/2014/main" id="{C960C8DC-C2C3-4EFE-8AAE-0D600C972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" y="2487"/>
              <a:ext cx="18" cy="8"/>
            </a:xfrm>
            <a:custGeom>
              <a:avLst/>
              <a:gdLst>
                <a:gd name="T0" fmla="*/ 3 w 7"/>
                <a:gd name="T1" fmla="*/ 3 h 3"/>
                <a:gd name="T2" fmla="*/ 7 w 7"/>
                <a:gd name="T3" fmla="*/ 0 h 3"/>
                <a:gd name="T4" fmla="*/ 0 w 7"/>
                <a:gd name="T5" fmla="*/ 0 h 3"/>
                <a:gd name="T6" fmla="*/ 3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5" y="3"/>
                    <a:pt x="7" y="2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2" name="Freeform 1306">
              <a:extLst>
                <a:ext uri="{FF2B5EF4-FFF2-40B4-BE49-F238E27FC236}">
                  <a16:creationId xmlns:a16="http://schemas.microsoft.com/office/drawing/2014/main" id="{2FFA6825-EBD3-4361-9160-6566235DE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" y="2484"/>
              <a:ext cx="18" cy="13"/>
            </a:xfrm>
            <a:custGeom>
              <a:avLst/>
              <a:gdLst>
                <a:gd name="T0" fmla="*/ 3 w 7"/>
                <a:gd name="T1" fmla="*/ 4 h 5"/>
                <a:gd name="T2" fmla="*/ 3 w 7"/>
                <a:gd name="T3" fmla="*/ 5 h 5"/>
                <a:gd name="T4" fmla="*/ 7 w 7"/>
                <a:gd name="T5" fmla="*/ 1 h 5"/>
                <a:gd name="T6" fmla="*/ 7 w 7"/>
                <a:gd name="T7" fmla="*/ 0 h 5"/>
                <a:gd name="T8" fmla="*/ 0 w 7"/>
                <a:gd name="T9" fmla="*/ 0 h 5"/>
                <a:gd name="T10" fmla="*/ 0 w 7"/>
                <a:gd name="T11" fmla="*/ 1 h 5"/>
                <a:gd name="T12" fmla="*/ 3 w 7"/>
                <a:gd name="T13" fmla="*/ 5 h 5"/>
                <a:gd name="T14" fmla="*/ 3 w 7"/>
                <a:gd name="T15" fmla="*/ 4 h 5"/>
                <a:gd name="T16" fmla="*/ 3 w 7"/>
                <a:gd name="T17" fmla="*/ 4 h 5"/>
                <a:gd name="T18" fmla="*/ 1 w 7"/>
                <a:gd name="T19" fmla="*/ 1 h 5"/>
                <a:gd name="T20" fmla="*/ 0 w 7"/>
                <a:gd name="T21" fmla="*/ 1 h 5"/>
                <a:gd name="T22" fmla="*/ 0 w 7"/>
                <a:gd name="T23" fmla="*/ 1 h 5"/>
                <a:gd name="T24" fmla="*/ 7 w 7"/>
                <a:gd name="T25" fmla="*/ 1 h 5"/>
                <a:gd name="T26" fmla="*/ 7 w 7"/>
                <a:gd name="T27" fmla="*/ 1 h 5"/>
                <a:gd name="T28" fmla="*/ 6 w 7"/>
                <a:gd name="T29" fmla="*/ 1 h 5"/>
                <a:gd name="T30" fmla="*/ 3 w 7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5">
                  <a:moveTo>
                    <a:pt x="3" y="4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5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3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3" name="Freeform 1307">
              <a:extLst>
                <a:ext uri="{FF2B5EF4-FFF2-40B4-BE49-F238E27FC236}">
                  <a16:creationId xmlns:a16="http://schemas.microsoft.com/office/drawing/2014/main" id="{4F470AF8-B2A6-4321-9C18-CE230C4E4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4" name="Freeform 1308">
              <a:extLst>
                <a:ext uri="{FF2B5EF4-FFF2-40B4-BE49-F238E27FC236}">
                  <a16:creationId xmlns:a16="http://schemas.microsoft.com/office/drawing/2014/main" id="{602773B6-80F7-47DC-B59E-65BA215C9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7 w 7"/>
                <a:gd name="T17" fmla="*/ 1 h 5"/>
                <a:gd name="T18" fmla="*/ 6 w 7"/>
                <a:gd name="T19" fmla="*/ 1 h 5"/>
                <a:gd name="T20" fmla="*/ 6 w 7"/>
                <a:gd name="T21" fmla="*/ 1 h 5"/>
                <a:gd name="T22" fmla="*/ 7 w 7"/>
                <a:gd name="T23" fmla="*/ 1 h 5"/>
                <a:gd name="T24" fmla="*/ 6 w 7"/>
                <a:gd name="T25" fmla="*/ 1 h 5"/>
                <a:gd name="T26" fmla="*/ 6 w 7"/>
                <a:gd name="T27" fmla="*/ 1 h 5"/>
                <a:gd name="T28" fmla="*/ 4 w 7"/>
                <a:gd name="T29" fmla="*/ 4 h 5"/>
                <a:gd name="T30" fmla="*/ 4 w 7"/>
                <a:gd name="T31" fmla="*/ 4 h 5"/>
                <a:gd name="T32" fmla="*/ 4 w 7"/>
                <a:gd name="T33" fmla="*/ 5 h 5"/>
                <a:gd name="T34" fmla="*/ 7 w 7"/>
                <a:gd name="T35" fmla="*/ 1 h 5"/>
                <a:gd name="T36" fmla="*/ 7 w 7"/>
                <a:gd name="T37" fmla="*/ 1 h 5"/>
                <a:gd name="T38" fmla="*/ 7 w 7"/>
                <a:gd name="T39" fmla="*/ 1 h 5"/>
                <a:gd name="T40" fmla="*/ 7 w 7"/>
                <a:gd name="T41" fmla="*/ 1 h 5"/>
                <a:gd name="T42" fmla="*/ 7 w 7"/>
                <a:gd name="T43" fmla="*/ 1 h 5"/>
                <a:gd name="T44" fmla="*/ 7 w 7"/>
                <a:gd name="T45" fmla="*/ 1 h 5"/>
                <a:gd name="T46" fmla="*/ 7 w 7"/>
                <a:gd name="T47" fmla="*/ 1 h 5"/>
                <a:gd name="T48" fmla="*/ 7 w 7"/>
                <a:gd name="T49" fmla="*/ 0 h 5"/>
                <a:gd name="T50" fmla="*/ 0 w 7"/>
                <a:gd name="T51" fmla="*/ 0 h 5"/>
                <a:gd name="T52" fmla="*/ 0 w 7"/>
                <a:gd name="T53" fmla="*/ 1 h 5"/>
                <a:gd name="T54" fmla="*/ 4 w 7"/>
                <a:gd name="T55" fmla="*/ 5 h 5"/>
                <a:gd name="T56" fmla="*/ 4 w 7"/>
                <a:gd name="T5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5" name="Freeform 1309">
              <a:extLst>
                <a:ext uri="{FF2B5EF4-FFF2-40B4-BE49-F238E27FC236}">
                  <a16:creationId xmlns:a16="http://schemas.microsoft.com/office/drawing/2014/main" id="{E6D46070-EA7E-42B3-B65F-AF2F825E0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8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6" name="Freeform 1310">
              <a:extLst>
                <a:ext uri="{FF2B5EF4-FFF2-40B4-BE49-F238E27FC236}">
                  <a16:creationId xmlns:a16="http://schemas.microsoft.com/office/drawing/2014/main" id="{433F52EE-DB63-4575-A156-66FA399F4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8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7" name="Freeform 1311">
              <a:extLst>
                <a:ext uri="{FF2B5EF4-FFF2-40B4-BE49-F238E27FC236}">
                  <a16:creationId xmlns:a16="http://schemas.microsoft.com/office/drawing/2014/main" id="{08EA8BD5-8F0E-492B-93A3-B89C328C5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8" name="Freeform 1312">
              <a:extLst>
                <a:ext uri="{FF2B5EF4-FFF2-40B4-BE49-F238E27FC236}">
                  <a16:creationId xmlns:a16="http://schemas.microsoft.com/office/drawing/2014/main" id="{DF9E1250-D2EE-452C-B028-63A21A70A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1 w 7"/>
                <a:gd name="T7" fmla="*/ 1 h 5"/>
                <a:gd name="T8" fmla="*/ 1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9" name="Freeform 1313">
              <a:extLst>
                <a:ext uri="{FF2B5EF4-FFF2-40B4-BE49-F238E27FC236}">
                  <a16:creationId xmlns:a16="http://schemas.microsoft.com/office/drawing/2014/main" id="{7812E609-53F0-4FBC-841B-C66D4C4C7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0" name="Freeform 1314">
              <a:extLst>
                <a:ext uri="{FF2B5EF4-FFF2-40B4-BE49-F238E27FC236}">
                  <a16:creationId xmlns:a16="http://schemas.microsoft.com/office/drawing/2014/main" id="{F985BFFD-5A07-4845-8943-C19212C37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1" name="Freeform 1315">
              <a:extLst>
                <a:ext uri="{FF2B5EF4-FFF2-40B4-BE49-F238E27FC236}">
                  <a16:creationId xmlns:a16="http://schemas.microsoft.com/office/drawing/2014/main" id="{E214D0F1-D3C2-4016-AC51-ABB81F6CD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2" y="2487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2" name="Freeform 1316">
              <a:extLst>
                <a:ext uri="{FF2B5EF4-FFF2-40B4-BE49-F238E27FC236}">
                  <a16:creationId xmlns:a16="http://schemas.microsoft.com/office/drawing/2014/main" id="{017F34ED-A44D-4DA6-B30D-442D0D006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3" name="Freeform 1317">
              <a:extLst>
                <a:ext uri="{FF2B5EF4-FFF2-40B4-BE49-F238E27FC236}">
                  <a16:creationId xmlns:a16="http://schemas.microsoft.com/office/drawing/2014/main" id="{D10BB8F3-2333-44D9-96C4-D7E870398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0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4" name="Freeform 1318">
              <a:extLst>
                <a:ext uri="{FF2B5EF4-FFF2-40B4-BE49-F238E27FC236}">
                  <a16:creationId xmlns:a16="http://schemas.microsoft.com/office/drawing/2014/main" id="{94C8EC1F-DA34-4DE2-936A-1FE3AAEB0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0 w 8"/>
                <a:gd name="T13" fmla="*/ 1 h 5"/>
                <a:gd name="T14" fmla="*/ 4 w 8"/>
                <a:gd name="T15" fmla="*/ 5 h 5"/>
                <a:gd name="T16" fmla="*/ 4 w 8"/>
                <a:gd name="T17" fmla="*/ 4 h 5"/>
                <a:gd name="T18" fmla="*/ 4 w 8"/>
                <a:gd name="T19" fmla="*/ 4 h 5"/>
                <a:gd name="T20" fmla="*/ 1 w 8"/>
                <a:gd name="T21" fmla="*/ 1 h 5"/>
                <a:gd name="T22" fmla="*/ 1 w 8"/>
                <a:gd name="T23" fmla="*/ 1 h 5"/>
                <a:gd name="T24" fmla="*/ 1 w 8"/>
                <a:gd name="T25" fmla="*/ 1 h 5"/>
                <a:gd name="T26" fmla="*/ 1 w 8"/>
                <a:gd name="T27" fmla="*/ 1 h 5"/>
                <a:gd name="T28" fmla="*/ 1 w 8"/>
                <a:gd name="T29" fmla="*/ 1 h 5"/>
                <a:gd name="T30" fmla="*/ 1 w 8"/>
                <a:gd name="T31" fmla="*/ 1 h 5"/>
                <a:gd name="T32" fmla="*/ 1 w 8"/>
                <a:gd name="T33" fmla="*/ 1 h 5"/>
                <a:gd name="T34" fmla="*/ 1 w 8"/>
                <a:gd name="T35" fmla="*/ 1 h 5"/>
                <a:gd name="T36" fmla="*/ 7 w 8"/>
                <a:gd name="T37" fmla="*/ 1 h 5"/>
                <a:gd name="T38" fmla="*/ 7 w 8"/>
                <a:gd name="T39" fmla="*/ 1 h 5"/>
                <a:gd name="T40" fmla="*/ 7 w 8"/>
                <a:gd name="T41" fmla="*/ 1 h 5"/>
                <a:gd name="T42" fmla="*/ 4 w 8"/>
                <a:gd name="T4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5" name="Freeform 1319">
              <a:extLst>
                <a:ext uri="{FF2B5EF4-FFF2-40B4-BE49-F238E27FC236}">
                  <a16:creationId xmlns:a16="http://schemas.microsoft.com/office/drawing/2014/main" id="{3F9BE595-38A4-4A48-96CF-55898A2C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" y="2424"/>
              <a:ext cx="225" cy="63"/>
            </a:xfrm>
            <a:custGeom>
              <a:avLst/>
              <a:gdLst>
                <a:gd name="T0" fmla="*/ 2 w 89"/>
                <a:gd name="T1" fmla="*/ 25 h 25"/>
                <a:gd name="T2" fmla="*/ 89 w 89"/>
                <a:gd name="T3" fmla="*/ 25 h 25"/>
                <a:gd name="T4" fmla="*/ 89 w 89"/>
                <a:gd name="T5" fmla="*/ 0 h 25"/>
                <a:gd name="T6" fmla="*/ 12 w 89"/>
                <a:gd name="T7" fmla="*/ 0 h 25"/>
                <a:gd name="T8" fmla="*/ 11 w 89"/>
                <a:gd name="T9" fmla="*/ 0 h 25"/>
                <a:gd name="T10" fmla="*/ 8 w 89"/>
                <a:gd name="T11" fmla="*/ 6 h 25"/>
                <a:gd name="T12" fmla="*/ 2 w 89"/>
                <a:gd name="T13" fmla="*/ 7 h 25"/>
                <a:gd name="T14" fmla="*/ 1 w 89"/>
                <a:gd name="T15" fmla="*/ 8 h 25"/>
                <a:gd name="T16" fmla="*/ 0 w 89"/>
                <a:gd name="T17" fmla="*/ 23 h 25"/>
                <a:gd name="T18" fmla="*/ 2 w 89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25">
                  <a:moveTo>
                    <a:pt x="2" y="25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2" y="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6" name="Freeform 1320">
              <a:extLst>
                <a:ext uri="{FF2B5EF4-FFF2-40B4-BE49-F238E27FC236}">
                  <a16:creationId xmlns:a16="http://schemas.microsoft.com/office/drawing/2014/main" id="{D5A0DFE0-3038-4382-B05B-16860EB5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" y="2421"/>
              <a:ext cx="228" cy="66"/>
            </a:xfrm>
            <a:custGeom>
              <a:avLst/>
              <a:gdLst>
                <a:gd name="T0" fmla="*/ 2 w 90"/>
                <a:gd name="T1" fmla="*/ 26 h 26"/>
                <a:gd name="T2" fmla="*/ 2 w 90"/>
                <a:gd name="T3" fmla="*/ 26 h 26"/>
                <a:gd name="T4" fmla="*/ 90 w 90"/>
                <a:gd name="T5" fmla="*/ 26 h 26"/>
                <a:gd name="T6" fmla="*/ 90 w 90"/>
                <a:gd name="T7" fmla="*/ 0 h 26"/>
                <a:gd name="T8" fmla="*/ 12 w 90"/>
                <a:gd name="T9" fmla="*/ 0 h 26"/>
                <a:gd name="T10" fmla="*/ 11 w 90"/>
                <a:gd name="T11" fmla="*/ 1 h 26"/>
                <a:gd name="T12" fmla="*/ 11 w 90"/>
                <a:gd name="T13" fmla="*/ 1 h 26"/>
                <a:gd name="T14" fmla="*/ 8 w 90"/>
                <a:gd name="T15" fmla="*/ 7 h 26"/>
                <a:gd name="T16" fmla="*/ 2 w 90"/>
                <a:gd name="T17" fmla="*/ 7 h 26"/>
                <a:gd name="T18" fmla="*/ 1 w 90"/>
                <a:gd name="T19" fmla="*/ 9 h 26"/>
                <a:gd name="T20" fmla="*/ 0 w 90"/>
                <a:gd name="T21" fmla="*/ 24 h 26"/>
                <a:gd name="T22" fmla="*/ 0 w 90"/>
                <a:gd name="T23" fmla="*/ 24 h 26"/>
                <a:gd name="T24" fmla="*/ 2 w 90"/>
                <a:gd name="T25" fmla="*/ 26 h 26"/>
                <a:gd name="T26" fmla="*/ 2 w 90"/>
                <a:gd name="T27" fmla="*/ 26 h 26"/>
                <a:gd name="T28" fmla="*/ 2 w 90"/>
                <a:gd name="T29" fmla="*/ 25 h 26"/>
                <a:gd name="T30" fmla="*/ 1 w 90"/>
                <a:gd name="T31" fmla="*/ 24 h 26"/>
                <a:gd name="T32" fmla="*/ 1 w 90"/>
                <a:gd name="T33" fmla="*/ 24 h 26"/>
                <a:gd name="T34" fmla="*/ 2 w 90"/>
                <a:gd name="T35" fmla="*/ 9 h 26"/>
                <a:gd name="T36" fmla="*/ 2 w 90"/>
                <a:gd name="T37" fmla="*/ 8 h 26"/>
                <a:gd name="T38" fmla="*/ 8 w 90"/>
                <a:gd name="T39" fmla="*/ 7 h 26"/>
                <a:gd name="T40" fmla="*/ 12 w 90"/>
                <a:gd name="T41" fmla="*/ 2 h 26"/>
                <a:gd name="T42" fmla="*/ 11 w 90"/>
                <a:gd name="T43" fmla="*/ 1 h 26"/>
                <a:gd name="T44" fmla="*/ 12 w 90"/>
                <a:gd name="T45" fmla="*/ 2 h 26"/>
                <a:gd name="T46" fmla="*/ 12 w 90"/>
                <a:gd name="T47" fmla="*/ 1 h 26"/>
                <a:gd name="T48" fmla="*/ 89 w 90"/>
                <a:gd name="T49" fmla="*/ 1 h 26"/>
                <a:gd name="T50" fmla="*/ 89 w 90"/>
                <a:gd name="T51" fmla="*/ 25 h 26"/>
                <a:gd name="T52" fmla="*/ 2 w 90"/>
                <a:gd name="T53" fmla="*/ 25 h 26"/>
                <a:gd name="T54" fmla="*/ 2 w 90"/>
                <a:gd name="T5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0" h="26">
                  <a:moveTo>
                    <a:pt x="2" y="26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1" y="8"/>
                    <a:pt x="1" y="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5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2" y="25"/>
                    <a:pt x="2" y="25"/>
                    <a:pt x="2" y="25"/>
                  </a:cubicBezTo>
                  <a:lnTo>
                    <a:pt x="2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7" name="Freeform 1321">
              <a:extLst>
                <a:ext uri="{FF2B5EF4-FFF2-40B4-BE49-F238E27FC236}">
                  <a16:creationId xmlns:a16="http://schemas.microsoft.com/office/drawing/2014/main" id="{B540FFFA-4D71-4AE7-A0F1-BC31F1EC0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8" name="Line 1322">
              <a:extLst>
                <a:ext uri="{FF2B5EF4-FFF2-40B4-BE49-F238E27FC236}">
                  <a16:creationId xmlns:a16="http://schemas.microsoft.com/office/drawing/2014/main" id="{65987C89-C4DD-4C9B-91BE-17C19F0A3D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8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9" name="Rectangle 1323">
              <a:extLst>
                <a:ext uri="{FF2B5EF4-FFF2-40B4-BE49-F238E27FC236}">
                  <a16:creationId xmlns:a16="http://schemas.microsoft.com/office/drawing/2014/main" id="{B01F024D-486A-4992-B036-54D3D4765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0" name="Freeform 1324">
              <a:extLst>
                <a:ext uri="{FF2B5EF4-FFF2-40B4-BE49-F238E27FC236}">
                  <a16:creationId xmlns:a16="http://schemas.microsoft.com/office/drawing/2014/main" id="{239ED28E-1F6C-4BFA-9F43-812E3ABEE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1" name="Freeform 1325">
              <a:extLst>
                <a:ext uri="{FF2B5EF4-FFF2-40B4-BE49-F238E27FC236}">
                  <a16:creationId xmlns:a16="http://schemas.microsoft.com/office/drawing/2014/main" id="{18A934FD-BAEB-475E-8FAE-FE8FDADC9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2" name="Line 1326">
              <a:extLst>
                <a:ext uri="{FF2B5EF4-FFF2-40B4-BE49-F238E27FC236}">
                  <a16:creationId xmlns:a16="http://schemas.microsoft.com/office/drawing/2014/main" id="{518411A6-3EF5-4189-980A-A2B8646416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3" name="Rectangle 1327">
              <a:extLst>
                <a:ext uri="{FF2B5EF4-FFF2-40B4-BE49-F238E27FC236}">
                  <a16:creationId xmlns:a16="http://schemas.microsoft.com/office/drawing/2014/main" id="{EDB4619B-109F-4B12-93B5-D387B86855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8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4" name="Freeform 1328">
              <a:extLst>
                <a:ext uri="{FF2B5EF4-FFF2-40B4-BE49-F238E27FC236}">
                  <a16:creationId xmlns:a16="http://schemas.microsoft.com/office/drawing/2014/main" id="{7482DCD7-B89C-4795-A8A8-983F7EB82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5" name="Freeform 1329">
              <a:extLst>
                <a:ext uri="{FF2B5EF4-FFF2-40B4-BE49-F238E27FC236}">
                  <a16:creationId xmlns:a16="http://schemas.microsoft.com/office/drawing/2014/main" id="{6CF2B79C-AC70-47FD-8A00-31DD02FF8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6" name="Line 1330">
              <a:extLst>
                <a:ext uri="{FF2B5EF4-FFF2-40B4-BE49-F238E27FC236}">
                  <a16:creationId xmlns:a16="http://schemas.microsoft.com/office/drawing/2014/main" id="{77A9271C-E073-4174-A72D-18C32FE0E3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7" name="Rectangle 1331">
              <a:extLst>
                <a:ext uri="{FF2B5EF4-FFF2-40B4-BE49-F238E27FC236}">
                  <a16:creationId xmlns:a16="http://schemas.microsoft.com/office/drawing/2014/main" id="{2EB57C62-B24E-4B54-BA03-E30F7304B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" y="2431"/>
              <a:ext cx="1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8" name="Freeform 1332">
              <a:extLst>
                <a:ext uri="{FF2B5EF4-FFF2-40B4-BE49-F238E27FC236}">
                  <a16:creationId xmlns:a16="http://schemas.microsoft.com/office/drawing/2014/main" id="{8293CA56-CEA8-474B-A88F-7F114EF60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38 h 38"/>
                <a:gd name="T3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3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9" name="Freeform 1333">
              <a:extLst>
                <a:ext uri="{FF2B5EF4-FFF2-40B4-BE49-F238E27FC236}">
                  <a16:creationId xmlns:a16="http://schemas.microsoft.com/office/drawing/2014/main" id="{F3E5EC8F-C7C3-4E09-8ECF-DAA87D166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0" name="Line 1334">
              <a:extLst>
                <a:ext uri="{FF2B5EF4-FFF2-40B4-BE49-F238E27FC236}">
                  <a16:creationId xmlns:a16="http://schemas.microsoft.com/office/drawing/2014/main" id="{FC62D07C-8899-4C73-95AB-938D718BE9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6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1" name="Rectangle 1335">
              <a:extLst>
                <a:ext uri="{FF2B5EF4-FFF2-40B4-BE49-F238E27FC236}">
                  <a16:creationId xmlns:a16="http://schemas.microsoft.com/office/drawing/2014/main" id="{306F2622-CFDF-4D33-B5AA-D40D63023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1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2" name="Freeform 1336">
              <a:extLst>
                <a:ext uri="{FF2B5EF4-FFF2-40B4-BE49-F238E27FC236}">
                  <a16:creationId xmlns:a16="http://schemas.microsoft.com/office/drawing/2014/main" id="{27708633-BDD2-4DB8-A0F6-B86B1A3FB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3" name="Freeform 1337">
              <a:extLst>
                <a:ext uri="{FF2B5EF4-FFF2-40B4-BE49-F238E27FC236}">
                  <a16:creationId xmlns:a16="http://schemas.microsoft.com/office/drawing/2014/main" id="{3FD6323C-94ED-4593-964D-6CF4750A9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3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4" name="Line 1338">
              <a:extLst>
                <a:ext uri="{FF2B5EF4-FFF2-40B4-BE49-F238E27FC236}">
                  <a16:creationId xmlns:a16="http://schemas.microsoft.com/office/drawing/2014/main" id="{BD416E09-8F9B-4A5C-95EB-3921276B0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3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5" name="Rectangle 1339">
              <a:extLst>
                <a:ext uri="{FF2B5EF4-FFF2-40B4-BE49-F238E27FC236}">
                  <a16:creationId xmlns:a16="http://schemas.microsoft.com/office/drawing/2014/main" id="{760FE95A-FADE-49C4-A100-B6BCE37313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1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6" name="Freeform 1340">
              <a:extLst>
                <a:ext uri="{FF2B5EF4-FFF2-40B4-BE49-F238E27FC236}">
                  <a16:creationId xmlns:a16="http://schemas.microsoft.com/office/drawing/2014/main" id="{7F7A6809-E97F-40ED-8883-DE32ADFC8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1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7" name="Freeform 1341">
              <a:extLst>
                <a:ext uri="{FF2B5EF4-FFF2-40B4-BE49-F238E27FC236}">
                  <a16:creationId xmlns:a16="http://schemas.microsoft.com/office/drawing/2014/main" id="{13DAE1A2-4A16-451C-A41B-E6BE702FA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8" name="Line 1342">
              <a:extLst>
                <a:ext uri="{FF2B5EF4-FFF2-40B4-BE49-F238E27FC236}">
                  <a16:creationId xmlns:a16="http://schemas.microsoft.com/office/drawing/2014/main" id="{618851CD-9B52-4ECD-B533-AC159F4270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9" name="Rectangle 1343">
              <a:extLst>
                <a:ext uri="{FF2B5EF4-FFF2-40B4-BE49-F238E27FC236}">
                  <a16:creationId xmlns:a16="http://schemas.microsoft.com/office/drawing/2014/main" id="{C821A966-D0D1-4295-B393-5A9143FCB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0" name="Freeform 1344">
              <a:extLst>
                <a:ext uri="{FF2B5EF4-FFF2-40B4-BE49-F238E27FC236}">
                  <a16:creationId xmlns:a16="http://schemas.microsoft.com/office/drawing/2014/main" id="{6529A248-9475-4AF1-96EA-D6A72E380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1" name="Freeform 1345">
              <a:extLst>
                <a:ext uri="{FF2B5EF4-FFF2-40B4-BE49-F238E27FC236}">
                  <a16:creationId xmlns:a16="http://schemas.microsoft.com/office/drawing/2014/main" id="{0F93AB91-D6FF-4D85-B308-1DB1C3317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2" name="Line 1346">
              <a:extLst>
                <a:ext uri="{FF2B5EF4-FFF2-40B4-BE49-F238E27FC236}">
                  <a16:creationId xmlns:a16="http://schemas.microsoft.com/office/drawing/2014/main" id="{8293E4AB-8093-4DBF-9740-EA6F621E0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3" name="Rectangle 1347">
              <a:extLst>
                <a:ext uri="{FF2B5EF4-FFF2-40B4-BE49-F238E27FC236}">
                  <a16:creationId xmlns:a16="http://schemas.microsoft.com/office/drawing/2014/main" id="{75588180-511F-40D0-BA9F-C6FA913389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4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4" name="Freeform 1348">
              <a:extLst>
                <a:ext uri="{FF2B5EF4-FFF2-40B4-BE49-F238E27FC236}">
                  <a16:creationId xmlns:a16="http://schemas.microsoft.com/office/drawing/2014/main" id="{CF002D0C-18D1-497B-AE8A-ECE9D3EBF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5" name="Freeform 1349">
              <a:extLst>
                <a:ext uri="{FF2B5EF4-FFF2-40B4-BE49-F238E27FC236}">
                  <a16:creationId xmlns:a16="http://schemas.microsoft.com/office/drawing/2014/main" id="{B4867CBB-235B-452D-83DD-234E9FBCB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6" name="Line 1350">
              <a:extLst>
                <a:ext uri="{FF2B5EF4-FFF2-40B4-BE49-F238E27FC236}">
                  <a16:creationId xmlns:a16="http://schemas.microsoft.com/office/drawing/2014/main" id="{81539FB9-41C6-493F-8672-BB332C1C76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7" name="Rectangle 1351">
              <a:extLst>
                <a:ext uri="{FF2B5EF4-FFF2-40B4-BE49-F238E27FC236}">
                  <a16:creationId xmlns:a16="http://schemas.microsoft.com/office/drawing/2014/main" id="{8BDDC00A-0E5A-4DC4-8308-492C91611B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4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8" name="Freeform 1352">
              <a:extLst>
                <a:ext uri="{FF2B5EF4-FFF2-40B4-BE49-F238E27FC236}">
                  <a16:creationId xmlns:a16="http://schemas.microsoft.com/office/drawing/2014/main" id="{2C94ECFE-327A-4106-8F14-E5992DA01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4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9" name="Freeform 1353">
              <a:extLst>
                <a:ext uri="{FF2B5EF4-FFF2-40B4-BE49-F238E27FC236}">
                  <a16:creationId xmlns:a16="http://schemas.microsoft.com/office/drawing/2014/main" id="{CB796CF8-E3DF-4435-A738-DC9290BEB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0" name="Line 1354">
              <a:extLst>
                <a:ext uri="{FF2B5EF4-FFF2-40B4-BE49-F238E27FC236}">
                  <a16:creationId xmlns:a16="http://schemas.microsoft.com/office/drawing/2014/main" id="{AD385D23-04AE-43B1-9B2A-52A74DE676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1" name="Rectangle 1355">
              <a:extLst>
                <a:ext uri="{FF2B5EF4-FFF2-40B4-BE49-F238E27FC236}">
                  <a16:creationId xmlns:a16="http://schemas.microsoft.com/office/drawing/2014/main" id="{D96C4BF3-71F2-46E0-A354-DD59E2F5C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6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2" name="Freeform 1356">
              <a:extLst>
                <a:ext uri="{FF2B5EF4-FFF2-40B4-BE49-F238E27FC236}">
                  <a16:creationId xmlns:a16="http://schemas.microsoft.com/office/drawing/2014/main" id="{1E318C3F-6D4F-4472-B29B-5B9D5D5C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3" name="Freeform 1357">
              <a:extLst>
                <a:ext uri="{FF2B5EF4-FFF2-40B4-BE49-F238E27FC236}">
                  <a16:creationId xmlns:a16="http://schemas.microsoft.com/office/drawing/2014/main" id="{5A719855-8D8B-4773-AC50-FC7F80A75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4" name="Line 1358">
              <a:extLst>
                <a:ext uri="{FF2B5EF4-FFF2-40B4-BE49-F238E27FC236}">
                  <a16:creationId xmlns:a16="http://schemas.microsoft.com/office/drawing/2014/main" id="{E9B9943F-7E87-4B3D-862E-4B7CDB4B4F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9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5" name="Rectangle 1359">
              <a:extLst>
                <a:ext uri="{FF2B5EF4-FFF2-40B4-BE49-F238E27FC236}">
                  <a16:creationId xmlns:a16="http://schemas.microsoft.com/office/drawing/2014/main" id="{CC23D419-7208-4DDD-A256-E10A22E34D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6" name="Freeform 1360">
              <a:extLst>
                <a:ext uri="{FF2B5EF4-FFF2-40B4-BE49-F238E27FC236}">
                  <a16:creationId xmlns:a16="http://schemas.microsoft.com/office/drawing/2014/main" id="{9DA8F0E8-80CC-459A-A993-A586E07D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7" name="Freeform 1361">
              <a:extLst>
                <a:ext uri="{FF2B5EF4-FFF2-40B4-BE49-F238E27FC236}">
                  <a16:creationId xmlns:a16="http://schemas.microsoft.com/office/drawing/2014/main" id="{3A2F4E06-3571-44D3-9097-F862278F7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9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8" name="Line 1362">
              <a:extLst>
                <a:ext uri="{FF2B5EF4-FFF2-40B4-BE49-F238E27FC236}">
                  <a16:creationId xmlns:a16="http://schemas.microsoft.com/office/drawing/2014/main" id="{9C4712DF-5A86-4787-825B-1C97729072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9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9" name="Rectangle 1363">
              <a:extLst>
                <a:ext uri="{FF2B5EF4-FFF2-40B4-BE49-F238E27FC236}">
                  <a16:creationId xmlns:a16="http://schemas.microsoft.com/office/drawing/2014/main" id="{BE09F9E9-C296-4972-932B-8E06B167A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9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0" name="Freeform 1364">
              <a:extLst>
                <a:ext uri="{FF2B5EF4-FFF2-40B4-BE49-F238E27FC236}">
                  <a16:creationId xmlns:a16="http://schemas.microsoft.com/office/drawing/2014/main" id="{818063E4-1824-4109-BE29-A5DB2942D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9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1" name="Freeform 1365">
              <a:extLst>
                <a:ext uri="{FF2B5EF4-FFF2-40B4-BE49-F238E27FC236}">
                  <a16:creationId xmlns:a16="http://schemas.microsoft.com/office/drawing/2014/main" id="{9B2A1AC9-8EE8-45A0-AE20-777C8B26A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2" name="Line 1366">
              <a:extLst>
                <a:ext uri="{FF2B5EF4-FFF2-40B4-BE49-F238E27FC236}">
                  <a16:creationId xmlns:a16="http://schemas.microsoft.com/office/drawing/2014/main" id="{50EE8C39-D5FF-4FD5-8644-BD8190F813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3" name="Rectangle 1367">
              <a:extLst>
                <a:ext uri="{FF2B5EF4-FFF2-40B4-BE49-F238E27FC236}">
                  <a16:creationId xmlns:a16="http://schemas.microsoft.com/office/drawing/2014/main" id="{F566A747-E745-4091-A7F8-A5F553B97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4" name="Freeform 1368">
              <a:extLst>
                <a:ext uri="{FF2B5EF4-FFF2-40B4-BE49-F238E27FC236}">
                  <a16:creationId xmlns:a16="http://schemas.microsoft.com/office/drawing/2014/main" id="{1D946E4E-70E9-48DD-944D-5A8A5646E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5" name="Freeform 1369">
              <a:extLst>
                <a:ext uri="{FF2B5EF4-FFF2-40B4-BE49-F238E27FC236}">
                  <a16:creationId xmlns:a16="http://schemas.microsoft.com/office/drawing/2014/main" id="{3C67E704-C161-482D-AFB6-E60EDB920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6" name="Line 1370">
              <a:extLst>
                <a:ext uri="{FF2B5EF4-FFF2-40B4-BE49-F238E27FC236}">
                  <a16:creationId xmlns:a16="http://schemas.microsoft.com/office/drawing/2014/main" id="{9B52115E-E882-4B54-A82D-4B5F68B726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6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7" name="Rectangle 1371">
              <a:extLst>
                <a:ext uri="{FF2B5EF4-FFF2-40B4-BE49-F238E27FC236}">
                  <a16:creationId xmlns:a16="http://schemas.microsoft.com/office/drawing/2014/main" id="{89C63D0E-CE91-4189-80C2-160EA1523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8" name="Freeform 1372">
              <a:extLst>
                <a:ext uri="{FF2B5EF4-FFF2-40B4-BE49-F238E27FC236}">
                  <a16:creationId xmlns:a16="http://schemas.microsoft.com/office/drawing/2014/main" id="{177220BE-D5ED-4854-9F50-B893D89F0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9" name="Freeform 1373">
              <a:extLst>
                <a:ext uri="{FF2B5EF4-FFF2-40B4-BE49-F238E27FC236}">
                  <a16:creationId xmlns:a16="http://schemas.microsoft.com/office/drawing/2014/main" id="{B8393736-2B11-4034-81FA-8B2203ED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0" name="Line 1374">
              <a:extLst>
                <a:ext uri="{FF2B5EF4-FFF2-40B4-BE49-F238E27FC236}">
                  <a16:creationId xmlns:a16="http://schemas.microsoft.com/office/drawing/2014/main" id="{B73C01E1-8575-47A3-8921-26CEE4BF4F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1" name="Rectangle 1375">
              <a:extLst>
                <a:ext uri="{FF2B5EF4-FFF2-40B4-BE49-F238E27FC236}">
                  <a16:creationId xmlns:a16="http://schemas.microsoft.com/office/drawing/2014/main" id="{AA335222-16B1-41B5-8DFA-2C8C43D3C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2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2" name="Freeform 1376">
              <a:extLst>
                <a:ext uri="{FF2B5EF4-FFF2-40B4-BE49-F238E27FC236}">
                  <a16:creationId xmlns:a16="http://schemas.microsoft.com/office/drawing/2014/main" id="{A4E9C7B5-A3AA-4D52-BC67-BA9779BBA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3" name="Freeform 1377">
              <a:extLst>
                <a:ext uri="{FF2B5EF4-FFF2-40B4-BE49-F238E27FC236}">
                  <a16:creationId xmlns:a16="http://schemas.microsoft.com/office/drawing/2014/main" id="{6FEEA8EA-FFE6-430C-87FE-194B1016A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4" name="Line 1378">
              <a:extLst>
                <a:ext uri="{FF2B5EF4-FFF2-40B4-BE49-F238E27FC236}">
                  <a16:creationId xmlns:a16="http://schemas.microsoft.com/office/drawing/2014/main" id="{983FF377-5C89-4F44-9A2C-F8C740794A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5" name="Rectangle 1379">
              <a:extLst>
                <a:ext uri="{FF2B5EF4-FFF2-40B4-BE49-F238E27FC236}">
                  <a16:creationId xmlns:a16="http://schemas.microsoft.com/office/drawing/2014/main" id="{53E04ABB-EF90-4AFD-AF9F-F1C6D89CE3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2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6" name="Freeform 1380">
              <a:extLst>
                <a:ext uri="{FF2B5EF4-FFF2-40B4-BE49-F238E27FC236}">
                  <a16:creationId xmlns:a16="http://schemas.microsoft.com/office/drawing/2014/main" id="{700BF634-EFC7-40D9-A206-A08B03D5E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7" name="Freeform 1381">
              <a:extLst>
                <a:ext uri="{FF2B5EF4-FFF2-40B4-BE49-F238E27FC236}">
                  <a16:creationId xmlns:a16="http://schemas.microsoft.com/office/drawing/2014/main" id="{AEDD0CBF-4DCE-4C26-8C1F-ECB4F747C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8" name="Line 1382">
              <a:extLst>
                <a:ext uri="{FF2B5EF4-FFF2-40B4-BE49-F238E27FC236}">
                  <a16:creationId xmlns:a16="http://schemas.microsoft.com/office/drawing/2014/main" id="{843EF1F4-AE82-4B46-AB58-EAF1E8BCB4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9" name="Rectangle 1383">
              <a:extLst>
                <a:ext uri="{FF2B5EF4-FFF2-40B4-BE49-F238E27FC236}">
                  <a16:creationId xmlns:a16="http://schemas.microsoft.com/office/drawing/2014/main" id="{4312555C-B3AD-40F2-85EA-BB1B8B57E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0" name="Freeform 1384">
              <a:extLst>
                <a:ext uri="{FF2B5EF4-FFF2-40B4-BE49-F238E27FC236}">
                  <a16:creationId xmlns:a16="http://schemas.microsoft.com/office/drawing/2014/main" id="{358688A0-51F8-4DC6-9574-714C8EADA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1" name="Freeform 1385">
              <a:extLst>
                <a:ext uri="{FF2B5EF4-FFF2-40B4-BE49-F238E27FC236}">
                  <a16:creationId xmlns:a16="http://schemas.microsoft.com/office/drawing/2014/main" id="{C796FA12-8B81-4B50-B623-E7F0DE50F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2" name="Line 1386">
              <a:extLst>
                <a:ext uri="{FF2B5EF4-FFF2-40B4-BE49-F238E27FC236}">
                  <a16:creationId xmlns:a16="http://schemas.microsoft.com/office/drawing/2014/main" id="{434F1A42-B22B-4555-B74C-356023065A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3" name="Rectangle 1387">
              <a:extLst>
                <a:ext uri="{FF2B5EF4-FFF2-40B4-BE49-F238E27FC236}">
                  <a16:creationId xmlns:a16="http://schemas.microsoft.com/office/drawing/2014/main" id="{58DA0A22-6916-4542-A47A-BAD1DF7D5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5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4" name="Freeform 1388">
              <a:extLst>
                <a:ext uri="{FF2B5EF4-FFF2-40B4-BE49-F238E27FC236}">
                  <a16:creationId xmlns:a16="http://schemas.microsoft.com/office/drawing/2014/main" id="{763C0D77-E420-4F63-84AF-188B39E00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5" name="Freeform 1389">
              <a:extLst>
                <a:ext uri="{FF2B5EF4-FFF2-40B4-BE49-F238E27FC236}">
                  <a16:creationId xmlns:a16="http://schemas.microsoft.com/office/drawing/2014/main" id="{1AFC7FAD-FD39-4F7B-8511-799F3122E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6" name="Line 1390">
              <a:extLst>
                <a:ext uri="{FF2B5EF4-FFF2-40B4-BE49-F238E27FC236}">
                  <a16:creationId xmlns:a16="http://schemas.microsoft.com/office/drawing/2014/main" id="{4333281A-D36C-400E-B37E-6B916E1D95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18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7" name="Rectangle 1391">
              <a:extLst>
                <a:ext uri="{FF2B5EF4-FFF2-40B4-BE49-F238E27FC236}">
                  <a16:creationId xmlns:a16="http://schemas.microsoft.com/office/drawing/2014/main" id="{1ED1A35D-FD0C-4529-B28D-43F582E20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5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8" name="Freeform 1392">
              <a:extLst>
                <a:ext uri="{FF2B5EF4-FFF2-40B4-BE49-F238E27FC236}">
                  <a16:creationId xmlns:a16="http://schemas.microsoft.com/office/drawing/2014/main" id="{C0FDD738-A73D-4DDC-83F6-B6A0906C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9" name="Freeform 1393">
              <a:extLst>
                <a:ext uri="{FF2B5EF4-FFF2-40B4-BE49-F238E27FC236}">
                  <a16:creationId xmlns:a16="http://schemas.microsoft.com/office/drawing/2014/main" id="{CE3CCC2C-29EB-427A-9DFC-0827FCFF6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0" name="Line 1394">
              <a:extLst>
                <a:ext uri="{FF2B5EF4-FFF2-40B4-BE49-F238E27FC236}">
                  <a16:creationId xmlns:a16="http://schemas.microsoft.com/office/drawing/2014/main" id="{E5E11B5B-125B-4F0F-83FA-AF346F6A16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8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1" name="Rectangle 1395">
              <a:extLst>
                <a:ext uri="{FF2B5EF4-FFF2-40B4-BE49-F238E27FC236}">
                  <a16:creationId xmlns:a16="http://schemas.microsoft.com/office/drawing/2014/main" id="{B0E4EE08-4468-42C5-B52B-2DE12B41E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2" name="Freeform 1396">
              <a:extLst>
                <a:ext uri="{FF2B5EF4-FFF2-40B4-BE49-F238E27FC236}">
                  <a16:creationId xmlns:a16="http://schemas.microsoft.com/office/drawing/2014/main" id="{087D0D53-978F-4E58-9155-B102A8A72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3" name="Freeform 1397">
              <a:extLst>
                <a:ext uri="{FF2B5EF4-FFF2-40B4-BE49-F238E27FC236}">
                  <a16:creationId xmlns:a16="http://schemas.microsoft.com/office/drawing/2014/main" id="{29E42C24-44A6-4BE5-A47B-9CA2BB9EA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4" name="Line 1398">
              <a:extLst>
                <a:ext uri="{FF2B5EF4-FFF2-40B4-BE49-F238E27FC236}">
                  <a16:creationId xmlns:a16="http://schemas.microsoft.com/office/drawing/2014/main" id="{DA4EB0AF-EE5B-41F8-9FBA-E495ABB64C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5" name="Rectangle 1399">
              <a:extLst>
                <a:ext uri="{FF2B5EF4-FFF2-40B4-BE49-F238E27FC236}">
                  <a16:creationId xmlns:a16="http://schemas.microsoft.com/office/drawing/2014/main" id="{24D44428-E4C7-4AD8-A42D-056184D33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8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6" name="Freeform 1400">
              <a:extLst>
                <a:ext uri="{FF2B5EF4-FFF2-40B4-BE49-F238E27FC236}">
                  <a16:creationId xmlns:a16="http://schemas.microsoft.com/office/drawing/2014/main" id="{F77B9ADA-0FC4-43E0-BE2F-D6A77913D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7" name="Freeform 1401">
              <a:extLst>
                <a:ext uri="{FF2B5EF4-FFF2-40B4-BE49-F238E27FC236}">
                  <a16:creationId xmlns:a16="http://schemas.microsoft.com/office/drawing/2014/main" id="{59EE83C0-DBD6-4135-8BB5-5BBB28ABC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" y="2409"/>
              <a:ext cx="210" cy="15"/>
            </a:xfrm>
            <a:custGeom>
              <a:avLst/>
              <a:gdLst>
                <a:gd name="T0" fmla="*/ 0 w 83"/>
                <a:gd name="T1" fmla="*/ 6 h 6"/>
                <a:gd name="T2" fmla="*/ 83 w 83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3" h="6">
                  <a:moveTo>
                    <a:pt x="0" y="6"/>
                  </a:moveTo>
                  <a:cubicBezTo>
                    <a:pt x="22" y="2"/>
                    <a:pt x="53" y="0"/>
                    <a:pt x="8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8" name="Freeform 1402">
              <a:extLst>
                <a:ext uri="{FF2B5EF4-FFF2-40B4-BE49-F238E27FC236}">
                  <a16:creationId xmlns:a16="http://schemas.microsoft.com/office/drawing/2014/main" id="{3F87405F-D047-42CF-9868-F4FEE963B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" y="2414"/>
              <a:ext cx="210" cy="12"/>
            </a:xfrm>
            <a:custGeom>
              <a:avLst/>
              <a:gdLst>
                <a:gd name="T0" fmla="*/ 1 w 83"/>
                <a:gd name="T1" fmla="*/ 4 h 5"/>
                <a:gd name="T2" fmla="*/ 43 w 83"/>
                <a:gd name="T3" fmla="*/ 1 h 5"/>
                <a:gd name="T4" fmla="*/ 83 w 83"/>
                <a:gd name="T5" fmla="*/ 5 h 5"/>
                <a:gd name="T6" fmla="*/ 83 w 83"/>
                <a:gd name="T7" fmla="*/ 4 h 5"/>
                <a:gd name="T8" fmla="*/ 43 w 83"/>
                <a:gd name="T9" fmla="*/ 0 h 5"/>
                <a:gd name="T10" fmla="*/ 0 w 83"/>
                <a:gd name="T11" fmla="*/ 3 h 5"/>
                <a:gd name="T12" fmla="*/ 1 w 83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">
                  <a:moveTo>
                    <a:pt x="1" y="4"/>
                  </a:moveTo>
                  <a:cubicBezTo>
                    <a:pt x="12" y="2"/>
                    <a:pt x="27" y="1"/>
                    <a:pt x="43" y="1"/>
                  </a:cubicBezTo>
                  <a:cubicBezTo>
                    <a:pt x="56" y="1"/>
                    <a:pt x="70" y="2"/>
                    <a:pt x="83" y="5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70" y="1"/>
                    <a:pt x="56" y="0"/>
                    <a:pt x="43" y="0"/>
                  </a:cubicBezTo>
                  <a:cubicBezTo>
                    <a:pt x="27" y="0"/>
                    <a:pt x="1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9" name="Rectangle 1403">
              <a:extLst>
                <a:ext uri="{FF2B5EF4-FFF2-40B4-BE49-F238E27FC236}">
                  <a16:creationId xmlns:a16="http://schemas.microsoft.com/office/drawing/2014/main" id="{D128BFD7-F451-4406-8214-799300A9B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5" y="2424"/>
              <a:ext cx="245" cy="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0" name="Freeform 1404">
              <a:extLst>
                <a:ext uri="{FF2B5EF4-FFF2-40B4-BE49-F238E27FC236}">
                  <a16:creationId xmlns:a16="http://schemas.microsoft.com/office/drawing/2014/main" id="{DC9EFE63-3E3E-4703-A852-2D1DB512C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5" y="2421"/>
              <a:ext cx="248" cy="66"/>
            </a:xfrm>
            <a:custGeom>
              <a:avLst/>
              <a:gdLst>
                <a:gd name="T0" fmla="*/ 245 w 248"/>
                <a:gd name="T1" fmla="*/ 66 h 66"/>
                <a:gd name="T2" fmla="*/ 245 w 248"/>
                <a:gd name="T3" fmla="*/ 63 h 66"/>
                <a:gd name="T4" fmla="*/ 3 w 248"/>
                <a:gd name="T5" fmla="*/ 63 h 66"/>
                <a:gd name="T6" fmla="*/ 3 w 248"/>
                <a:gd name="T7" fmla="*/ 3 h 66"/>
                <a:gd name="T8" fmla="*/ 245 w 248"/>
                <a:gd name="T9" fmla="*/ 3 h 66"/>
                <a:gd name="T10" fmla="*/ 245 w 248"/>
                <a:gd name="T11" fmla="*/ 66 h 66"/>
                <a:gd name="T12" fmla="*/ 245 w 248"/>
                <a:gd name="T13" fmla="*/ 66 h 66"/>
                <a:gd name="T14" fmla="*/ 245 w 248"/>
                <a:gd name="T15" fmla="*/ 63 h 66"/>
                <a:gd name="T16" fmla="*/ 245 w 248"/>
                <a:gd name="T17" fmla="*/ 66 h 66"/>
                <a:gd name="T18" fmla="*/ 248 w 248"/>
                <a:gd name="T19" fmla="*/ 66 h 66"/>
                <a:gd name="T20" fmla="*/ 248 w 248"/>
                <a:gd name="T21" fmla="*/ 0 h 66"/>
                <a:gd name="T22" fmla="*/ 0 w 248"/>
                <a:gd name="T23" fmla="*/ 0 h 66"/>
                <a:gd name="T24" fmla="*/ 0 w 248"/>
                <a:gd name="T25" fmla="*/ 66 h 66"/>
                <a:gd name="T26" fmla="*/ 248 w 248"/>
                <a:gd name="T27" fmla="*/ 66 h 66"/>
                <a:gd name="T28" fmla="*/ 248 w 248"/>
                <a:gd name="T29" fmla="*/ 66 h 66"/>
                <a:gd name="T30" fmla="*/ 245 w 248"/>
                <a:gd name="T3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66">
                  <a:moveTo>
                    <a:pt x="245" y="66"/>
                  </a:moveTo>
                  <a:lnTo>
                    <a:pt x="245" y="63"/>
                  </a:lnTo>
                  <a:lnTo>
                    <a:pt x="3" y="63"/>
                  </a:lnTo>
                  <a:lnTo>
                    <a:pt x="3" y="3"/>
                  </a:lnTo>
                  <a:lnTo>
                    <a:pt x="245" y="3"/>
                  </a:lnTo>
                  <a:lnTo>
                    <a:pt x="245" y="66"/>
                  </a:lnTo>
                  <a:lnTo>
                    <a:pt x="245" y="66"/>
                  </a:lnTo>
                  <a:lnTo>
                    <a:pt x="245" y="63"/>
                  </a:lnTo>
                  <a:lnTo>
                    <a:pt x="245" y="66"/>
                  </a:lnTo>
                  <a:lnTo>
                    <a:pt x="248" y="66"/>
                  </a:lnTo>
                  <a:lnTo>
                    <a:pt x="248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45" y="6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1" name="Freeform 1405">
              <a:extLst>
                <a:ext uri="{FF2B5EF4-FFF2-40B4-BE49-F238E27FC236}">
                  <a16:creationId xmlns:a16="http://schemas.microsoft.com/office/drawing/2014/main" id="{520A72FE-DFFC-4FF4-885B-BD9CFA8B2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2487"/>
              <a:ext cx="17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2" name="Freeform 1406">
              <a:extLst>
                <a:ext uri="{FF2B5EF4-FFF2-40B4-BE49-F238E27FC236}">
                  <a16:creationId xmlns:a16="http://schemas.microsoft.com/office/drawing/2014/main" id="{403BB876-2F70-4390-AA57-FEA3DDAEA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2484"/>
              <a:ext cx="17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7 w 7"/>
                <a:gd name="T17" fmla="*/ 1 h 5"/>
                <a:gd name="T18" fmla="*/ 6 w 7"/>
                <a:gd name="T19" fmla="*/ 1 h 5"/>
                <a:gd name="T20" fmla="*/ 6 w 7"/>
                <a:gd name="T21" fmla="*/ 1 h 5"/>
                <a:gd name="T22" fmla="*/ 7 w 7"/>
                <a:gd name="T23" fmla="*/ 1 h 5"/>
                <a:gd name="T24" fmla="*/ 6 w 7"/>
                <a:gd name="T25" fmla="*/ 1 h 5"/>
                <a:gd name="T26" fmla="*/ 6 w 7"/>
                <a:gd name="T27" fmla="*/ 1 h 5"/>
                <a:gd name="T28" fmla="*/ 4 w 7"/>
                <a:gd name="T29" fmla="*/ 4 h 5"/>
                <a:gd name="T30" fmla="*/ 4 w 7"/>
                <a:gd name="T31" fmla="*/ 4 h 5"/>
                <a:gd name="T32" fmla="*/ 4 w 7"/>
                <a:gd name="T33" fmla="*/ 5 h 5"/>
                <a:gd name="T34" fmla="*/ 7 w 7"/>
                <a:gd name="T35" fmla="*/ 1 h 5"/>
                <a:gd name="T36" fmla="*/ 7 w 7"/>
                <a:gd name="T37" fmla="*/ 1 h 5"/>
                <a:gd name="T38" fmla="*/ 7 w 7"/>
                <a:gd name="T39" fmla="*/ 1 h 5"/>
                <a:gd name="T40" fmla="*/ 7 w 7"/>
                <a:gd name="T41" fmla="*/ 1 h 5"/>
                <a:gd name="T42" fmla="*/ 7 w 7"/>
                <a:gd name="T43" fmla="*/ 1 h 5"/>
                <a:gd name="T44" fmla="*/ 7 w 7"/>
                <a:gd name="T45" fmla="*/ 1 h 5"/>
                <a:gd name="T46" fmla="*/ 7 w 7"/>
                <a:gd name="T47" fmla="*/ 1 h 5"/>
                <a:gd name="T48" fmla="*/ 7 w 7"/>
                <a:gd name="T49" fmla="*/ 0 h 5"/>
                <a:gd name="T50" fmla="*/ 0 w 7"/>
                <a:gd name="T51" fmla="*/ 0 h 5"/>
                <a:gd name="T52" fmla="*/ 0 w 7"/>
                <a:gd name="T53" fmla="*/ 1 h 5"/>
                <a:gd name="T54" fmla="*/ 4 w 7"/>
                <a:gd name="T55" fmla="*/ 5 h 5"/>
                <a:gd name="T56" fmla="*/ 4 w 7"/>
                <a:gd name="T5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3" name="Freeform 1407">
              <a:extLst>
                <a:ext uri="{FF2B5EF4-FFF2-40B4-BE49-F238E27FC236}">
                  <a16:creationId xmlns:a16="http://schemas.microsoft.com/office/drawing/2014/main" id="{76F0CB2F-4666-4474-AA72-9C0293815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4" name="Freeform 1408">
              <a:extLst>
                <a:ext uri="{FF2B5EF4-FFF2-40B4-BE49-F238E27FC236}">
                  <a16:creationId xmlns:a16="http://schemas.microsoft.com/office/drawing/2014/main" id="{93D4EA2E-B531-4AD5-A4F4-C7185DF09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5" name="Freeform 1409">
              <a:extLst>
                <a:ext uri="{FF2B5EF4-FFF2-40B4-BE49-F238E27FC236}">
                  <a16:creationId xmlns:a16="http://schemas.microsoft.com/office/drawing/2014/main" id="{9ABF0DC8-EE55-4700-8E58-EAF109C90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6" name="Freeform 1410">
              <a:extLst>
                <a:ext uri="{FF2B5EF4-FFF2-40B4-BE49-F238E27FC236}">
                  <a16:creationId xmlns:a16="http://schemas.microsoft.com/office/drawing/2014/main" id="{7927DF16-9513-4893-B64C-ECEBB064C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1 w 7"/>
                <a:gd name="T7" fmla="*/ 1 h 5"/>
                <a:gd name="T8" fmla="*/ 1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7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39" name="Group 1612">
            <a:extLst>
              <a:ext uri="{FF2B5EF4-FFF2-40B4-BE49-F238E27FC236}">
                <a16:creationId xmlns:a16="http://schemas.microsoft.com/office/drawing/2014/main" id="{58DCD3E6-B76A-4391-A5EE-06174A3F5654}"/>
              </a:ext>
            </a:extLst>
          </p:cNvPr>
          <p:cNvGrpSpPr>
            <a:grpSpLocks/>
          </p:cNvGrpSpPr>
          <p:nvPr/>
        </p:nvGrpSpPr>
        <p:grpSpPr bwMode="auto">
          <a:xfrm>
            <a:off x="3972325" y="4283981"/>
            <a:ext cx="2576074" cy="194757"/>
            <a:chOff x="2442" y="2409"/>
            <a:chExt cx="1164" cy="88"/>
          </a:xfrm>
        </p:grpSpPr>
        <p:sp>
          <p:nvSpPr>
            <p:cNvPr id="937" name="Freeform 1412">
              <a:extLst>
                <a:ext uri="{FF2B5EF4-FFF2-40B4-BE49-F238E27FC236}">
                  <a16:creationId xmlns:a16="http://schemas.microsoft.com/office/drawing/2014/main" id="{DD7FBDC3-42BB-424F-8E79-6C5155DF7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2487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8" name="Freeform 1413">
              <a:extLst>
                <a:ext uri="{FF2B5EF4-FFF2-40B4-BE49-F238E27FC236}">
                  <a16:creationId xmlns:a16="http://schemas.microsoft.com/office/drawing/2014/main" id="{BFD6271F-6EC3-4D96-BD24-3FF049639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7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9" name="Freeform 1414">
              <a:extLst>
                <a:ext uri="{FF2B5EF4-FFF2-40B4-BE49-F238E27FC236}">
                  <a16:creationId xmlns:a16="http://schemas.microsoft.com/office/drawing/2014/main" id="{44FB35E1-735C-44A4-8C7E-44F50A71E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0" name="Freeform 1415">
              <a:extLst>
                <a:ext uri="{FF2B5EF4-FFF2-40B4-BE49-F238E27FC236}">
                  <a16:creationId xmlns:a16="http://schemas.microsoft.com/office/drawing/2014/main" id="{21ADF81D-6657-4F6F-B645-74D90258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5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1" name="Freeform 1416">
              <a:extLst>
                <a:ext uri="{FF2B5EF4-FFF2-40B4-BE49-F238E27FC236}">
                  <a16:creationId xmlns:a16="http://schemas.microsoft.com/office/drawing/2014/main" id="{0E9D87A8-E817-4203-9F4C-C2BF06ACF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2" name="Freeform 1417">
              <a:extLst>
                <a:ext uri="{FF2B5EF4-FFF2-40B4-BE49-F238E27FC236}">
                  <a16:creationId xmlns:a16="http://schemas.microsoft.com/office/drawing/2014/main" id="{FDCF99B6-4152-4955-A61F-02ACE97B3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84"/>
              <a:ext cx="21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0 w 8"/>
                <a:gd name="T13" fmla="*/ 1 h 5"/>
                <a:gd name="T14" fmla="*/ 4 w 8"/>
                <a:gd name="T15" fmla="*/ 5 h 5"/>
                <a:gd name="T16" fmla="*/ 4 w 8"/>
                <a:gd name="T17" fmla="*/ 4 h 5"/>
                <a:gd name="T18" fmla="*/ 4 w 8"/>
                <a:gd name="T19" fmla="*/ 4 h 5"/>
                <a:gd name="T20" fmla="*/ 1 w 8"/>
                <a:gd name="T21" fmla="*/ 1 h 5"/>
                <a:gd name="T22" fmla="*/ 1 w 8"/>
                <a:gd name="T23" fmla="*/ 1 h 5"/>
                <a:gd name="T24" fmla="*/ 1 w 8"/>
                <a:gd name="T25" fmla="*/ 1 h 5"/>
                <a:gd name="T26" fmla="*/ 1 w 8"/>
                <a:gd name="T27" fmla="*/ 1 h 5"/>
                <a:gd name="T28" fmla="*/ 1 w 8"/>
                <a:gd name="T29" fmla="*/ 1 h 5"/>
                <a:gd name="T30" fmla="*/ 1 w 8"/>
                <a:gd name="T31" fmla="*/ 1 h 5"/>
                <a:gd name="T32" fmla="*/ 1 w 8"/>
                <a:gd name="T33" fmla="*/ 1 h 5"/>
                <a:gd name="T34" fmla="*/ 1 w 8"/>
                <a:gd name="T35" fmla="*/ 1 h 5"/>
                <a:gd name="T36" fmla="*/ 7 w 8"/>
                <a:gd name="T37" fmla="*/ 1 h 5"/>
                <a:gd name="T38" fmla="*/ 7 w 8"/>
                <a:gd name="T39" fmla="*/ 1 h 5"/>
                <a:gd name="T40" fmla="*/ 7 w 8"/>
                <a:gd name="T41" fmla="*/ 1 h 5"/>
                <a:gd name="T42" fmla="*/ 4 w 8"/>
                <a:gd name="T4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3" name="Freeform 1418">
              <a:extLst>
                <a:ext uri="{FF2B5EF4-FFF2-40B4-BE49-F238E27FC236}">
                  <a16:creationId xmlns:a16="http://schemas.microsoft.com/office/drawing/2014/main" id="{ED06CE41-8792-4D2E-9931-1F1A3DE1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4" name="Line 1419">
              <a:extLst>
                <a:ext uri="{FF2B5EF4-FFF2-40B4-BE49-F238E27FC236}">
                  <a16:creationId xmlns:a16="http://schemas.microsoft.com/office/drawing/2014/main" id="{AA116822-C796-4C66-84E4-CCB561186E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3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5" name="Rectangle 1420">
              <a:extLst>
                <a:ext uri="{FF2B5EF4-FFF2-40B4-BE49-F238E27FC236}">
                  <a16:creationId xmlns:a16="http://schemas.microsoft.com/office/drawing/2014/main" id="{A440ACF4-8685-4DAE-97C1-5EDC18231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3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6" name="Freeform 1421">
              <a:extLst>
                <a:ext uri="{FF2B5EF4-FFF2-40B4-BE49-F238E27FC236}">
                  <a16:creationId xmlns:a16="http://schemas.microsoft.com/office/drawing/2014/main" id="{74265038-8DC0-4C6F-B571-6ED0BCEDB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7" name="Freeform 1422">
              <a:extLst>
                <a:ext uri="{FF2B5EF4-FFF2-40B4-BE49-F238E27FC236}">
                  <a16:creationId xmlns:a16="http://schemas.microsoft.com/office/drawing/2014/main" id="{20AC1091-9916-4504-92E5-F253785E2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8" name="Line 1423">
              <a:extLst>
                <a:ext uri="{FF2B5EF4-FFF2-40B4-BE49-F238E27FC236}">
                  <a16:creationId xmlns:a16="http://schemas.microsoft.com/office/drawing/2014/main" id="{47585E11-4365-4162-BB7F-789E13BFD8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5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9" name="Rectangle 1424">
              <a:extLst>
                <a:ext uri="{FF2B5EF4-FFF2-40B4-BE49-F238E27FC236}">
                  <a16:creationId xmlns:a16="http://schemas.microsoft.com/office/drawing/2014/main" id="{A76A43C1-6928-4DCF-BABF-6DDDDEC8D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0" name="Freeform 1425">
              <a:extLst>
                <a:ext uri="{FF2B5EF4-FFF2-40B4-BE49-F238E27FC236}">
                  <a16:creationId xmlns:a16="http://schemas.microsoft.com/office/drawing/2014/main" id="{564C8EBB-9713-4D22-AF90-8D2109373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1" name="Freeform 1426">
              <a:extLst>
                <a:ext uri="{FF2B5EF4-FFF2-40B4-BE49-F238E27FC236}">
                  <a16:creationId xmlns:a16="http://schemas.microsoft.com/office/drawing/2014/main" id="{81FF3570-7541-462A-B68E-F8D68B582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2" name="Line 1427">
              <a:extLst>
                <a:ext uri="{FF2B5EF4-FFF2-40B4-BE49-F238E27FC236}">
                  <a16:creationId xmlns:a16="http://schemas.microsoft.com/office/drawing/2014/main" id="{DC1A1283-602A-4E7D-8B73-976828A3E8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5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3" name="Rectangle 1428">
              <a:extLst>
                <a:ext uri="{FF2B5EF4-FFF2-40B4-BE49-F238E27FC236}">
                  <a16:creationId xmlns:a16="http://schemas.microsoft.com/office/drawing/2014/main" id="{00ADABAF-6805-4C56-9E97-E97D08957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5" y="2431"/>
              <a:ext cx="1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4" name="Freeform 1429">
              <a:extLst>
                <a:ext uri="{FF2B5EF4-FFF2-40B4-BE49-F238E27FC236}">
                  <a16:creationId xmlns:a16="http://schemas.microsoft.com/office/drawing/2014/main" id="{93D945F9-811A-4CA8-9B42-D94CBC08A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38 h 38"/>
                <a:gd name="T3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3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5" name="Freeform 1430">
              <a:extLst>
                <a:ext uri="{FF2B5EF4-FFF2-40B4-BE49-F238E27FC236}">
                  <a16:creationId xmlns:a16="http://schemas.microsoft.com/office/drawing/2014/main" id="{0ACF32C4-8C07-4EAA-B1AF-8BC65098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6" name="Line 1431">
              <a:extLst>
                <a:ext uri="{FF2B5EF4-FFF2-40B4-BE49-F238E27FC236}">
                  <a16:creationId xmlns:a16="http://schemas.microsoft.com/office/drawing/2014/main" id="{49488CAC-093F-4050-A99C-6B3DEFC42D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7" name="Rectangle 1432">
              <a:extLst>
                <a:ext uri="{FF2B5EF4-FFF2-40B4-BE49-F238E27FC236}">
                  <a16:creationId xmlns:a16="http://schemas.microsoft.com/office/drawing/2014/main" id="{535A83F5-DBC3-491E-9055-B6DA611E6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6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8" name="Freeform 1433">
              <a:extLst>
                <a:ext uri="{FF2B5EF4-FFF2-40B4-BE49-F238E27FC236}">
                  <a16:creationId xmlns:a16="http://schemas.microsoft.com/office/drawing/2014/main" id="{012A6926-5F6C-4F77-8C2E-716C0321A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9" name="Freeform 1434">
              <a:extLst>
                <a:ext uri="{FF2B5EF4-FFF2-40B4-BE49-F238E27FC236}">
                  <a16:creationId xmlns:a16="http://schemas.microsoft.com/office/drawing/2014/main" id="{7CE8209E-B039-4807-8DAD-E1AB4582E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0" name="Line 1435">
              <a:extLst>
                <a:ext uri="{FF2B5EF4-FFF2-40B4-BE49-F238E27FC236}">
                  <a16:creationId xmlns:a16="http://schemas.microsoft.com/office/drawing/2014/main" id="{56A007A6-EE54-4270-ACB2-8156CD0652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8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1" name="Rectangle 1436">
              <a:extLst>
                <a:ext uri="{FF2B5EF4-FFF2-40B4-BE49-F238E27FC236}">
                  <a16:creationId xmlns:a16="http://schemas.microsoft.com/office/drawing/2014/main" id="{88D9EF94-4EFD-413B-8093-3517925DF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2" name="Freeform 1437">
              <a:extLst>
                <a:ext uri="{FF2B5EF4-FFF2-40B4-BE49-F238E27FC236}">
                  <a16:creationId xmlns:a16="http://schemas.microsoft.com/office/drawing/2014/main" id="{0BB36B66-9142-4A1A-9311-34C1A0C9C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6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3" name="Freeform 1438">
              <a:extLst>
                <a:ext uri="{FF2B5EF4-FFF2-40B4-BE49-F238E27FC236}">
                  <a16:creationId xmlns:a16="http://schemas.microsoft.com/office/drawing/2014/main" id="{F4FD9640-461C-4F16-BA09-691E682A0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4" name="Line 1439">
              <a:extLst>
                <a:ext uri="{FF2B5EF4-FFF2-40B4-BE49-F238E27FC236}">
                  <a16:creationId xmlns:a16="http://schemas.microsoft.com/office/drawing/2014/main" id="{362E0552-3C7B-4BE8-A36E-F3768580D1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8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5" name="Rectangle 1440">
              <a:extLst>
                <a:ext uri="{FF2B5EF4-FFF2-40B4-BE49-F238E27FC236}">
                  <a16:creationId xmlns:a16="http://schemas.microsoft.com/office/drawing/2014/main" id="{7451FA58-9BE8-413C-B07F-FF4AE0B5F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8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6" name="Freeform 1441">
              <a:extLst>
                <a:ext uri="{FF2B5EF4-FFF2-40B4-BE49-F238E27FC236}">
                  <a16:creationId xmlns:a16="http://schemas.microsoft.com/office/drawing/2014/main" id="{E7389758-921E-4F89-9619-180E13F88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7" name="Freeform 1442">
              <a:extLst>
                <a:ext uri="{FF2B5EF4-FFF2-40B4-BE49-F238E27FC236}">
                  <a16:creationId xmlns:a16="http://schemas.microsoft.com/office/drawing/2014/main" id="{F70B21A1-6271-46DC-8388-7EF474D65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8" name="Line 1443">
              <a:extLst>
                <a:ext uri="{FF2B5EF4-FFF2-40B4-BE49-F238E27FC236}">
                  <a16:creationId xmlns:a16="http://schemas.microsoft.com/office/drawing/2014/main" id="{8B0A2DD7-512F-405A-A01C-C774341D3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5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9" name="Rectangle 1444">
              <a:extLst>
                <a:ext uri="{FF2B5EF4-FFF2-40B4-BE49-F238E27FC236}">
                  <a16:creationId xmlns:a16="http://schemas.microsoft.com/office/drawing/2014/main" id="{7BEA252B-DFE4-4857-8A36-0522AF51B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0" name="Freeform 1445">
              <a:extLst>
                <a:ext uri="{FF2B5EF4-FFF2-40B4-BE49-F238E27FC236}">
                  <a16:creationId xmlns:a16="http://schemas.microsoft.com/office/drawing/2014/main" id="{7086834D-0000-4543-9B1B-BB6D8BD5E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8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1" name="Freeform 1446">
              <a:extLst>
                <a:ext uri="{FF2B5EF4-FFF2-40B4-BE49-F238E27FC236}">
                  <a16:creationId xmlns:a16="http://schemas.microsoft.com/office/drawing/2014/main" id="{37F87D0D-0C6B-4EDD-88A3-7C3602FF6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2" name="Line 1447">
              <a:extLst>
                <a:ext uri="{FF2B5EF4-FFF2-40B4-BE49-F238E27FC236}">
                  <a16:creationId xmlns:a16="http://schemas.microsoft.com/office/drawing/2014/main" id="{9ED9787C-3E3C-44CD-ABA3-73CB228E3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3" name="Rectangle 1448">
              <a:extLst>
                <a:ext uri="{FF2B5EF4-FFF2-40B4-BE49-F238E27FC236}">
                  <a16:creationId xmlns:a16="http://schemas.microsoft.com/office/drawing/2014/main" id="{F95B15A3-4DBA-48E1-91AE-3CAB71010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1" y="2431"/>
              <a:ext cx="1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4" name="Freeform 1449">
              <a:extLst>
                <a:ext uri="{FF2B5EF4-FFF2-40B4-BE49-F238E27FC236}">
                  <a16:creationId xmlns:a16="http://schemas.microsoft.com/office/drawing/2014/main" id="{BBBE10A5-CE9A-40F6-AD41-F1F01B10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38 h 38"/>
                <a:gd name="T3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3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5" name="Freeform 1450">
              <a:extLst>
                <a:ext uri="{FF2B5EF4-FFF2-40B4-BE49-F238E27FC236}">
                  <a16:creationId xmlns:a16="http://schemas.microsoft.com/office/drawing/2014/main" id="{28F0E5BA-73BD-45E7-BA33-BF2256120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6" name="Line 1451">
              <a:extLst>
                <a:ext uri="{FF2B5EF4-FFF2-40B4-BE49-F238E27FC236}">
                  <a16:creationId xmlns:a16="http://schemas.microsoft.com/office/drawing/2014/main" id="{6E95D343-A7AF-455D-9115-AAC25C48DF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7" name="Rectangle 1452">
              <a:extLst>
                <a:ext uri="{FF2B5EF4-FFF2-40B4-BE49-F238E27FC236}">
                  <a16:creationId xmlns:a16="http://schemas.microsoft.com/office/drawing/2014/main" id="{233B4A15-4206-47A6-A465-4C151667A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1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8" name="Freeform 1453">
              <a:extLst>
                <a:ext uri="{FF2B5EF4-FFF2-40B4-BE49-F238E27FC236}">
                  <a16:creationId xmlns:a16="http://schemas.microsoft.com/office/drawing/2014/main" id="{EBC46A14-D77B-409D-8840-B94D63B96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9" name="Freeform 1454">
              <a:extLst>
                <a:ext uri="{FF2B5EF4-FFF2-40B4-BE49-F238E27FC236}">
                  <a16:creationId xmlns:a16="http://schemas.microsoft.com/office/drawing/2014/main" id="{0F941E37-FBA4-4F57-A331-DFC231040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0" name="Line 1455">
              <a:extLst>
                <a:ext uri="{FF2B5EF4-FFF2-40B4-BE49-F238E27FC236}">
                  <a16:creationId xmlns:a16="http://schemas.microsoft.com/office/drawing/2014/main" id="{ADF5DCA6-5A1E-4514-823E-FDEE98634D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4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1" name="Rectangle 1456">
              <a:extLst>
                <a:ext uri="{FF2B5EF4-FFF2-40B4-BE49-F238E27FC236}">
                  <a16:creationId xmlns:a16="http://schemas.microsoft.com/office/drawing/2014/main" id="{D6A35DA0-BF38-4032-B4AF-F2306AEB7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1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2" name="Freeform 1457">
              <a:extLst>
                <a:ext uri="{FF2B5EF4-FFF2-40B4-BE49-F238E27FC236}">
                  <a16:creationId xmlns:a16="http://schemas.microsoft.com/office/drawing/2014/main" id="{A0C7BF69-E540-497F-A56D-9783D7C86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3" name="Freeform 1458">
              <a:extLst>
                <a:ext uri="{FF2B5EF4-FFF2-40B4-BE49-F238E27FC236}">
                  <a16:creationId xmlns:a16="http://schemas.microsoft.com/office/drawing/2014/main" id="{EAAB6F48-BCA0-44BF-A165-BEE406247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4" name="Line 1459">
              <a:extLst>
                <a:ext uri="{FF2B5EF4-FFF2-40B4-BE49-F238E27FC236}">
                  <a16:creationId xmlns:a16="http://schemas.microsoft.com/office/drawing/2014/main" id="{2FAF5767-611F-4A7D-B7C4-2B1102CCC1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94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5" name="Rectangle 1460">
              <a:extLst>
                <a:ext uri="{FF2B5EF4-FFF2-40B4-BE49-F238E27FC236}">
                  <a16:creationId xmlns:a16="http://schemas.microsoft.com/office/drawing/2014/main" id="{2B5D23DE-315D-4042-8814-EB07D8CC2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4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6" name="Freeform 1461">
              <a:extLst>
                <a:ext uri="{FF2B5EF4-FFF2-40B4-BE49-F238E27FC236}">
                  <a16:creationId xmlns:a16="http://schemas.microsoft.com/office/drawing/2014/main" id="{19E05019-5125-4847-9AFF-1A96D63B1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7" name="Freeform 1462">
              <a:extLst>
                <a:ext uri="{FF2B5EF4-FFF2-40B4-BE49-F238E27FC236}">
                  <a16:creationId xmlns:a16="http://schemas.microsoft.com/office/drawing/2014/main" id="{BF032EFF-989B-4B23-9EC4-93B4DAA11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8" name="Line 1463">
              <a:extLst>
                <a:ext uri="{FF2B5EF4-FFF2-40B4-BE49-F238E27FC236}">
                  <a16:creationId xmlns:a16="http://schemas.microsoft.com/office/drawing/2014/main" id="{FF1F377C-5A0C-420A-9DBD-287DA2A57E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9" name="Rectangle 1464">
              <a:extLst>
                <a:ext uri="{FF2B5EF4-FFF2-40B4-BE49-F238E27FC236}">
                  <a16:creationId xmlns:a16="http://schemas.microsoft.com/office/drawing/2014/main" id="{BFFEC958-90E1-4992-A9CC-DEC0CFE4D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4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0" name="Freeform 1465">
              <a:extLst>
                <a:ext uri="{FF2B5EF4-FFF2-40B4-BE49-F238E27FC236}">
                  <a16:creationId xmlns:a16="http://schemas.microsoft.com/office/drawing/2014/main" id="{C18573A9-F00C-46AB-850F-FEC654889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4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1" name="Freeform 1466">
              <a:extLst>
                <a:ext uri="{FF2B5EF4-FFF2-40B4-BE49-F238E27FC236}">
                  <a16:creationId xmlns:a16="http://schemas.microsoft.com/office/drawing/2014/main" id="{ABBFB519-5963-4155-84AC-02AB69F5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2" name="Line 1467">
              <a:extLst>
                <a:ext uri="{FF2B5EF4-FFF2-40B4-BE49-F238E27FC236}">
                  <a16:creationId xmlns:a16="http://schemas.microsoft.com/office/drawing/2014/main" id="{F354576D-F090-4B36-BEB5-CBDD928C62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3" name="Rectangle 1468">
              <a:extLst>
                <a:ext uri="{FF2B5EF4-FFF2-40B4-BE49-F238E27FC236}">
                  <a16:creationId xmlns:a16="http://schemas.microsoft.com/office/drawing/2014/main" id="{80DCA717-0AB6-4C3A-B62C-4E4F6950C6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4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4" name="Freeform 1469">
              <a:extLst>
                <a:ext uri="{FF2B5EF4-FFF2-40B4-BE49-F238E27FC236}">
                  <a16:creationId xmlns:a16="http://schemas.microsoft.com/office/drawing/2014/main" id="{A909CE0D-39C9-46BD-9136-BBC2F58FE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5" name="Freeform 1470">
              <a:extLst>
                <a:ext uri="{FF2B5EF4-FFF2-40B4-BE49-F238E27FC236}">
                  <a16:creationId xmlns:a16="http://schemas.microsoft.com/office/drawing/2014/main" id="{908467AA-4540-4196-ADFA-5BE13EFE4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6" name="Line 1471">
              <a:extLst>
                <a:ext uri="{FF2B5EF4-FFF2-40B4-BE49-F238E27FC236}">
                  <a16:creationId xmlns:a16="http://schemas.microsoft.com/office/drawing/2014/main" id="{4681A7AF-30A1-42C5-8972-47E8CF0E20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7" name="Rectangle 1472">
              <a:extLst>
                <a:ext uri="{FF2B5EF4-FFF2-40B4-BE49-F238E27FC236}">
                  <a16:creationId xmlns:a16="http://schemas.microsoft.com/office/drawing/2014/main" id="{75F36E9E-434E-4DF3-BE4E-BBCD8423F8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8" name="Freeform 1473">
              <a:extLst>
                <a:ext uri="{FF2B5EF4-FFF2-40B4-BE49-F238E27FC236}">
                  <a16:creationId xmlns:a16="http://schemas.microsoft.com/office/drawing/2014/main" id="{149ACC3C-209C-4F49-88B0-996B6EB83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9" name="Freeform 1474">
              <a:extLst>
                <a:ext uri="{FF2B5EF4-FFF2-40B4-BE49-F238E27FC236}">
                  <a16:creationId xmlns:a16="http://schemas.microsoft.com/office/drawing/2014/main" id="{91CB91D9-4345-4E91-9100-8BB198436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0" name="Line 1475">
              <a:extLst>
                <a:ext uri="{FF2B5EF4-FFF2-40B4-BE49-F238E27FC236}">
                  <a16:creationId xmlns:a16="http://schemas.microsoft.com/office/drawing/2014/main" id="{F6311311-2CF7-40D9-A85B-ACA510B66A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9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1" name="Rectangle 1476">
              <a:extLst>
                <a:ext uri="{FF2B5EF4-FFF2-40B4-BE49-F238E27FC236}">
                  <a16:creationId xmlns:a16="http://schemas.microsoft.com/office/drawing/2014/main" id="{9B5EB510-4A88-461F-8B37-C35F9D8A3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7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2" name="Freeform 1477">
              <a:extLst>
                <a:ext uri="{FF2B5EF4-FFF2-40B4-BE49-F238E27FC236}">
                  <a16:creationId xmlns:a16="http://schemas.microsoft.com/office/drawing/2014/main" id="{7D2FD29E-E022-459E-BEC1-073C32F40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7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3" name="Freeform 1478">
              <a:extLst>
                <a:ext uri="{FF2B5EF4-FFF2-40B4-BE49-F238E27FC236}">
                  <a16:creationId xmlns:a16="http://schemas.microsoft.com/office/drawing/2014/main" id="{D4C31481-F0E2-468F-B3A7-74FC83B97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0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4" name="Line 1479">
              <a:extLst>
                <a:ext uri="{FF2B5EF4-FFF2-40B4-BE49-F238E27FC236}">
                  <a16:creationId xmlns:a16="http://schemas.microsoft.com/office/drawing/2014/main" id="{5BC918CB-57B9-498F-A199-957BA31C50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0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5" name="Rectangle 1480">
              <a:extLst>
                <a:ext uri="{FF2B5EF4-FFF2-40B4-BE49-F238E27FC236}">
                  <a16:creationId xmlns:a16="http://schemas.microsoft.com/office/drawing/2014/main" id="{292B722D-962A-4BED-B72C-F2A5F7F36C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0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6" name="Freeform 1481">
              <a:extLst>
                <a:ext uri="{FF2B5EF4-FFF2-40B4-BE49-F238E27FC236}">
                  <a16:creationId xmlns:a16="http://schemas.microsoft.com/office/drawing/2014/main" id="{3627E3FB-59ED-413B-90C5-8366CC30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0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7" name="Freeform 1482">
              <a:extLst>
                <a:ext uri="{FF2B5EF4-FFF2-40B4-BE49-F238E27FC236}">
                  <a16:creationId xmlns:a16="http://schemas.microsoft.com/office/drawing/2014/main" id="{E4949B57-BE61-4417-94CF-6F9E54DC3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8" name="Line 1483">
              <a:extLst>
                <a:ext uri="{FF2B5EF4-FFF2-40B4-BE49-F238E27FC236}">
                  <a16:creationId xmlns:a16="http://schemas.microsoft.com/office/drawing/2014/main" id="{FC9E162F-B9BA-4DEF-B926-AE97613ABF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9" name="Rectangle 1484">
              <a:extLst>
                <a:ext uri="{FF2B5EF4-FFF2-40B4-BE49-F238E27FC236}">
                  <a16:creationId xmlns:a16="http://schemas.microsoft.com/office/drawing/2014/main" id="{C2BAFF45-C676-409D-9AB6-0CDDD64EC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0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0" name="Freeform 1485">
              <a:extLst>
                <a:ext uri="{FF2B5EF4-FFF2-40B4-BE49-F238E27FC236}">
                  <a16:creationId xmlns:a16="http://schemas.microsoft.com/office/drawing/2014/main" id="{F72E8BF5-C0BF-4687-B423-C3F594FD5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0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1" name="Freeform 1486">
              <a:extLst>
                <a:ext uri="{FF2B5EF4-FFF2-40B4-BE49-F238E27FC236}">
                  <a16:creationId xmlns:a16="http://schemas.microsoft.com/office/drawing/2014/main" id="{EF7E0C44-DFAA-4C74-8142-3EE3C447F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2" name="Line 1487">
              <a:extLst>
                <a:ext uri="{FF2B5EF4-FFF2-40B4-BE49-F238E27FC236}">
                  <a16:creationId xmlns:a16="http://schemas.microsoft.com/office/drawing/2014/main" id="{1723B945-32AC-4823-84B9-992A89C009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7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3" name="Rectangle 1488">
              <a:extLst>
                <a:ext uri="{FF2B5EF4-FFF2-40B4-BE49-F238E27FC236}">
                  <a16:creationId xmlns:a16="http://schemas.microsoft.com/office/drawing/2014/main" id="{B0352470-8A54-4D6B-9DB8-D900051AB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0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4" name="Freeform 1489">
              <a:extLst>
                <a:ext uri="{FF2B5EF4-FFF2-40B4-BE49-F238E27FC236}">
                  <a16:creationId xmlns:a16="http://schemas.microsoft.com/office/drawing/2014/main" id="{3C88F9A2-DA3E-44AB-9ADD-FA628A549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5" name="Freeform 1490">
              <a:extLst>
                <a:ext uri="{FF2B5EF4-FFF2-40B4-BE49-F238E27FC236}">
                  <a16:creationId xmlns:a16="http://schemas.microsoft.com/office/drawing/2014/main" id="{BB19E403-102C-4057-83EA-4061D808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6" name="Line 1491">
              <a:extLst>
                <a:ext uri="{FF2B5EF4-FFF2-40B4-BE49-F238E27FC236}">
                  <a16:creationId xmlns:a16="http://schemas.microsoft.com/office/drawing/2014/main" id="{960E0CA7-376C-40CA-B615-8B4B34CB6E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7" name="Rectangle 1492">
              <a:extLst>
                <a:ext uri="{FF2B5EF4-FFF2-40B4-BE49-F238E27FC236}">
                  <a16:creationId xmlns:a16="http://schemas.microsoft.com/office/drawing/2014/main" id="{1C676E38-C75B-41ED-AB85-0DC2A29702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2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8" name="Freeform 1493">
              <a:extLst>
                <a:ext uri="{FF2B5EF4-FFF2-40B4-BE49-F238E27FC236}">
                  <a16:creationId xmlns:a16="http://schemas.microsoft.com/office/drawing/2014/main" id="{202DD9C0-35F0-420E-96B8-8517D45FD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9" name="Freeform 1494">
              <a:extLst>
                <a:ext uri="{FF2B5EF4-FFF2-40B4-BE49-F238E27FC236}">
                  <a16:creationId xmlns:a16="http://schemas.microsoft.com/office/drawing/2014/main" id="{8B9DF37C-4A7B-41F0-877F-65DD6669E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0" name="Line 1495">
              <a:extLst>
                <a:ext uri="{FF2B5EF4-FFF2-40B4-BE49-F238E27FC236}">
                  <a16:creationId xmlns:a16="http://schemas.microsoft.com/office/drawing/2014/main" id="{ED10A793-6C3C-44C3-B48D-C293D56350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5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1" name="Rectangle 1496">
              <a:extLst>
                <a:ext uri="{FF2B5EF4-FFF2-40B4-BE49-F238E27FC236}">
                  <a16:creationId xmlns:a16="http://schemas.microsoft.com/office/drawing/2014/main" id="{57A40BDA-2EE7-4D86-8370-ACD41BFD0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3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2" name="Freeform 1497">
              <a:extLst>
                <a:ext uri="{FF2B5EF4-FFF2-40B4-BE49-F238E27FC236}">
                  <a16:creationId xmlns:a16="http://schemas.microsoft.com/office/drawing/2014/main" id="{5864AD91-005A-43E7-872B-D82FEE5A5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3" name="Freeform 1498">
              <a:extLst>
                <a:ext uri="{FF2B5EF4-FFF2-40B4-BE49-F238E27FC236}">
                  <a16:creationId xmlns:a16="http://schemas.microsoft.com/office/drawing/2014/main" id="{1E6CC8B0-4C8F-495C-A19A-C6E4CC038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2409"/>
              <a:ext cx="210" cy="15"/>
            </a:xfrm>
            <a:custGeom>
              <a:avLst/>
              <a:gdLst>
                <a:gd name="T0" fmla="*/ 0 w 83"/>
                <a:gd name="T1" fmla="*/ 6 h 6"/>
                <a:gd name="T2" fmla="*/ 83 w 83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3" h="6">
                  <a:moveTo>
                    <a:pt x="0" y="6"/>
                  </a:moveTo>
                  <a:cubicBezTo>
                    <a:pt x="22" y="2"/>
                    <a:pt x="53" y="0"/>
                    <a:pt x="8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4" name="Freeform 1499">
              <a:extLst>
                <a:ext uri="{FF2B5EF4-FFF2-40B4-BE49-F238E27FC236}">
                  <a16:creationId xmlns:a16="http://schemas.microsoft.com/office/drawing/2014/main" id="{650DA577-0BCC-4B2C-A09C-4381CBD5B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2414"/>
              <a:ext cx="210" cy="12"/>
            </a:xfrm>
            <a:custGeom>
              <a:avLst/>
              <a:gdLst>
                <a:gd name="T0" fmla="*/ 1 w 83"/>
                <a:gd name="T1" fmla="*/ 4 h 5"/>
                <a:gd name="T2" fmla="*/ 43 w 83"/>
                <a:gd name="T3" fmla="*/ 1 h 5"/>
                <a:gd name="T4" fmla="*/ 83 w 83"/>
                <a:gd name="T5" fmla="*/ 5 h 5"/>
                <a:gd name="T6" fmla="*/ 83 w 83"/>
                <a:gd name="T7" fmla="*/ 4 h 5"/>
                <a:gd name="T8" fmla="*/ 43 w 83"/>
                <a:gd name="T9" fmla="*/ 0 h 5"/>
                <a:gd name="T10" fmla="*/ 0 w 83"/>
                <a:gd name="T11" fmla="*/ 3 h 5"/>
                <a:gd name="T12" fmla="*/ 1 w 83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">
                  <a:moveTo>
                    <a:pt x="1" y="4"/>
                  </a:moveTo>
                  <a:cubicBezTo>
                    <a:pt x="12" y="2"/>
                    <a:pt x="27" y="1"/>
                    <a:pt x="43" y="1"/>
                  </a:cubicBezTo>
                  <a:cubicBezTo>
                    <a:pt x="56" y="1"/>
                    <a:pt x="70" y="2"/>
                    <a:pt x="83" y="5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70" y="1"/>
                    <a:pt x="56" y="0"/>
                    <a:pt x="43" y="0"/>
                  </a:cubicBezTo>
                  <a:cubicBezTo>
                    <a:pt x="27" y="0"/>
                    <a:pt x="1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5" name="Rectangle 1500">
              <a:extLst>
                <a:ext uri="{FF2B5EF4-FFF2-40B4-BE49-F238E27FC236}">
                  <a16:creationId xmlns:a16="http://schemas.microsoft.com/office/drawing/2014/main" id="{3D6B41F2-E591-42BE-84BA-CCB7E3168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" y="2424"/>
              <a:ext cx="245" cy="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6" name="Rectangle 1501">
              <a:extLst>
                <a:ext uri="{FF2B5EF4-FFF2-40B4-BE49-F238E27FC236}">
                  <a16:creationId xmlns:a16="http://schemas.microsoft.com/office/drawing/2014/main" id="{E1D4537E-D5A2-4CFC-9CE5-C11BE8B527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" y="2424"/>
              <a:ext cx="245" cy="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7" name="Freeform 1502">
              <a:extLst>
                <a:ext uri="{FF2B5EF4-FFF2-40B4-BE49-F238E27FC236}">
                  <a16:creationId xmlns:a16="http://schemas.microsoft.com/office/drawing/2014/main" id="{510E5E62-D140-4E72-B5EA-127553312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421"/>
              <a:ext cx="247" cy="66"/>
            </a:xfrm>
            <a:custGeom>
              <a:avLst/>
              <a:gdLst>
                <a:gd name="T0" fmla="*/ 2 w 247"/>
                <a:gd name="T1" fmla="*/ 66 h 66"/>
                <a:gd name="T2" fmla="*/ 2 w 247"/>
                <a:gd name="T3" fmla="*/ 3 h 66"/>
                <a:gd name="T4" fmla="*/ 245 w 247"/>
                <a:gd name="T5" fmla="*/ 3 h 66"/>
                <a:gd name="T6" fmla="*/ 245 w 247"/>
                <a:gd name="T7" fmla="*/ 63 h 66"/>
                <a:gd name="T8" fmla="*/ 0 w 247"/>
                <a:gd name="T9" fmla="*/ 63 h 66"/>
                <a:gd name="T10" fmla="*/ 0 w 247"/>
                <a:gd name="T11" fmla="*/ 66 h 66"/>
                <a:gd name="T12" fmla="*/ 247 w 247"/>
                <a:gd name="T13" fmla="*/ 66 h 66"/>
                <a:gd name="T14" fmla="*/ 247 w 247"/>
                <a:gd name="T15" fmla="*/ 0 h 66"/>
                <a:gd name="T16" fmla="*/ 0 w 247"/>
                <a:gd name="T17" fmla="*/ 0 h 66"/>
                <a:gd name="T18" fmla="*/ 0 w 247"/>
                <a:gd name="T19" fmla="*/ 66 h 66"/>
                <a:gd name="T20" fmla="*/ 2 w 247"/>
                <a:gd name="T21" fmla="*/ 66 h 66"/>
                <a:gd name="T22" fmla="*/ 2 w 247"/>
                <a:gd name="T2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66">
                  <a:moveTo>
                    <a:pt x="2" y="66"/>
                  </a:moveTo>
                  <a:lnTo>
                    <a:pt x="2" y="3"/>
                  </a:lnTo>
                  <a:lnTo>
                    <a:pt x="245" y="3"/>
                  </a:lnTo>
                  <a:lnTo>
                    <a:pt x="245" y="63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247" y="66"/>
                  </a:lnTo>
                  <a:lnTo>
                    <a:pt x="247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8" name="Freeform 1503">
              <a:extLst>
                <a:ext uri="{FF2B5EF4-FFF2-40B4-BE49-F238E27FC236}">
                  <a16:creationId xmlns:a16="http://schemas.microsoft.com/office/drawing/2014/main" id="{58888972-AA34-43AF-942F-A09E2EE36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" y="2487"/>
              <a:ext cx="18" cy="8"/>
            </a:xfrm>
            <a:custGeom>
              <a:avLst/>
              <a:gdLst>
                <a:gd name="T0" fmla="*/ 3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3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9" name="Freeform 1504">
              <a:extLst>
                <a:ext uri="{FF2B5EF4-FFF2-40B4-BE49-F238E27FC236}">
                  <a16:creationId xmlns:a16="http://schemas.microsoft.com/office/drawing/2014/main" id="{469CFA4D-C4FE-451E-B70F-193FDE34E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" y="2484"/>
              <a:ext cx="18" cy="13"/>
            </a:xfrm>
            <a:custGeom>
              <a:avLst/>
              <a:gdLst>
                <a:gd name="T0" fmla="*/ 3 w 7"/>
                <a:gd name="T1" fmla="*/ 4 h 5"/>
                <a:gd name="T2" fmla="*/ 3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3 w 7"/>
                <a:gd name="T17" fmla="*/ 4 h 5"/>
                <a:gd name="T18" fmla="*/ 3 w 7"/>
                <a:gd name="T19" fmla="*/ 4 h 5"/>
                <a:gd name="T20" fmla="*/ 3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3 w 7"/>
                <a:gd name="T31" fmla="*/ 5 h 5"/>
                <a:gd name="T32" fmla="*/ 3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3" y="5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0" name="Freeform 1505">
              <a:extLst>
                <a:ext uri="{FF2B5EF4-FFF2-40B4-BE49-F238E27FC236}">
                  <a16:creationId xmlns:a16="http://schemas.microsoft.com/office/drawing/2014/main" id="{F36646E3-A48E-47A3-A0FA-2E264466A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1" name="Freeform 1506">
              <a:extLst>
                <a:ext uri="{FF2B5EF4-FFF2-40B4-BE49-F238E27FC236}">
                  <a16:creationId xmlns:a16="http://schemas.microsoft.com/office/drawing/2014/main" id="{1B6DEB5C-331F-49B0-900D-085513E6B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2" name="Freeform 1507">
              <a:extLst>
                <a:ext uri="{FF2B5EF4-FFF2-40B4-BE49-F238E27FC236}">
                  <a16:creationId xmlns:a16="http://schemas.microsoft.com/office/drawing/2014/main" id="{ADFDC177-7F59-42AF-A1C0-5C1CB510E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3" name="Freeform 1508">
              <a:extLst>
                <a:ext uri="{FF2B5EF4-FFF2-40B4-BE49-F238E27FC236}">
                  <a16:creationId xmlns:a16="http://schemas.microsoft.com/office/drawing/2014/main" id="{ED51EAAC-81A5-438C-A4EE-BAACAABDB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2484"/>
              <a:ext cx="17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1 w 7"/>
                <a:gd name="T7" fmla="*/ 1 h 5"/>
                <a:gd name="T8" fmla="*/ 1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4" name="Freeform 1509">
              <a:extLst>
                <a:ext uri="{FF2B5EF4-FFF2-40B4-BE49-F238E27FC236}">
                  <a16:creationId xmlns:a16="http://schemas.microsoft.com/office/drawing/2014/main" id="{2BBFB753-983C-434E-A807-2A7188D10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5" name="Freeform 1510">
              <a:extLst>
                <a:ext uri="{FF2B5EF4-FFF2-40B4-BE49-F238E27FC236}">
                  <a16:creationId xmlns:a16="http://schemas.microsoft.com/office/drawing/2014/main" id="{F7740F8D-C7A0-46CA-B69C-2F7559A0F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" y="2484"/>
              <a:ext cx="21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6" name="Freeform 1511">
              <a:extLst>
                <a:ext uri="{FF2B5EF4-FFF2-40B4-BE49-F238E27FC236}">
                  <a16:creationId xmlns:a16="http://schemas.microsoft.com/office/drawing/2014/main" id="{C40D7B71-330D-44C2-BF65-58FAAC500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7" name="Freeform 1512">
              <a:extLst>
                <a:ext uri="{FF2B5EF4-FFF2-40B4-BE49-F238E27FC236}">
                  <a16:creationId xmlns:a16="http://schemas.microsoft.com/office/drawing/2014/main" id="{52AA1A4F-7324-4E9C-82EF-CAA69564A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5 h 5"/>
                <a:gd name="T4" fmla="*/ 8 w 8"/>
                <a:gd name="T5" fmla="*/ 1 h 5"/>
                <a:gd name="T6" fmla="*/ 8 w 8"/>
                <a:gd name="T7" fmla="*/ 0 h 5"/>
                <a:gd name="T8" fmla="*/ 0 w 8"/>
                <a:gd name="T9" fmla="*/ 0 h 5"/>
                <a:gd name="T10" fmla="*/ 0 w 8"/>
                <a:gd name="T11" fmla="*/ 1 h 5"/>
                <a:gd name="T12" fmla="*/ 4 w 8"/>
                <a:gd name="T13" fmla="*/ 5 h 5"/>
                <a:gd name="T14" fmla="*/ 4 w 8"/>
                <a:gd name="T15" fmla="*/ 4 h 5"/>
                <a:gd name="T16" fmla="*/ 4 w 8"/>
                <a:gd name="T17" fmla="*/ 4 h 5"/>
                <a:gd name="T18" fmla="*/ 1 w 8"/>
                <a:gd name="T19" fmla="*/ 1 h 5"/>
                <a:gd name="T20" fmla="*/ 1 w 8"/>
                <a:gd name="T21" fmla="*/ 1 h 5"/>
                <a:gd name="T22" fmla="*/ 1 w 8"/>
                <a:gd name="T23" fmla="*/ 1 h 5"/>
                <a:gd name="T24" fmla="*/ 7 w 8"/>
                <a:gd name="T25" fmla="*/ 1 h 5"/>
                <a:gd name="T26" fmla="*/ 7 w 8"/>
                <a:gd name="T27" fmla="*/ 1 h 5"/>
                <a:gd name="T28" fmla="*/ 7 w 8"/>
                <a:gd name="T29" fmla="*/ 1 h 5"/>
                <a:gd name="T30" fmla="*/ 4 w 8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8" name="Freeform 1513">
              <a:extLst>
                <a:ext uri="{FF2B5EF4-FFF2-40B4-BE49-F238E27FC236}">
                  <a16:creationId xmlns:a16="http://schemas.microsoft.com/office/drawing/2014/main" id="{12F8D220-BBB2-4B2C-B16B-0335B4F8D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5" y="2487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5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9" name="Freeform 1514">
              <a:extLst>
                <a:ext uri="{FF2B5EF4-FFF2-40B4-BE49-F238E27FC236}">
                  <a16:creationId xmlns:a16="http://schemas.microsoft.com/office/drawing/2014/main" id="{97FEB4C9-8BB7-49D5-B433-8159F1C02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5 h 5"/>
                <a:gd name="T4" fmla="*/ 7 w 7"/>
                <a:gd name="T5" fmla="*/ 1 h 5"/>
                <a:gd name="T6" fmla="*/ 7 w 7"/>
                <a:gd name="T7" fmla="*/ 0 h 5"/>
                <a:gd name="T8" fmla="*/ 0 w 7"/>
                <a:gd name="T9" fmla="*/ 0 h 5"/>
                <a:gd name="T10" fmla="*/ 0 w 7"/>
                <a:gd name="T11" fmla="*/ 1 h 5"/>
                <a:gd name="T12" fmla="*/ 4 w 7"/>
                <a:gd name="T13" fmla="*/ 5 h 5"/>
                <a:gd name="T14" fmla="*/ 4 w 7"/>
                <a:gd name="T15" fmla="*/ 4 h 5"/>
                <a:gd name="T16" fmla="*/ 4 w 7"/>
                <a:gd name="T17" fmla="*/ 4 h 5"/>
                <a:gd name="T18" fmla="*/ 1 w 7"/>
                <a:gd name="T19" fmla="*/ 1 h 5"/>
                <a:gd name="T20" fmla="*/ 1 w 7"/>
                <a:gd name="T21" fmla="*/ 1 h 5"/>
                <a:gd name="T22" fmla="*/ 1 w 7"/>
                <a:gd name="T23" fmla="*/ 1 h 5"/>
                <a:gd name="T24" fmla="*/ 7 w 7"/>
                <a:gd name="T25" fmla="*/ 1 h 5"/>
                <a:gd name="T26" fmla="*/ 7 w 7"/>
                <a:gd name="T27" fmla="*/ 1 h 5"/>
                <a:gd name="T28" fmla="*/ 7 w 7"/>
                <a:gd name="T29" fmla="*/ 1 h 5"/>
                <a:gd name="T30" fmla="*/ 4 w 7"/>
                <a:gd name="T3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0" name="Freeform 1515">
              <a:extLst>
                <a:ext uri="{FF2B5EF4-FFF2-40B4-BE49-F238E27FC236}">
                  <a16:creationId xmlns:a16="http://schemas.microsoft.com/office/drawing/2014/main" id="{33078C0A-C50A-4CAA-BEEA-317EF5040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3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1" name="Line 1516">
              <a:extLst>
                <a:ext uri="{FF2B5EF4-FFF2-40B4-BE49-F238E27FC236}">
                  <a16:creationId xmlns:a16="http://schemas.microsoft.com/office/drawing/2014/main" id="{7FB83508-716F-442D-A2D5-D0F98C9D92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3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2" name="Rectangle 1517">
              <a:extLst>
                <a:ext uri="{FF2B5EF4-FFF2-40B4-BE49-F238E27FC236}">
                  <a16:creationId xmlns:a16="http://schemas.microsoft.com/office/drawing/2014/main" id="{A2F67DDA-D535-43C4-BE93-2FF9FE9E5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3" name="Freeform 1518">
              <a:extLst>
                <a:ext uri="{FF2B5EF4-FFF2-40B4-BE49-F238E27FC236}">
                  <a16:creationId xmlns:a16="http://schemas.microsoft.com/office/drawing/2014/main" id="{0925D99A-CE18-457A-8A96-58E701B9C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3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4" name="Freeform 1519">
              <a:extLst>
                <a:ext uri="{FF2B5EF4-FFF2-40B4-BE49-F238E27FC236}">
                  <a16:creationId xmlns:a16="http://schemas.microsoft.com/office/drawing/2014/main" id="{BE2A242C-5302-44C5-95BF-43F47368D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5" name="Line 1520">
              <a:extLst>
                <a:ext uri="{FF2B5EF4-FFF2-40B4-BE49-F238E27FC236}">
                  <a16:creationId xmlns:a16="http://schemas.microsoft.com/office/drawing/2014/main" id="{ECA4632C-4686-4998-9D6A-6501D34212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6" name="Rectangle 1521">
              <a:extLst>
                <a:ext uri="{FF2B5EF4-FFF2-40B4-BE49-F238E27FC236}">
                  <a16:creationId xmlns:a16="http://schemas.microsoft.com/office/drawing/2014/main" id="{7C4D8DA2-B02A-4B7B-916B-B42C29914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7" name="Freeform 1522">
              <a:extLst>
                <a:ext uri="{FF2B5EF4-FFF2-40B4-BE49-F238E27FC236}">
                  <a16:creationId xmlns:a16="http://schemas.microsoft.com/office/drawing/2014/main" id="{2A68A3F7-7ED2-4E0D-90F9-21B20A2F8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8" name="Freeform 1523">
              <a:extLst>
                <a:ext uri="{FF2B5EF4-FFF2-40B4-BE49-F238E27FC236}">
                  <a16:creationId xmlns:a16="http://schemas.microsoft.com/office/drawing/2014/main" id="{E959E9AB-DF08-4B4F-86F9-2E98958E6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9" name="Line 1524">
              <a:extLst>
                <a:ext uri="{FF2B5EF4-FFF2-40B4-BE49-F238E27FC236}">
                  <a16:creationId xmlns:a16="http://schemas.microsoft.com/office/drawing/2014/main" id="{9CC35A8A-8DF5-4F11-BA72-D27E5CDE74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0" name="Rectangle 1525">
              <a:extLst>
                <a:ext uri="{FF2B5EF4-FFF2-40B4-BE49-F238E27FC236}">
                  <a16:creationId xmlns:a16="http://schemas.microsoft.com/office/drawing/2014/main" id="{AA9FD246-A10C-42B1-BF7D-3CDEDA2072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3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1" name="Freeform 1526">
              <a:extLst>
                <a:ext uri="{FF2B5EF4-FFF2-40B4-BE49-F238E27FC236}">
                  <a16:creationId xmlns:a16="http://schemas.microsoft.com/office/drawing/2014/main" id="{33C7F0C4-6362-4E27-8B9E-0DDF4A0FF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2" name="Freeform 1527">
              <a:extLst>
                <a:ext uri="{FF2B5EF4-FFF2-40B4-BE49-F238E27FC236}">
                  <a16:creationId xmlns:a16="http://schemas.microsoft.com/office/drawing/2014/main" id="{D7F525B1-21B3-4C81-8481-2F041020B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3" name="Line 1528">
              <a:extLst>
                <a:ext uri="{FF2B5EF4-FFF2-40B4-BE49-F238E27FC236}">
                  <a16:creationId xmlns:a16="http://schemas.microsoft.com/office/drawing/2014/main" id="{5A2F3149-6C6B-49EB-A63F-FB4F183A3C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4" name="Rectangle 1529">
              <a:extLst>
                <a:ext uri="{FF2B5EF4-FFF2-40B4-BE49-F238E27FC236}">
                  <a16:creationId xmlns:a16="http://schemas.microsoft.com/office/drawing/2014/main" id="{6FFE3EA5-E816-47ED-963C-6CBD3779BB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6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5" name="Freeform 1530">
              <a:extLst>
                <a:ext uri="{FF2B5EF4-FFF2-40B4-BE49-F238E27FC236}">
                  <a16:creationId xmlns:a16="http://schemas.microsoft.com/office/drawing/2014/main" id="{37E37424-8409-4B7F-92D1-71C9F6D69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6" name="Freeform 1531">
              <a:extLst>
                <a:ext uri="{FF2B5EF4-FFF2-40B4-BE49-F238E27FC236}">
                  <a16:creationId xmlns:a16="http://schemas.microsoft.com/office/drawing/2014/main" id="{157A0626-9601-45EC-9BD5-F3BBD1BA9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7" name="Line 1532">
              <a:extLst>
                <a:ext uri="{FF2B5EF4-FFF2-40B4-BE49-F238E27FC236}">
                  <a16:creationId xmlns:a16="http://schemas.microsoft.com/office/drawing/2014/main" id="{73AE11EE-6620-4081-9042-59A680A788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9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8" name="Rectangle 1533">
              <a:extLst>
                <a:ext uri="{FF2B5EF4-FFF2-40B4-BE49-F238E27FC236}">
                  <a16:creationId xmlns:a16="http://schemas.microsoft.com/office/drawing/2014/main" id="{58BB6DB2-507B-4B13-83AA-EDC29188DF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9" name="Freeform 1534">
              <a:extLst>
                <a:ext uri="{FF2B5EF4-FFF2-40B4-BE49-F238E27FC236}">
                  <a16:creationId xmlns:a16="http://schemas.microsoft.com/office/drawing/2014/main" id="{DD68410F-3038-4673-956F-4ABAAC95D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0" name="Freeform 1535">
              <a:extLst>
                <a:ext uri="{FF2B5EF4-FFF2-40B4-BE49-F238E27FC236}">
                  <a16:creationId xmlns:a16="http://schemas.microsoft.com/office/drawing/2014/main" id="{F040F4C5-A775-4945-B122-A85123405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1" name="Line 1536">
              <a:extLst>
                <a:ext uri="{FF2B5EF4-FFF2-40B4-BE49-F238E27FC236}">
                  <a16:creationId xmlns:a16="http://schemas.microsoft.com/office/drawing/2014/main" id="{77D46632-2B1E-4083-BD23-DAFA7F757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9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2" name="Rectangle 1537">
              <a:extLst>
                <a:ext uri="{FF2B5EF4-FFF2-40B4-BE49-F238E27FC236}">
                  <a16:creationId xmlns:a16="http://schemas.microsoft.com/office/drawing/2014/main" id="{66B109A4-71CA-4D89-BFC3-AF2D608275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9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3" name="Freeform 1538">
              <a:extLst>
                <a:ext uri="{FF2B5EF4-FFF2-40B4-BE49-F238E27FC236}">
                  <a16:creationId xmlns:a16="http://schemas.microsoft.com/office/drawing/2014/main" id="{B41EFBA1-ED35-4D08-885B-4E462515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4" name="Freeform 1539">
              <a:extLst>
                <a:ext uri="{FF2B5EF4-FFF2-40B4-BE49-F238E27FC236}">
                  <a16:creationId xmlns:a16="http://schemas.microsoft.com/office/drawing/2014/main" id="{B116B000-733D-4194-AE7A-A2F698D86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1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5" name="Line 1540">
              <a:extLst>
                <a:ext uri="{FF2B5EF4-FFF2-40B4-BE49-F238E27FC236}">
                  <a16:creationId xmlns:a16="http://schemas.microsoft.com/office/drawing/2014/main" id="{77EB1D64-B5B8-49F4-AE62-C2C6B9303C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6" name="Rectangle 1541">
              <a:extLst>
                <a:ext uri="{FF2B5EF4-FFF2-40B4-BE49-F238E27FC236}">
                  <a16:creationId xmlns:a16="http://schemas.microsoft.com/office/drawing/2014/main" id="{3AF3AEFB-ACC5-4606-B6BD-A40CE693B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9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7" name="Freeform 1542">
              <a:extLst>
                <a:ext uri="{FF2B5EF4-FFF2-40B4-BE49-F238E27FC236}">
                  <a16:creationId xmlns:a16="http://schemas.microsoft.com/office/drawing/2014/main" id="{2DB875A0-E314-49ED-BAFA-03756EDBE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9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8" name="Freeform 1543">
              <a:extLst>
                <a:ext uri="{FF2B5EF4-FFF2-40B4-BE49-F238E27FC236}">
                  <a16:creationId xmlns:a16="http://schemas.microsoft.com/office/drawing/2014/main" id="{A96051F5-F791-483F-8B69-7C4ECB514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9" name="Line 1544">
              <a:extLst>
                <a:ext uri="{FF2B5EF4-FFF2-40B4-BE49-F238E27FC236}">
                  <a16:creationId xmlns:a16="http://schemas.microsoft.com/office/drawing/2014/main" id="{7BCF974E-AD37-4D24-82C2-4CD907FC9C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0" name="Rectangle 1545">
              <a:extLst>
                <a:ext uri="{FF2B5EF4-FFF2-40B4-BE49-F238E27FC236}">
                  <a16:creationId xmlns:a16="http://schemas.microsoft.com/office/drawing/2014/main" id="{C8763F0B-9632-4EAE-A93C-2421B63437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9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1" name="Freeform 1546">
              <a:extLst>
                <a:ext uri="{FF2B5EF4-FFF2-40B4-BE49-F238E27FC236}">
                  <a16:creationId xmlns:a16="http://schemas.microsoft.com/office/drawing/2014/main" id="{D82CE45E-0E6F-414E-8187-2B0F0375C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2" name="Freeform 1547">
              <a:extLst>
                <a:ext uri="{FF2B5EF4-FFF2-40B4-BE49-F238E27FC236}">
                  <a16:creationId xmlns:a16="http://schemas.microsoft.com/office/drawing/2014/main" id="{A4288E34-E753-4FA2-9581-8691E3971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3" name="Line 1548">
              <a:extLst>
                <a:ext uri="{FF2B5EF4-FFF2-40B4-BE49-F238E27FC236}">
                  <a16:creationId xmlns:a16="http://schemas.microsoft.com/office/drawing/2014/main" id="{9C444928-9EBF-4A7A-8376-C718C719EC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2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4" name="Rectangle 1549">
              <a:extLst>
                <a:ext uri="{FF2B5EF4-FFF2-40B4-BE49-F238E27FC236}">
                  <a16:creationId xmlns:a16="http://schemas.microsoft.com/office/drawing/2014/main" id="{6084783A-96FB-4E10-933E-A3D18823B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2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5" name="Freeform 1550">
              <a:extLst>
                <a:ext uri="{FF2B5EF4-FFF2-40B4-BE49-F238E27FC236}">
                  <a16:creationId xmlns:a16="http://schemas.microsoft.com/office/drawing/2014/main" id="{D71F66EC-D54E-4804-B620-19793264B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6" name="Freeform 1551">
              <a:extLst>
                <a:ext uri="{FF2B5EF4-FFF2-40B4-BE49-F238E27FC236}">
                  <a16:creationId xmlns:a16="http://schemas.microsoft.com/office/drawing/2014/main" id="{B3A1AEFC-36CB-418C-8FA8-1F0C88697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4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7" name="Line 1552">
              <a:extLst>
                <a:ext uri="{FF2B5EF4-FFF2-40B4-BE49-F238E27FC236}">
                  <a16:creationId xmlns:a16="http://schemas.microsoft.com/office/drawing/2014/main" id="{51C62FAA-708F-4360-965F-3D31F93585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4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8" name="Rectangle 1553">
              <a:extLst>
                <a:ext uri="{FF2B5EF4-FFF2-40B4-BE49-F238E27FC236}">
                  <a16:creationId xmlns:a16="http://schemas.microsoft.com/office/drawing/2014/main" id="{48A66608-E7EB-42E7-984E-3B52BB07D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2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9" name="Freeform 1554">
              <a:extLst>
                <a:ext uri="{FF2B5EF4-FFF2-40B4-BE49-F238E27FC236}">
                  <a16:creationId xmlns:a16="http://schemas.microsoft.com/office/drawing/2014/main" id="{82F80630-16A1-4859-84EC-C3E342A45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2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0" name="Freeform 1555">
              <a:extLst>
                <a:ext uri="{FF2B5EF4-FFF2-40B4-BE49-F238E27FC236}">
                  <a16:creationId xmlns:a16="http://schemas.microsoft.com/office/drawing/2014/main" id="{6FC2D068-7654-401E-B7E3-289201050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1" name="Line 1556">
              <a:extLst>
                <a:ext uri="{FF2B5EF4-FFF2-40B4-BE49-F238E27FC236}">
                  <a16:creationId xmlns:a16="http://schemas.microsoft.com/office/drawing/2014/main" id="{1C417664-BD91-410D-A17F-6E28EF332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4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2" name="Rectangle 1557">
              <a:extLst>
                <a:ext uri="{FF2B5EF4-FFF2-40B4-BE49-F238E27FC236}">
                  <a16:creationId xmlns:a16="http://schemas.microsoft.com/office/drawing/2014/main" id="{B0D52153-DEE1-42AB-8299-241A3E2CC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3" name="Freeform 1558">
              <a:extLst>
                <a:ext uri="{FF2B5EF4-FFF2-40B4-BE49-F238E27FC236}">
                  <a16:creationId xmlns:a16="http://schemas.microsoft.com/office/drawing/2014/main" id="{6086B6CE-7D93-4DEC-ABA6-552D80A32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4" name="Freeform 1559">
              <a:extLst>
                <a:ext uri="{FF2B5EF4-FFF2-40B4-BE49-F238E27FC236}">
                  <a16:creationId xmlns:a16="http://schemas.microsoft.com/office/drawing/2014/main" id="{A2CD0144-6D87-4056-BD3A-35BCCB901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5" name="Line 1560">
              <a:extLst>
                <a:ext uri="{FF2B5EF4-FFF2-40B4-BE49-F238E27FC236}">
                  <a16:creationId xmlns:a16="http://schemas.microsoft.com/office/drawing/2014/main" id="{1EB0A4A7-6AFD-4DA5-A237-9116C2AAC1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9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6" name="Rectangle 1561">
              <a:extLst>
                <a:ext uri="{FF2B5EF4-FFF2-40B4-BE49-F238E27FC236}">
                  <a16:creationId xmlns:a16="http://schemas.microsoft.com/office/drawing/2014/main" id="{867B8E9D-5834-40C5-80AD-3C3FF365C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5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7" name="Freeform 1562">
              <a:extLst>
                <a:ext uri="{FF2B5EF4-FFF2-40B4-BE49-F238E27FC236}">
                  <a16:creationId xmlns:a16="http://schemas.microsoft.com/office/drawing/2014/main" id="{3A9EF50B-F717-4B63-A357-7FFCE18DF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8" name="Freeform 1563">
              <a:extLst>
                <a:ext uri="{FF2B5EF4-FFF2-40B4-BE49-F238E27FC236}">
                  <a16:creationId xmlns:a16="http://schemas.microsoft.com/office/drawing/2014/main" id="{27F626D8-E9F8-4335-A0B7-AD226CEE3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9" name="Line 1564">
              <a:extLst>
                <a:ext uri="{FF2B5EF4-FFF2-40B4-BE49-F238E27FC236}">
                  <a16:creationId xmlns:a16="http://schemas.microsoft.com/office/drawing/2014/main" id="{9C9970A1-4D15-4DEA-8F5A-6BCEC7F114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0" name="Rectangle 1565">
              <a:extLst>
                <a:ext uri="{FF2B5EF4-FFF2-40B4-BE49-F238E27FC236}">
                  <a16:creationId xmlns:a16="http://schemas.microsoft.com/office/drawing/2014/main" id="{88F0B8E1-1F76-4550-B99B-B2E18FA82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1" name="Freeform 1566">
              <a:extLst>
                <a:ext uri="{FF2B5EF4-FFF2-40B4-BE49-F238E27FC236}">
                  <a16:creationId xmlns:a16="http://schemas.microsoft.com/office/drawing/2014/main" id="{D170364C-DDFA-4E22-9BB4-172006285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2" name="Freeform 1567">
              <a:extLst>
                <a:ext uri="{FF2B5EF4-FFF2-40B4-BE49-F238E27FC236}">
                  <a16:creationId xmlns:a16="http://schemas.microsoft.com/office/drawing/2014/main" id="{0D7A7985-F779-4340-973A-E2CAF4C99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3" name="Line 1568">
              <a:extLst>
                <a:ext uri="{FF2B5EF4-FFF2-40B4-BE49-F238E27FC236}">
                  <a16:creationId xmlns:a16="http://schemas.microsoft.com/office/drawing/2014/main" id="{CB330DFB-654D-4EEF-9109-91155C03DF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7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4" name="Rectangle 1569">
              <a:extLst>
                <a:ext uri="{FF2B5EF4-FFF2-40B4-BE49-F238E27FC236}">
                  <a16:creationId xmlns:a16="http://schemas.microsoft.com/office/drawing/2014/main" id="{95DE775C-EAB5-4FB1-B28B-850C9D81F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5" name="Freeform 1570">
              <a:extLst>
                <a:ext uri="{FF2B5EF4-FFF2-40B4-BE49-F238E27FC236}">
                  <a16:creationId xmlns:a16="http://schemas.microsoft.com/office/drawing/2014/main" id="{32AAA74D-AFEC-442A-97E8-A7084889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6" name="Freeform 1571">
              <a:extLst>
                <a:ext uri="{FF2B5EF4-FFF2-40B4-BE49-F238E27FC236}">
                  <a16:creationId xmlns:a16="http://schemas.microsoft.com/office/drawing/2014/main" id="{EBFA5999-CCE2-4FDE-903E-CCED2C4D0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7" name="Line 1572">
              <a:extLst>
                <a:ext uri="{FF2B5EF4-FFF2-40B4-BE49-F238E27FC236}">
                  <a16:creationId xmlns:a16="http://schemas.microsoft.com/office/drawing/2014/main" id="{7448C351-DBE1-4075-920B-E10192F9C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0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8" name="Rectangle 1573">
              <a:extLst>
                <a:ext uri="{FF2B5EF4-FFF2-40B4-BE49-F238E27FC236}">
                  <a16:creationId xmlns:a16="http://schemas.microsoft.com/office/drawing/2014/main" id="{FCB2A2A1-4905-4053-8589-986156DB9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9" name="Freeform 1574">
              <a:extLst>
                <a:ext uri="{FF2B5EF4-FFF2-40B4-BE49-F238E27FC236}">
                  <a16:creationId xmlns:a16="http://schemas.microsoft.com/office/drawing/2014/main" id="{9C041B0F-8FB4-4405-9AE5-9218423F4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0" name="Freeform 1575">
              <a:extLst>
                <a:ext uri="{FF2B5EF4-FFF2-40B4-BE49-F238E27FC236}">
                  <a16:creationId xmlns:a16="http://schemas.microsoft.com/office/drawing/2014/main" id="{454F6647-901A-4BE1-9D4E-C625654A9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1" name="Line 1576">
              <a:extLst>
                <a:ext uri="{FF2B5EF4-FFF2-40B4-BE49-F238E27FC236}">
                  <a16:creationId xmlns:a16="http://schemas.microsoft.com/office/drawing/2014/main" id="{61EEEDF4-FC1C-440A-B238-5237E8DE25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0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2" name="Rectangle 1577">
              <a:extLst>
                <a:ext uri="{FF2B5EF4-FFF2-40B4-BE49-F238E27FC236}">
                  <a16:creationId xmlns:a16="http://schemas.microsoft.com/office/drawing/2014/main" id="{76B8462A-A0A1-4435-8B91-DC424536EE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0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3" name="Freeform 1578">
              <a:extLst>
                <a:ext uri="{FF2B5EF4-FFF2-40B4-BE49-F238E27FC236}">
                  <a16:creationId xmlns:a16="http://schemas.microsoft.com/office/drawing/2014/main" id="{396DACAB-954A-4101-B044-885706F0A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4" name="Freeform 1579">
              <a:extLst>
                <a:ext uri="{FF2B5EF4-FFF2-40B4-BE49-F238E27FC236}">
                  <a16:creationId xmlns:a16="http://schemas.microsoft.com/office/drawing/2014/main" id="{7834F467-F5A6-4C6F-903A-0925E7AA1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5" name="Line 1580">
              <a:extLst>
                <a:ext uri="{FF2B5EF4-FFF2-40B4-BE49-F238E27FC236}">
                  <a16:creationId xmlns:a16="http://schemas.microsoft.com/office/drawing/2014/main" id="{001CCEBF-93F9-4C98-9E9E-8BD2EB9605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0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6" name="Rectangle 1581">
              <a:extLst>
                <a:ext uri="{FF2B5EF4-FFF2-40B4-BE49-F238E27FC236}">
                  <a16:creationId xmlns:a16="http://schemas.microsoft.com/office/drawing/2014/main" id="{0E6A5C69-C58D-4581-960C-BF2FBA5BE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0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7" name="Freeform 1582">
              <a:extLst>
                <a:ext uri="{FF2B5EF4-FFF2-40B4-BE49-F238E27FC236}">
                  <a16:creationId xmlns:a16="http://schemas.microsoft.com/office/drawing/2014/main" id="{AEF2CF50-BDE1-4C7D-98FC-D1A528720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8" name="Freeform 1583">
              <a:extLst>
                <a:ext uri="{FF2B5EF4-FFF2-40B4-BE49-F238E27FC236}">
                  <a16:creationId xmlns:a16="http://schemas.microsoft.com/office/drawing/2014/main" id="{FCE8183C-0424-4568-840E-3696EA70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9" name="Line 1584">
              <a:extLst>
                <a:ext uri="{FF2B5EF4-FFF2-40B4-BE49-F238E27FC236}">
                  <a16:creationId xmlns:a16="http://schemas.microsoft.com/office/drawing/2014/main" id="{11B1CDDE-671A-42A3-9382-9E8983A75E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63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0" name="Rectangle 1585">
              <a:extLst>
                <a:ext uri="{FF2B5EF4-FFF2-40B4-BE49-F238E27FC236}">
                  <a16:creationId xmlns:a16="http://schemas.microsoft.com/office/drawing/2014/main" id="{476E8162-9C21-42CA-84A1-D7F482DB9E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0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1" name="Freeform 1586">
              <a:extLst>
                <a:ext uri="{FF2B5EF4-FFF2-40B4-BE49-F238E27FC236}">
                  <a16:creationId xmlns:a16="http://schemas.microsoft.com/office/drawing/2014/main" id="{F558A128-B036-4CEE-9B0E-748D9C1F3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2" name="Freeform 1587">
              <a:extLst>
                <a:ext uri="{FF2B5EF4-FFF2-40B4-BE49-F238E27FC236}">
                  <a16:creationId xmlns:a16="http://schemas.microsoft.com/office/drawing/2014/main" id="{0F43A1EB-9369-4806-B907-46BD55794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3" name="Line 1588">
              <a:extLst>
                <a:ext uri="{FF2B5EF4-FFF2-40B4-BE49-F238E27FC236}">
                  <a16:creationId xmlns:a16="http://schemas.microsoft.com/office/drawing/2014/main" id="{A178C1C5-B376-4EF6-96D6-77C6B403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3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4" name="Rectangle 1589">
              <a:extLst>
                <a:ext uri="{FF2B5EF4-FFF2-40B4-BE49-F238E27FC236}">
                  <a16:creationId xmlns:a16="http://schemas.microsoft.com/office/drawing/2014/main" id="{1173A50B-D4F6-4BD0-B92E-5442EC36D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3" y="2431"/>
              <a:ext cx="2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5" name="Freeform 1590">
              <a:extLst>
                <a:ext uri="{FF2B5EF4-FFF2-40B4-BE49-F238E27FC236}">
                  <a16:creationId xmlns:a16="http://schemas.microsoft.com/office/drawing/2014/main" id="{9AFE6D82-2287-4102-81D6-9C124A829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431"/>
              <a:ext cx="2" cy="38"/>
            </a:xfrm>
            <a:custGeom>
              <a:avLst/>
              <a:gdLst>
                <a:gd name="T0" fmla="*/ 0 w 2"/>
                <a:gd name="T1" fmla="*/ 0 h 38"/>
                <a:gd name="T2" fmla="*/ 0 w 2"/>
                <a:gd name="T3" fmla="*/ 38 h 38"/>
                <a:gd name="T4" fmla="*/ 2 w 2"/>
                <a:gd name="T5" fmla="*/ 38 h 38"/>
                <a:gd name="T6" fmla="*/ 2 w 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8">
                  <a:moveTo>
                    <a:pt x="0" y="0"/>
                  </a:moveTo>
                  <a:lnTo>
                    <a:pt x="0" y="38"/>
                  </a:lnTo>
                  <a:lnTo>
                    <a:pt x="2" y="38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6" name="Freeform 1591">
              <a:extLst>
                <a:ext uri="{FF2B5EF4-FFF2-40B4-BE49-F238E27FC236}">
                  <a16:creationId xmlns:a16="http://schemas.microsoft.com/office/drawing/2014/main" id="{606ECF64-C612-47C5-8E3B-2EF8312B2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31"/>
              <a:ext cx="0" cy="38"/>
            </a:xfrm>
            <a:custGeom>
              <a:avLst/>
              <a:gdLst>
                <a:gd name="T0" fmla="*/ 0 h 38"/>
                <a:gd name="T1" fmla="*/ 38 h 38"/>
                <a:gd name="T2" fmla="*/ 0 h 3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8">
                  <a:moveTo>
                    <a:pt x="0" y="0"/>
                  </a:move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7" name="Line 1592">
              <a:extLst>
                <a:ext uri="{FF2B5EF4-FFF2-40B4-BE49-F238E27FC236}">
                  <a16:creationId xmlns:a16="http://schemas.microsoft.com/office/drawing/2014/main" id="{9F350372-8786-4D3F-924A-DB4544A7A8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6" y="2431"/>
              <a:ext cx="0" cy="3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8" name="Rectangle 1593">
              <a:extLst>
                <a:ext uri="{FF2B5EF4-FFF2-40B4-BE49-F238E27FC236}">
                  <a16:creationId xmlns:a16="http://schemas.microsoft.com/office/drawing/2014/main" id="{E9858BD5-1AA4-4729-8A40-A9B49D5AB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3" y="2431"/>
              <a:ext cx="3" cy="3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9" name="Freeform 1594">
              <a:extLst>
                <a:ext uri="{FF2B5EF4-FFF2-40B4-BE49-F238E27FC236}">
                  <a16:creationId xmlns:a16="http://schemas.microsoft.com/office/drawing/2014/main" id="{FFB37C9E-1920-47AC-B2CA-3A4307FEE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" y="2431"/>
              <a:ext cx="3" cy="38"/>
            </a:xfrm>
            <a:custGeom>
              <a:avLst/>
              <a:gdLst>
                <a:gd name="T0" fmla="*/ 0 w 3"/>
                <a:gd name="T1" fmla="*/ 0 h 38"/>
                <a:gd name="T2" fmla="*/ 0 w 3"/>
                <a:gd name="T3" fmla="*/ 38 h 38"/>
                <a:gd name="T4" fmla="*/ 3 w 3"/>
                <a:gd name="T5" fmla="*/ 38 h 38"/>
                <a:gd name="T6" fmla="*/ 3 w 3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8">
                  <a:moveTo>
                    <a:pt x="0" y="0"/>
                  </a:moveTo>
                  <a:lnTo>
                    <a:pt x="0" y="38"/>
                  </a:lnTo>
                  <a:lnTo>
                    <a:pt x="3" y="38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0" name="Rectangle 1595">
              <a:extLst>
                <a:ext uri="{FF2B5EF4-FFF2-40B4-BE49-F238E27FC236}">
                  <a16:creationId xmlns:a16="http://schemas.microsoft.com/office/drawing/2014/main" id="{9CDCE0EA-D974-46C2-8181-BBF66D3D6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1" y="2426"/>
              <a:ext cx="106" cy="15"/>
            </a:xfrm>
            <a:prstGeom prst="rect">
              <a:avLst/>
            </a:pr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1" name="Rectangle 1596">
              <a:extLst>
                <a:ext uri="{FF2B5EF4-FFF2-40B4-BE49-F238E27FC236}">
                  <a16:creationId xmlns:a16="http://schemas.microsoft.com/office/drawing/2014/main" id="{2801FBD1-784A-4CC4-8B22-2C54E9A58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8" y="2426"/>
              <a:ext cx="35" cy="15"/>
            </a:xfrm>
            <a:prstGeom prst="rect">
              <a:avLst/>
            </a:pr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2" name="Freeform 1597">
              <a:extLst>
                <a:ext uri="{FF2B5EF4-FFF2-40B4-BE49-F238E27FC236}">
                  <a16:creationId xmlns:a16="http://schemas.microsoft.com/office/drawing/2014/main" id="{F53C5C76-F7B2-439F-B947-7CB6C5E14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" y="2426"/>
              <a:ext cx="28" cy="15"/>
            </a:xfrm>
            <a:custGeom>
              <a:avLst/>
              <a:gdLst>
                <a:gd name="T0" fmla="*/ 28 w 28"/>
                <a:gd name="T1" fmla="*/ 15 h 15"/>
                <a:gd name="T2" fmla="*/ 0 w 28"/>
                <a:gd name="T3" fmla="*/ 15 h 15"/>
                <a:gd name="T4" fmla="*/ 8 w 28"/>
                <a:gd name="T5" fmla="*/ 0 h 15"/>
                <a:gd name="T6" fmla="*/ 28 w 28"/>
                <a:gd name="T7" fmla="*/ 0 h 15"/>
                <a:gd name="T8" fmla="*/ 28 w 2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15"/>
                  </a:moveTo>
                  <a:lnTo>
                    <a:pt x="0" y="15"/>
                  </a:lnTo>
                  <a:lnTo>
                    <a:pt x="8" y="0"/>
                  </a:lnTo>
                  <a:lnTo>
                    <a:pt x="28" y="0"/>
                  </a:lnTo>
                  <a:lnTo>
                    <a:pt x="28" y="15"/>
                  </a:lnTo>
                  <a:close/>
                </a:path>
              </a:pathLst>
            </a:cu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3" name="Freeform 1598">
              <a:extLst>
                <a:ext uri="{FF2B5EF4-FFF2-40B4-BE49-F238E27FC236}">
                  <a16:creationId xmlns:a16="http://schemas.microsoft.com/office/drawing/2014/main" id="{54649E8B-8B0A-4F48-8C54-7F25AE067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" y="2424"/>
              <a:ext cx="0" cy="33"/>
            </a:xfrm>
            <a:custGeom>
              <a:avLst/>
              <a:gdLst>
                <a:gd name="T0" fmla="*/ 0 h 33"/>
                <a:gd name="T1" fmla="*/ 33 h 33"/>
                <a:gd name="T2" fmla="*/ 0 h 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3">
                  <a:moveTo>
                    <a:pt x="0" y="0"/>
                  </a:moveTo>
                  <a:lnTo>
                    <a:pt x="0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4" name="Line 1599">
              <a:extLst>
                <a:ext uri="{FF2B5EF4-FFF2-40B4-BE49-F238E27FC236}">
                  <a16:creationId xmlns:a16="http://schemas.microsoft.com/office/drawing/2014/main" id="{34643201-6EF1-4D2E-810C-769629FF46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1" y="2424"/>
              <a:ext cx="0" cy="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5" name="Rectangle 1600">
              <a:extLst>
                <a:ext uri="{FF2B5EF4-FFF2-40B4-BE49-F238E27FC236}">
                  <a16:creationId xmlns:a16="http://schemas.microsoft.com/office/drawing/2014/main" id="{E97D1A67-8A28-4E41-AA68-DBD5AD06BE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1" y="2424"/>
              <a:ext cx="3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6" name="Freeform 1601">
              <a:extLst>
                <a:ext uri="{FF2B5EF4-FFF2-40B4-BE49-F238E27FC236}">
                  <a16:creationId xmlns:a16="http://schemas.microsoft.com/office/drawing/2014/main" id="{BE1267D3-16A2-459E-B04A-BBD0D8CCC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" y="2424"/>
              <a:ext cx="3" cy="33"/>
            </a:xfrm>
            <a:custGeom>
              <a:avLst/>
              <a:gdLst>
                <a:gd name="T0" fmla="*/ 0 w 3"/>
                <a:gd name="T1" fmla="*/ 0 h 33"/>
                <a:gd name="T2" fmla="*/ 0 w 3"/>
                <a:gd name="T3" fmla="*/ 33 h 33"/>
                <a:gd name="T4" fmla="*/ 3 w 3"/>
                <a:gd name="T5" fmla="*/ 33 h 33"/>
                <a:gd name="T6" fmla="*/ 3 w 3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3">
                  <a:moveTo>
                    <a:pt x="0" y="0"/>
                  </a:moveTo>
                  <a:lnTo>
                    <a:pt x="0" y="33"/>
                  </a:lnTo>
                  <a:lnTo>
                    <a:pt x="3" y="3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7" name="Freeform 1602">
              <a:extLst>
                <a:ext uri="{FF2B5EF4-FFF2-40B4-BE49-F238E27FC236}">
                  <a16:creationId xmlns:a16="http://schemas.microsoft.com/office/drawing/2014/main" id="{4FD2C4AD-CDFB-4795-B216-D1B8912B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2" y="2474"/>
              <a:ext cx="16" cy="0"/>
            </a:xfrm>
            <a:custGeom>
              <a:avLst/>
              <a:gdLst>
                <a:gd name="T0" fmla="*/ 0 w 16"/>
                <a:gd name="T1" fmla="*/ 16 w 16"/>
                <a:gd name="T2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8" name="Line 1603">
              <a:extLst>
                <a:ext uri="{FF2B5EF4-FFF2-40B4-BE49-F238E27FC236}">
                  <a16:creationId xmlns:a16="http://schemas.microsoft.com/office/drawing/2014/main" id="{0F3A1295-9938-40BF-A9BC-343C9E1C0E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2" y="2474"/>
              <a:ext cx="16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9" name="Rectangle 1604">
              <a:extLst>
                <a:ext uri="{FF2B5EF4-FFF2-40B4-BE49-F238E27FC236}">
                  <a16:creationId xmlns:a16="http://schemas.microsoft.com/office/drawing/2014/main" id="{21A5B92E-4AA8-41F4-881C-2896E6B3D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2" y="2474"/>
              <a:ext cx="16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0" name="Freeform 1605">
              <a:extLst>
                <a:ext uri="{FF2B5EF4-FFF2-40B4-BE49-F238E27FC236}">
                  <a16:creationId xmlns:a16="http://schemas.microsoft.com/office/drawing/2014/main" id="{F0836895-2754-4A3C-BF4D-6DFE78395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2" y="2474"/>
              <a:ext cx="16" cy="0"/>
            </a:xfrm>
            <a:custGeom>
              <a:avLst/>
              <a:gdLst>
                <a:gd name="T0" fmla="*/ 0 w 16"/>
                <a:gd name="T1" fmla="*/ 16 w 16"/>
                <a:gd name="T2" fmla="*/ 16 w 16"/>
                <a:gd name="T3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1" name="Freeform 1606">
              <a:extLst>
                <a:ext uri="{FF2B5EF4-FFF2-40B4-BE49-F238E27FC236}">
                  <a16:creationId xmlns:a16="http://schemas.microsoft.com/office/drawing/2014/main" id="{F46C0036-95B3-4B8F-8D52-80C5D7640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8" y="2487"/>
              <a:ext cx="18" cy="8"/>
            </a:xfrm>
            <a:custGeom>
              <a:avLst/>
              <a:gdLst>
                <a:gd name="T0" fmla="*/ 3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3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2" name="Freeform 1607">
              <a:extLst>
                <a:ext uri="{FF2B5EF4-FFF2-40B4-BE49-F238E27FC236}">
                  <a16:creationId xmlns:a16="http://schemas.microsoft.com/office/drawing/2014/main" id="{36CA00FE-CC23-41CD-BAC3-D14ADC455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8" y="2484"/>
              <a:ext cx="18" cy="13"/>
            </a:xfrm>
            <a:custGeom>
              <a:avLst/>
              <a:gdLst>
                <a:gd name="T0" fmla="*/ 3 w 7"/>
                <a:gd name="T1" fmla="*/ 4 h 5"/>
                <a:gd name="T2" fmla="*/ 3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3 w 7"/>
                <a:gd name="T17" fmla="*/ 4 h 5"/>
                <a:gd name="T18" fmla="*/ 3 w 7"/>
                <a:gd name="T19" fmla="*/ 4 h 5"/>
                <a:gd name="T20" fmla="*/ 3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3 w 7"/>
                <a:gd name="T31" fmla="*/ 5 h 5"/>
                <a:gd name="T32" fmla="*/ 3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3" y="5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3" name="Freeform 1608">
              <a:extLst>
                <a:ext uri="{FF2B5EF4-FFF2-40B4-BE49-F238E27FC236}">
                  <a16:creationId xmlns:a16="http://schemas.microsoft.com/office/drawing/2014/main" id="{00D11249-F35B-48B1-8266-39A789AAC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4" name="Freeform 1609">
              <a:extLst>
                <a:ext uri="{FF2B5EF4-FFF2-40B4-BE49-F238E27FC236}">
                  <a16:creationId xmlns:a16="http://schemas.microsoft.com/office/drawing/2014/main" id="{C4396B4D-DB7A-448F-BA9D-CB4B6C08B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5" name="Freeform 1610">
              <a:extLst>
                <a:ext uri="{FF2B5EF4-FFF2-40B4-BE49-F238E27FC236}">
                  <a16:creationId xmlns:a16="http://schemas.microsoft.com/office/drawing/2014/main" id="{F24109EE-504F-4A6B-B45A-8CDB64C63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487"/>
              <a:ext cx="18" cy="8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0 h 3"/>
                <a:gd name="T4" fmla="*/ 7 w 7"/>
                <a:gd name="T5" fmla="*/ 0 h 3"/>
                <a:gd name="T6" fmla="*/ 4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6" name="Freeform 1611">
              <a:extLst>
                <a:ext uri="{FF2B5EF4-FFF2-40B4-BE49-F238E27FC236}">
                  <a16:creationId xmlns:a16="http://schemas.microsoft.com/office/drawing/2014/main" id="{F388FE7F-84FF-4A22-9482-880789BCF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484"/>
              <a:ext cx="18" cy="13"/>
            </a:xfrm>
            <a:custGeom>
              <a:avLst/>
              <a:gdLst>
                <a:gd name="T0" fmla="*/ 4 w 7"/>
                <a:gd name="T1" fmla="*/ 4 h 5"/>
                <a:gd name="T2" fmla="*/ 4 w 7"/>
                <a:gd name="T3" fmla="*/ 4 h 5"/>
                <a:gd name="T4" fmla="*/ 1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7 w 7"/>
                <a:gd name="T11" fmla="*/ 1 h 5"/>
                <a:gd name="T12" fmla="*/ 7 w 7"/>
                <a:gd name="T13" fmla="*/ 1 h 5"/>
                <a:gd name="T14" fmla="*/ 6 w 7"/>
                <a:gd name="T15" fmla="*/ 1 h 5"/>
                <a:gd name="T16" fmla="*/ 4 w 7"/>
                <a:gd name="T17" fmla="*/ 4 h 5"/>
                <a:gd name="T18" fmla="*/ 4 w 7"/>
                <a:gd name="T19" fmla="*/ 4 h 5"/>
                <a:gd name="T20" fmla="*/ 4 w 7"/>
                <a:gd name="T21" fmla="*/ 5 h 5"/>
                <a:gd name="T22" fmla="*/ 7 w 7"/>
                <a:gd name="T23" fmla="*/ 1 h 5"/>
                <a:gd name="T24" fmla="*/ 7 w 7"/>
                <a:gd name="T25" fmla="*/ 0 h 5"/>
                <a:gd name="T26" fmla="*/ 0 w 7"/>
                <a:gd name="T27" fmla="*/ 0 h 5"/>
                <a:gd name="T28" fmla="*/ 0 w 7"/>
                <a:gd name="T29" fmla="*/ 1 h 5"/>
                <a:gd name="T30" fmla="*/ 4 w 7"/>
                <a:gd name="T31" fmla="*/ 5 h 5"/>
                <a:gd name="T32" fmla="*/ 4 w 7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40" name="Group 1813">
            <a:extLst>
              <a:ext uri="{FF2B5EF4-FFF2-40B4-BE49-F238E27FC236}">
                <a16:creationId xmlns:a16="http://schemas.microsoft.com/office/drawing/2014/main" id="{D1D46A63-5492-48EB-B714-3730C9005543}"/>
              </a:ext>
            </a:extLst>
          </p:cNvPr>
          <p:cNvGrpSpPr>
            <a:grpSpLocks/>
          </p:cNvGrpSpPr>
          <p:nvPr/>
        </p:nvGrpSpPr>
        <p:grpSpPr bwMode="auto">
          <a:xfrm>
            <a:off x="969099" y="3325664"/>
            <a:ext cx="7905041" cy="1153048"/>
            <a:chOff x="1085" y="1976"/>
            <a:chExt cx="3572" cy="521"/>
          </a:xfrm>
        </p:grpSpPr>
        <p:sp>
          <p:nvSpPr>
            <p:cNvPr id="737" name="Freeform 1613">
              <a:extLst>
                <a:ext uri="{FF2B5EF4-FFF2-40B4-BE49-F238E27FC236}">
                  <a16:creationId xmlns:a16="http://schemas.microsoft.com/office/drawing/2014/main" id="{9E92F8CD-DED3-4963-99B4-53F39ABA9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8" name="Freeform 1614">
              <a:extLst>
                <a:ext uri="{FF2B5EF4-FFF2-40B4-BE49-F238E27FC236}">
                  <a16:creationId xmlns:a16="http://schemas.microsoft.com/office/drawing/2014/main" id="{9ADAB94D-6909-46B3-83D0-B84E3B7F7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6" y="2484"/>
              <a:ext cx="21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4 h 5"/>
                <a:gd name="T4" fmla="*/ 1 w 8"/>
                <a:gd name="T5" fmla="*/ 1 h 5"/>
                <a:gd name="T6" fmla="*/ 1 w 8"/>
                <a:gd name="T7" fmla="*/ 1 h 5"/>
                <a:gd name="T8" fmla="*/ 1 w 8"/>
                <a:gd name="T9" fmla="*/ 1 h 5"/>
                <a:gd name="T10" fmla="*/ 7 w 8"/>
                <a:gd name="T11" fmla="*/ 1 h 5"/>
                <a:gd name="T12" fmla="*/ 7 w 8"/>
                <a:gd name="T13" fmla="*/ 1 h 5"/>
                <a:gd name="T14" fmla="*/ 7 w 8"/>
                <a:gd name="T15" fmla="*/ 1 h 5"/>
                <a:gd name="T16" fmla="*/ 4 w 8"/>
                <a:gd name="T17" fmla="*/ 4 h 5"/>
                <a:gd name="T18" fmla="*/ 4 w 8"/>
                <a:gd name="T19" fmla="*/ 4 h 5"/>
                <a:gd name="T20" fmla="*/ 4 w 8"/>
                <a:gd name="T21" fmla="*/ 5 h 5"/>
                <a:gd name="T22" fmla="*/ 8 w 8"/>
                <a:gd name="T23" fmla="*/ 1 h 5"/>
                <a:gd name="T24" fmla="*/ 8 w 8"/>
                <a:gd name="T25" fmla="*/ 0 h 5"/>
                <a:gd name="T26" fmla="*/ 0 w 8"/>
                <a:gd name="T27" fmla="*/ 0 h 5"/>
                <a:gd name="T28" fmla="*/ 0 w 8"/>
                <a:gd name="T29" fmla="*/ 1 h 5"/>
                <a:gd name="T30" fmla="*/ 4 w 8"/>
                <a:gd name="T31" fmla="*/ 5 h 5"/>
                <a:gd name="T32" fmla="*/ 4 w 8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9" name="Freeform 1615">
              <a:extLst>
                <a:ext uri="{FF2B5EF4-FFF2-40B4-BE49-F238E27FC236}">
                  <a16:creationId xmlns:a16="http://schemas.microsoft.com/office/drawing/2014/main" id="{9A390E08-ABE0-434C-9A7A-2F2C5CFE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0" name="Freeform 1616">
              <a:extLst>
                <a:ext uri="{FF2B5EF4-FFF2-40B4-BE49-F238E27FC236}">
                  <a16:creationId xmlns:a16="http://schemas.microsoft.com/office/drawing/2014/main" id="{048B7DD9-1B07-4049-BD70-DC074BD36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9" y="2484"/>
              <a:ext cx="20" cy="13"/>
            </a:xfrm>
            <a:custGeom>
              <a:avLst/>
              <a:gdLst>
                <a:gd name="T0" fmla="*/ 4 w 8"/>
                <a:gd name="T1" fmla="*/ 4 h 5"/>
                <a:gd name="T2" fmla="*/ 4 w 8"/>
                <a:gd name="T3" fmla="*/ 4 h 5"/>
                <a:gd name="T4" fmla="*/ 1 w 8"/>
                <a:gd name="T5" fmla="*/ 1 h 5"/>
                <a:gd name="T6" fmla="*/ 1 w 8"/>
                <a:gd name="T7" fmla="*/ 1 h 5"/>
                <a:gd name="T8" fmla="*/ 1 w 8"/>
                <a:gd name="T9" fmla="*/ 1 h 5"/>
                <a:gd name="T10" fmla="*/ 7 w 8"/>
                <a:gd name="T11" fmla="*/ 1 h 5"/>
                <a:gd name="T12" fmla="*/ 7 w 8"/>
                <a:gd name="T13" fmla="*/ 1 h 5"/>
                <a:gd name="T14" fmla="*/ 7 w 8"/>
                <a:gd name="T15" fmla="*/ 1 h 5"/>
                <a:gd name="T16" fmla="*/ 4 w 8"/>
                <a:gd name="T17" fmla="*/ 4 h 5"/>
                <a:gd name="T18" fmla="*/ 4 w 8"/>
                <a:gd name="T19" fmla="*/ 4 h 5"/>
                <a:gd name="T20" fmla="*/ 4 w 8"/>
                <a:gd name="T21" fmla="*/ 5 h 5"/>
                <a:gd name="T22" fmla="*/ 8 w 8"/>
                <a:gd name="T23" fmla="*/ 1 h 5"/>
                <a:gd name="T24" fmla="*/ 8 w 8"/>
                <a:gd name="T25" fmla="*/ 0 h 5"/>
                <a:gd name="T26" fmla="*/ 0 w 8"/>
                <a:gd name="T27" fmla="*/ 0 h 5"/>
                <a:gd name="T28" fmla="*/ 0 w 8"/>
                <a:gd name="T29" fmla="*/ 1 h 5"/>
                <a:gd name="T30" fmla="*/ 4 w 8"/>
                <a:gd name="T31" fmla="*/ 5 h 5"/>
                <a:gd name="T32" fmla="*/ 4 w 8"/>
                <a:gd name="T3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6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8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2" y="5"/>
                    <a:pt x="4" y="5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1" name="Freeform 1617">
              <a:extLst>
                <a:ext uri="{FF2B5EF4-FFF2-40B4-BE49-F238E27FC236}">
                  <a16:creationId xmlns:a16="http://schemas.microsoft.com/office/drawing/2014/main" id="{5FBE2AA3-1633-4BD8-BDF5-FFF37CFCA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" y="2487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2" name="Freeform 1618">
              <a:extLst>
                <a:ext uri="{FF2B5EF4-FFF2-40B4-BE49-F238E27FC236}">
                  <a16:creationId xmlns:a16="http://schemas.microsoft.com/office/drawing/2014/main" id="{A150E6B1-B620-471F-89DA-D78BD9FF6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" y="2484"/>
              <a:ext cx="17" cy="13"/>
            </a:xfrm>
            <a:custGeom>
              <a:avLst/>
              <a:gdLst>
                <a:gd name="T0" fmla="*/ 3 w 7"/>
                <a:gd name="T1" fmla="*/ 4 h 5"/>
                <a:gd name="T2" fmla="*/ 3 w 7"/>
                <a:gd name="T3" fmla="*/ 4 h 5"/>
                <a:gd name="T4" fmla="*/ 0 w 7"/>
                <a:gd name="T5" fmla="*/ 1 h 5"/>
                <a:gd name="T6" fmla="*/ 0 w 7"/>
                <a:gd name="T7" fmla="*/ 1 h 5"/>
                <a:gd name="T8" fmla="*/ 0 w 7"/>
                <a:gd name="T9" fmla="*/ 1 h 5"/>
                <a:gd name="T10" fmla="*/ 6 w 7"/>
                <a:gd name="T11" fmla="*/ 1 h 5"/>
                <a:gd name="T12" fmla="*/ 6 w 7"/>
                <a:gd name="T13" fmla="*/ 1 h 5"/>
                <a:gd name="T14" fmla="*/ 6 w 7"/>
                <a:gd name="T15" fmla="*/ 1 h 5"/>
                <a:gd name="T16" fmla="*/ 6 w 7"/>
                <a:gd name="T17" fmla="*/ 1 h 5"/>
                <a:gd name="T18" fmla="*/ 6 w 7"/>
                <a:gd name="T19" fmla="*/ 1 h 5"/>
                <a:gd name="T20" fmla="*/ 6 w 7"/>
                <a:gd name="T21" fmla="*/ 1 h 5"/>
                <a:gd name="T22" fmla="*/ 6 w 7"/>
                <a:gd name="T23" fmla="*/ 1 h 5"/>
                <a:gd name="T24" fmla="*/ 6 w 7"/>
                <a:gd name="T25" fmla="*/ 1 h 5"/>
                <a:gd name="T26" fmla="*/ 6 w 7"/>
                <a:gd name="T27" fmla="*/ 1 h 5"/>
                <a:gd name="T28" fmla="*/ 3 w 7"/>
                <a:gd name="T29" fmla="*/ 4 h 5"/>
                <a:gd name="T30" fmla="*/ 3 w 7"/>
                <a:gd name="T31" fmla="*/ 4 h 5"/>
                <a:gd name="T32" fmla="*/ 3 w 7"/>
                <a:gd name="T33" fmla="*/ 5 h 5"/>
                <a:gd name="T34" fmla="*/ 7 w 7"/>
                <a:gd name="T35" fmla="*/ 1 h 5"/>
                <a:gd name="T36" fmla="*/ 6 w 7"/>
                <a:gd name="T37" fmla="*/ 1 h 5"/>
                <a:gd name="T38" fmla="*/ 7 w 7"/>
                <a:gd name="T39" fmla="*/ 1 h 5"/>
                <a:gd name="T40" fmla="*/ 7 w 7"/>
                <a:gd name="T41" fmla="*/ 1 h 5"/>
                <a:gd name="T42" fmla="*/ 6 w 7"/>
                <a:gd name="T43" fmla="*/ 1 h 5"/>
                <a:gd name="T44" fmla="*/ 7 w 7"/>
                <a:gd name="T45" fmla="*/ 1 h 5"/>
                <a:gd name="T46" fmla="*/ 7 w 7"/>
                <a:gd name="T47" fmla="*/ 1 h 5"/>
                <a:gd name="T48" fmla="*/ 7 w 7"/>
                <a:gd name="T49" fmla="*/ 0 h 5"/>
                <a:gd name="T50" fmla="*/ 0 w 7"/>
                <a:gd name="T51" fmla="*/ 0 h 5"/>
                <a:gd name="T52" fmla="*/ 0 w 7"/>
                <a:gd name="T53" fmla="*/ 1 h 5"/>
                <a:gd name="T54" fmla="*/ 3 w 7"/>
                <a:gd name="T55" fmla="*/ 5 h 5"/>
                <a:gd name="T56" fmla="*/ 3 w 7"/>
                <a:gd name="T5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5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5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5"/>
                    <a:pt x="7" y="3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1" y="5"/>
                    <a:pt x="3" y="5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3" name="Freeform 1619">
              <a:extLst>
                <a:ext uri="{FF2B5EF4-FFF2-40B4-BE49-F238E27FC236}">
                  <a16:creationId xmlns:a16="http://schemas.microsoft.com/office/drawing/2014/main" id="{5D6F5A13-70A8-4B44-9CC9-CF2BC746E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2424"/>
              <a:ext cx="225" cy="63"/>
            </a:xfrm>
            <a:custGeom>
              <a:avLst/>
              <a:gdLst>
                <a:gd name="T0" fmla="*/ 88 w 89"/>
                <a:gd name="T1" fmla="*/ 25 h 25"/>
                <a:gd name="T2" fmla="*/ 0 w 89"/>
                <a:gd name="T3" fmla="*/ 25 h 25"/>
                <a:gd name="T4" fmla="*/ 0 w 89"/>
                <a:gd name="T5" fmla="*/ 0 h 25"/>
                <a:gd name="T6" fmla="*/ 78 w 89"/>
                <a:gd name="T7" fmla="*/ 0 h 25"/>
                <a:gd name="T8" fmla="*/ 78 w 89"/>
                <a:gd name="T9" fmla="*/ 0 h 25"/>
                <a:gd name="T10" fmla="*/ 82 w 89"/>
                <a:gd name="T11" fmla="*/ 6 h 25"/>
                <a:gd name="T12" fmla="*/ 87 w 89"/>
                <a:gd name="T13" fmla="*/ 7 h 25"/>
                <a:gd name="T14" fmla="*/ 88 w 89"/>
                <a:gd name="T15" fmla="*/ 8 h 25"/>
                <a:gd name="T16" fmla="*/ 89 w 89"/>
                <a:gd name="T17" fmla="*/ 23 h 25"/>
                <a:gd name="T18" fmla="*/ 88 w 89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25">
                  <a:moveTo>
                    <a:pt x="88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8" y="7"/>
                    <a:pt x="88" y="7"/>
                    <a:pt x="88" y="8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24"/>
                    <a:pt x="89" y="25"/>
                    <a:pt x="88" y="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4" name="Freeform 1620">
              <a:extLst>
                <a:ext uri="{FF2B5EF4-FFF2-40B4-BE49-F238E27FC236}">
                  <a16:creationId xmlns:a16="http://schemas.microsoft.com/office/drawing/2014/main" id="{09E1BBCB-AD99-4154-ACC4-EBBAE1B62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2421"/>
              <a:ext cx="227" cy="66"/>
            </a:xfrm>
            <a:custGeom>
              <a:avLst/>
              <a:gdLst>
                <a:gd name="T0" fmla="*/ 88 w 90"/>
                <a:gd name="T1" fmla="*/ 26 h 26"/>
                <a:gd name="T2" fmla="*/ 88 w 90"/>
                <a:gd name="T3" fmla="*/ 25 h 26"/>
                <a:gd name="T4" fmla="*/ 1 w 90"/>
                <a:gd name="T5" fmla="*/ 25 h 26"/>
                <a:gd name="T6" fmla="*/ 1 w 90"/>
                <a:gd name="T7" fmla="*/ 1 h 26"/>
                <a:gd name="T8" fmla="*/ 78 w 90"/>
                <a:gd name="T9" fmla="*/ 1 h 26"/>
                <a:gd name="T10" fmla="*/ 78 w 90"/>
                <a:gd name="T11" fmla="*/ 2 h 26"/>
                <a:gd name="T12" fmla="*/ 78 w 90"/>
                <a:gd name="T13" fmla="*/ 1 h 26"/>
                <a:gd name="T14" fmla="*/ 78 w 90"/>
                <a:gd name="T15" fmla="*/ 2 h 26"/>
                <a:gd name="T16" fmla="*/ 81 w 90"/>
                <a:gd name="T17" fmla="*/ 7 h 26"/>
                <a:gd name="T18" fmla="*/ 87 w 90"/>
                <a:gd name="T19" fmla="*/ 8 h 26"/>
                <a:gd name="T20" fmla="*/ 88 w 90"/>
                <a:gd name="T21" fmla="*/ 9 h 26"/>
                <a:gd name="T22" fmla="*/ 89 w 90"/>
                <a:gd name="T23" fmla="*/ 24 h 26"/>
                <a:gd name="T24" fmla="*/ 89 w 90"/>
                <a:gd name="T25" fmla="*/ 24 h 26"/>
                <a:gd name="T26" fmla="*/ 88 w 90"/>
                <a:gd name="T27" fmla="*/ 25 h 26"/>
                <a:gd name="T28" fmla="*/ 88 w 90"/>
                <a:gd name="T29" fmla="*/ 26 h 26"/>
                <a:gd name="T30" fmla="*/ 88 w 90"/>
                <a:gd name="T31" fmla="*/ 26 h 26"/>
                <a:gd name="T32" fmla="*/ 90 w 90"/>
                <a:gd name="T33" fmla="*/ 24 h 26"/>
                <a:gd name="T34" fmla="*/ 90 w 90"/>
                <a:gd name="T35" fmla="*/ 24 h 26"/>
                <a:gd name="T36" fmla="*/ 89 w 90"/>
                <a:gd name="T37" fmla="*/ 9 h 26"/>
                <a:gd name="T38" fmla="*/ 87 w 90"/>
                <a:gd name="T39" fmla="*/ 7 h 26"/>
                <a:gd name="T40" fmla="*/ 82 w 90"/>
                <a:gd name="T41" fmla="*/ 7 h 26"/>
                <a:gd name="T42" fmla="*/ 79 w 90"/>
                <a:gd name="T43" fmla="*/ 1 h 26"/>
                <a:gd name="T44" fmla="*/ 79 w 90"/>
                <a:gd name="T45" fmla="*/ 1 h 26"/>
                <a:gd name="T46" fmla="*/ 78 w 90"/>
                <a:gd name="T47" fmla="*/ 0 h 26"/>
                <a:gd name="T48" fmla="*/ 0 w 90"/>
                <a:gd name="T49" fmla="*/ 0 h 26"/>
                <a:gd name="T50" fmla="*/ 0 w 90"/>
                <a:gd name="T51" fmla="*/ 26 h 26"/>
                <a:gd name="T52" fmla="*/ 88 w 90"/>
                <a:gd name="T5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" h="26">
                  <a:moveTo>
                    <a:pt x="88" y="26"/>
                  </a:moveTo>
                  <a:cubicBezTo>
                    <a:pt x="88" y="25"/>
                    <a:pt x="88" y="25"/>
                    <a:pt x="88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8" y="1"/>
                    <a:pt x="78" y="2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8" y="9"/>
                    <a:pt x="88" y="9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5"/>
                    <a:pt x="88" y="25"/>
                    <a:pt x="88" y="25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9" y="26"/>
                    <a:pt x="90" y="25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8"/>
                    <a:pt x="88" y="8"/>
                    <a:pt x="87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8" y="0"/>
                    <a:pt x="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88" y="26"/>
                    <a:pt x="88" y="26"/>
                    <a:pt x="88" y="2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5" name="Rectangle 1621">
              <a:extLst>
                <a:ext uri="{FF2B5EF4-FFF2-40B4-BE49-F238E27FC236}">
                  <a16:creationId xmlns:a16="http://schemas.microsoft.com/office/drawing/2014/main" id="{B4331871-3FB6-4B04-AD35-68F85B364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1" y="2426"/>
              <a:ext cx="106" cy="15"/>
            </a:xfrm>
            <a:prstGeom prst="rect">
              <a:avLst/>
            </a:pr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6" name="Rectangle 1622">
              <a:extLst>
                <a:ext uri="{FF2B5EF4-FFF2-40B4-BE49-F238E27FC236}">
                  <a16:creationId xmlns:a16="http://schemas.microsoft.com/office/drawing/2014/main" id="{8DEBE6F0-0965-4E93-A1F7-DDA6400D9B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5" y="2426"/>
              <a:ext cx="35" cy="15"/>
            </a:xfrm>
            <a:prstGeom prst="rect">
              <a:avLst/>
            </a:pr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7" name="Freeform 1623">
              <a:extLst>
                <a:ext uri="{FF2B5EF4-FFF2-40B4-BE49-F238E27FC236}">
                  <a16:creationId xmlns:a16="http://schemas.microsoft.com/office/drawing/2014/main" id="{01B89224-CF48-4978-A3B7-4E5E9343A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" y="2426"/>
              <a:ext cx="30" cy="15"/>
            </a:xfrm>
            <a:custGeom>
              <a:avLst/>
              <a:gdLst>
                <a:gd name="T0" fmla="*/ 0 w 30"/>
                <a:gd name="T1" fmla="*/ 15 h 15"/>
                <a:gd name="T2" fmla="*/ 30 w 30"/>
                <a:gd name="T3" fmla="*/ 15 h 15"/>
                <a:gd name="T4" fmla="*/ 20 w 30"/>
                <a:gd name="T5" fmla="*/ 0 h 15"/>
                <a:gd name="T6" fmla="*/ 0 w 30"/>
                <a:gd name="T7" fmla="*/ 0 h 15"/>
                <a:gd name="T8" fmla="*/ 0 w 30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lnTo>
                    <a:pt x="30" y="15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EC8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8" name="Freeform 1624">
              <a:extLst>
                <a:ext uri="{FF2B5EF4-FFF2-40B4-BE49-F238E27FC236}">
                  <a16:creationId xmlns:a16="http://schemas.microsoft.com/office/drawing/2014/main" id="{8222E9AA-87C5-4F2D-8CDC-EDC079205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2424"/>
              <a:ext cx="0" cy="33"/>
            </a:xfrm>
            <a:custGeom>
              <a:avLst/>
              <a:gdLst>
                <a:gd name="T0" fmla="*/ 0 h 33"/>
                <a:gd name="T1" fmla="*/ 33 h 33"/>
                <a:gd name="T2" fmla="*/ 0 h 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3">
                  <a:moveTo>
                    <a:pt x="0" y="0"/>
                  </a:moveTo>
                  <a:lnTo>
                    <a:pt x="0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9" name="Line 1625">
              <a:extLst>
                <a:ext uri="{FF2B5EF4-FFF2-40B4-BE49-F238E27FC236}">
                  <a16:creationId xmlns:a16="http://schemas.microsoft.com/office/drawing/2014/main" id="{DB541312-95A5-444C-9826-722F03BD48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5" y="2424"/>
              <a:ext cx="0" cy="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0" name="Rectangle 1626">
              <a:extLst>
                <a:ext uri="{FF2B5EF4-FFF2-40B4-BE49-F238E27FC236}">
                  <a16:creationId xmlns:a16="http://schemas.microsoft.com/office/drawing/2014/main" id="{F93EC7E2-B9E1-4C49-B07A-CCB25D04F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424"/>
              <a:ext cx="2" cy="3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1" name="Freeform 1627">
              <a:extLst>
                <a:ext uri="{FF2B5EF4-FFF2-40B4-BE49-F238E27FC236}">
                  <a16:creationId xmlns:a16="http://schemas.microsoft.com/office/drawing/2014/main" id="{CD1D02A0-4292-488C-BCEF-D16C54C5F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2424"/>
              <a:ext cx="2" cy="33"/>
            </a:xfrm>
            <a:custGeom>
              <a:avLst/>
              <a:gdLst>
                <a:gd name="T0" fmla="*/ 0 w 2"/>
                <a:gd name="T1" fmla="*/ 0 h 33"/>
                <a:gd name="T2" fmla="*/ 0 w 2"/>
                <a:gd name="T3" fmla="*/ 33 h 33"/>
                <a:gd name="T4" fmla="*/ 2 w 2"/>
                <a:gd name="T5" fmla="*/ 33 h 33"/>
                <a:gd name="T6" fmla="*/ 2 w 2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3">
                  <a:moveTo>
                    <a:pt x="0" y="0"/>
                  </a:moveTo>
                  <a:lnTo>
                    <a:pt x="0" y="33"/>
                  </a:lnTo>
                  <a:lnTo>
                    <a:pt x="2" y="3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2" name="Freeform 1628">
              <a:extLst>
                <a:ext uri="{FF2B5EF4-FFF2-40B4-BE49-F238E27FC236}">
                  <a16:creationId xmlns:a16="http://schemas.microsoft.com/office/drawing/2014/main" id="{0AEE3C70-B329-4248-8888-9B82817DF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" y="2474"/>
              <a:ext cx="18" cy="0"/>
            </a:xfrm>
            <a:custGeom>
              <a:avLst/>
              <a:gdLst>
                <a:gd name="T0" fmla="*/ 18 w 18"/>
                <a:gd name="T1" fmla="*/ 0 w 18"/>
                <a:gd name="T2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3" name="Line 1629">
              <a:extLst>
                <a:ext uri="{FF2B5EF4-FFF2-40B4-BE49-F238E27FC236}">
                  <a16:creationId xmlns:a16="http://schemas.microsoft.com/office/drawing/2014/main" id="{35172A83-61B1-45B6-AA8C-C8CD17734D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08" y="2474"/>
              <a:ext cx="1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4" name="Rectangle 1630">
              <a:extLst>
                <a:ext uri="{FF2B5EF4-FFF2-40B4-BE49-F238E27FC236}">
                  <a16:creationId xmlns:a16="http://schemas.microsoft.com/office/drawing/2014/main" id="{C6FDEB4B-D212-45F4-A05F-F441B55AE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8" y="2474"/>
              <a:ext cx="18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5" name="Freeform 1631">
              <a:extLst>
                <a:ext uri="{FF2B5EF4-FFF2-40B4-BE49-F238E27FC236}">
                  <a16:creationId xmlns:a16="http://schemas.microsoft.com/office/drawing/2014/main" id="{E8909D8E-C03F-4C53-8EFB-AC4111BC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" y="2474"/>
              <a:ext cx="18" cy="0"/>
            </a:xfrm>
            <a:custGeom>
              <a:avLst/>
              <a:gdLst>
                <a:gd name="T0" fmla="*/ 18 w 18"/>
                <a:gd name="T1" fmla="*/ 0 w 18"/>
                <a:gd name="T2" fmla="*/ 0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6" name="Rectangle 1632">
              <a:extLst>
                <a:ext uri="{FF2B5EF4-FFF2-40B4-BE49-F238E27FC236}">
                  <a16:creationId xmlns:a16="http://schemas.microsoft.com/office/drawing/2014/main" id="{1C9E0365-6EE0-466B-AC7F-7BC89073F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" y="2221"/>
              <a:ext cx="311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7" name="Freeform 1633">
              <a:extLst>
                <a:ext uri="{FF2B5EF4-FFF2-40B4-BE49-F238E27FC236}">
                  <a16:creationId xmlns:a16="http://schemas.microsoft.com/office/drawing/2014/main" id="{ACAC9D8E-364F-412E-ACD3-02046CA3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" y="2221"/>
              <a:ext cx="311" cy="0"/>
            </a:xfrm>
            <a:custGeom>
              <a:avLst/>
              <a:gdLst>
                <a:gd name="T0" fmla="*/ 0 w 311"/>
                <a:gd name="T1" fmla="*/ 311 w 311"/>
                <a:gd name="T2" fmla="*/ 311 w 311"/>
                <a:gd name="T3" fmla="*/ 0 w 31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11">
                  <a:moveTo>
                    <a:pt x="0" y="0"/>
                  </a:moveTo>
                  <a:lnTo>
                    <a:pt x="311" y="0"/>
                  </a:lnTo>
                  <a:lnTo>
                    <a:pt x="31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8" name="Rectangle 1634">
              <a:extLst>
                <a:ext uri="{FF2B5EF4-FFF2-40B4-BE49-F238E27FC236}">
                  <a16:creationId xmlns:a16="http://schemas.microsoft.com/office/drawing/2014/main" id="{DA803CEA-3DF7-4951-8026-A6A105169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" y="2219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9" name="Freeform 1635">
              <a:extLst>
                <a:ext uri="{FF2B5EF4-FFF2-40B4-BE49-F238E27FC236}">
                  <a16:creationId xmlns:a16="http://schemas.microsoft.com/office/drawing/2014/main" id="{97824C52-E8A2-48D6-9949-AD8A3CA36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" y="2219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0" name="Rectangle 1636">
              <a:extLst>
                <a:ext uri="{FF2B5EF4-FFF2-40B4-BE49-F238E27FC236}">
                  <a16:creationId xmlns:a16="http://schemas.microsoft.com/office/drawing/2014/main" id="{DEB33F2F-E4DD-4833-BA7F-975A9CA51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7" y="2219"/>
              <a:ext cx="3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1" name="Freeform 1637">
              <a:extLst>
                <a:ext uri="{FF2B5EF4-FFF2-40B4-BE49-F238E27FC236}">
                  <a16:creationId xmlns:a16="http://schemas.microsoft.com/office/drawing/2014/main" id="{8B4CA222-DFFE-4B33-8378-1A4902EC0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2219"/>
              <a:ext cx="3" cy="1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2" name="Rectangle 1638">
              <a:extLst>
                <a:ext uri="{FF2B5EF4-FFF2-40B4-BE49-F238E27FC236}">
                  <a16:creationId xmlns:a16="http://schemas.microsoft.com/office/drawing/2014/main" id="{D5ECF24F-E79B-416B-BBDC-06509219A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1" y="2219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3" name="Freeform 1639">
              <a:extLst>
                <a:ext uri="{FF2B5EF4-FFF2-40B4-BE49-F238E27FC236}">
                  <a16:creationId xmlns:a16="http://schemas.microsoft.com/office/drawing/2014/main" id="{B5DF47DF-0895-45AE-92AB-5081D0697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" y="2219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4" name="Rectangle 1640">
              <a:extLst>
                <a:ext uri="{FF2B5EF4-FFF2-40B4-BE49-F238E27FC236}">
                  <a16:creationId xmlns:a16="http://schemas.microsoft.com/office/drawing/2014/main" id="{3497B79A-616C-4737-BA5E-E1315E20FA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" y="2219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5" name="Freeform 1641">
              <a:extLst>
                <a:ext uri="{FF2B5EF4-FFF2-40B4-BE49-F238E27FC236}">
                  <a16:creationId xmlns:a16="http://schemas.microsoft.com/office/drawing/2014/main" id="{5C3F68DD-3D89-4CE7-961F-F046A3E95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" y="2219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6" name="Rectangle 1642">
              <a:extLst>
                <a:ext uri="{FF2B5EF4-FFF2-40B4-BE49-F238E27FC236}">
                  <a16:creationId xmlns:a16="http://schemas.microsoft.com/office/drawing/2014/main" id="{80184EA9-73A0-446B-8870-100EB37B9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" y="2219"/>
              <a:ext cx="2" cy="1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7" name="Freeform 1643">
              <a:extLst>
                <a:ext uri="{FF2B5EF4-FFF2-40B4-BE49-F238E27FC236}">
                  <a16:creationId xmlns:a16="http://schemas.microsoft.com/office/drawing/2014/main" id="{AE731076-72E9-4D94-AA95-428189D2B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" y="2219"/>
              <a:ext cx="2" cy="10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8" name="Freeform 1644">
              <a:extLst>
                <a:ext uri="{FF2B5EF4-FFF2-40B4-BE49-F238E27FC236}">
                  <a16:creationId xmlns:a16="http://schemas.microsoft.com/office/drawing/2014/main" id="{697FCDC5-8A67-4DF9-8E43-BACF7E915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6" y="2280"/>
              <a:ext cx="23" cy="43"/>
            </a:xfrm>
            <a:custGeom>
              <a:avLst/>
              <a:gdLst>
                <a:gd name="T0" fmla="*/ 6 w 9"/>
                <a:gd name="T1" fmla="*/ 16 h 17"/>
                <a:gd name="T2" fmla="*/ 0 w 9"/>
                <a:gd name="T3" fmla="*/ 2 h 17"/>
                <a:gd name="T4" fmla="*/ 1 w 9"/>
                <a:gd name="T5" fmla="*/ 0 h 17"/>
                <a:gd name="T6" fmla="*/ 3 w 9"/>
                <a:gd name="T7" fmla="*/ 1 h 17"/>
                <a:gd name="T8" fmla="*/ 9 w 9"/>
                <a:gd name="T9" fmla="*/ 15 h 17"/>
                <a:gd name="T10" fmla="*/ 8 w 9"/>
                <a:gd name="T11" fmla="*/ 17 h 17"/>
                <a:gd name="T12" fmla="*/ 6 w 9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7">
                  <a:moveTo>
                    <a:pt x="6" y="16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6"/>
                    <a:pt x="8" y="17"/>
                  </a:cubicBezTo>
                  <a:cubicBezTo>
                    <a:pt x="7" y="17"/>
                    <a:pt x="6" y="17"/>
                    <a:pt x="6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9" name="Freeform 1645">
              <a:extLst>
                <a:ext uri="{FF2B5EF4-FFF2-40B4-BE49-F238E27FC236}">
                  <a16:creationId xmlns:a16="http://schemas.microsoft.com/office/drawing/2014/main" id="{0E2EA215-68D6-42BD-A657-8140DC521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6" y="2280"/>
              <a:ext cx="23" cy="43"/>
            </a:xfrm>
            <a:custGeom>
              <a:avLst/>
              <a:gdLst>
                <a:gd name="T0" fmla="*/ 6 w 9"/>
                <a:gd name="T1" fmla="*/ 16 h 17"/>
                <a:gd name="T2" fmla="*/ 6 w 9"/>
                <a:gd name="T3" fmla="*/ 16 h 17"/>
                <a:gd name="T4" fmla="*/ 0 w 9"/>
                <a:gd name="T5" fmla="*/ 2 h 17"/>
                <a:gd name="T6" fmla="*/ 0 w 9"/>
                <a:gd name="T7" fmla="*/ 2 h 17"/>
                <a:gd name="T8" fmla="*/ 1 w 9"/>
                <a:gd name="T9" fmla="*/ 2 h 17"/>
                <a:gd name="T10" fmla="*/ 0 w 9"/>
                <a:gd name="T11" fmla="*/ 2 h 17"/>
                <a:gd name="T12" fmla="*/ 1 w 9"/>
                <a:gd name="T13" fmla="*/ 1 h 17"/>
                <a:gd name="T14" fmla="*/ 2 w 9"/>
                <a:gd name="T15" fmla="*/ 1 h 17"/>
                <a:gd name="T16" fmla="*/ 3 w 9"/>
                <a:gd name="T17" fmla="*/ 1 h 17"/>
                <a:gd name="T18" fmla="*/ 3 w 9"/>
                <a:gd name="T19" fmla="*/ 1 h 17"/>
                <a:gd name="T20" fmla="*/ 8 w 9"/>
                <a:gd name="T21" fmla="*/ 15 h 17"/>
                <a:gd name="T22" fmla="*/ 9 w 9"/>
                <a:gd name="T23" fmla="*/ 15 h 17"/>
                <a:gd name="T24" fmla="*/ 8 w 9"/>
                <a:gd name="T25" fmla="*/ 15 h 17"/>
                <a:gd name="T26" fmla="*/ 8 w 9"/>
                <a:gd name="T27" fmla="*/ 15 h 17"/>
                <a:gd name="T28" fmla="*/ 7 w 9"/>
                <a:gd name="T29" fmla="*/ 16 h 17"/>
                <a:gd name="T30" fmla="*/ 7 w 9"/>
                <a:gd name="T31" fmla="*/ 16 h 17"/>
                <a:gd name="T32" fmla="*/ 6 w 9"/>
                <a:gd name="T33" fmla="*/ 16 h 17"/>
                <a:gd name="T34" fmla="*/ 6 w 9"/>
                <a:gd name="T35" fmla="*/ 16 h 17"/>
                <a:gd name="T36" fmla="*/ 6 w 9"/>
                <a:gd name="T37" fmla="*/ 16 h 17"/>
                <a:gd name="T38" fmla="*/ 6 w 9"/>
                <a:gd name="T39" fmla="*/ 16 h 17"/>
                <a:gd name="T40" fmla="*/ 5 w 9"/>
                <a:gd name="T41" fmla="*/ 16 h 17"/>
                <a:gd name="T42" fmla="*/ 7 w 9"/>
                <a:gd name="T43" fmla="*/ 17 h 17"/>
                <a:gd name="T44" fmla="*/ 8 w 9"/>
                <a:gd name="T45" fmla="*/ 17 h 17"/>
                <a:gd name="T46" fmla="*/ 9 w 9"/>
                <a:gd name="T47" fmla="*/ 15 h 17"/>
                <a:gd name="T48" fmla="*/ 9 w 9"/>
                <a:gd name="T49" fmla="*/ 14 h 17"/>
                <a:gd name="T50" fmla="*/ 9 w 9"/>
                <a:gd name="T51" fmla="*/ 14 h 17"/>
                <a:gd name="T52" fmla="*/ 4 w 9"/>
                <a:gd name="T53" fmla="*/ 1 h 17"/>
                <a:gd name="T54" fmla="*/ 3 w 9"/>
                <a:gd name="T55" fmla="*/ 1 h 17"/>
                <a:gd name="T56" fmla="*/ 4 w 9"/>
                <a:gd name="T57" fmla="*/ 1 h 17"/>
                <a:gd name="T58" fmla="*/ 2 w 9"/>
                <a:gd name="T59" fmla="*/ 0 h 17"/>
                <a:gd name="T60" fmla="*/ 1 w 9"/>
                <a:gd name="T61" fmla="*/ 0 h 17"/>
                <a:gd name="T62" fmla="*/ 0 w 9"/>
                <a:gd name="T63" fmla="*/ 2 h 17"/>
                <a:gd name="T64" fmla="*/ 0 w 9"/>
                <a:gd name="T65" fmla="*/ 3 h 17"/>
                <a:gd name="T66" fmla="*/ 0 w 9"/>
                <a:gd name="T67" fmla="*/ 3 h 17"/>
                <a:gd name="T68" fmla="*/ 5 w 9"/>
                <a:gd name="T69" fmla="*/ 16 h 17"/>
                <a:gd name="T70" fmla="*/ 6 w 9"/>
                <a:gd name="T71" fmla="*/ 16 h 17"/>
                <a:gd name="T72" fmla="*/ 5 w 9"/>
                <a:gd name="T73" fmla="*/ 16 h 17"/>
                <a:gd name="T74" fmla="*/ 6 w 9"/>
                <a:gd name="T7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" h="17"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9" y="17"/>
                    <a:pt x="9" y="16"/>
                    <a:pt x="9" y="15"/>
                  </a:cubicBezTo>
                  <a:cubicBezTo>
                    <a:pt x="9" y="15"/>
                    <a:pt x="9" y="15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0" name="Freeform 1646">
              <a:extLst>
                <a:ext uri="{FF2B5EF4-FFF2-40B4-BE49-F238E27FC236}">
                  <a16:creationId xmlns:a16="http://schemas.microsoft.com/office/drawing/2014/main" id="{1360F712-FC25-4B32-BCBE-B665B036E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" y="2290"/>
              <a:ext cx="5" cy="7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0 h 7"/>
                <a:gd name="T4" fmla="*/ 0 w 5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1" name="Line 1647">
              <a:extLst>
                <a:ext uri="{FF2B5EF4-FFF2-40B4-BE49-F238E27FC236}">
                  <a16:creationId xmlns:a16="http://schemas.microsoft.com/office/drawing/2014/main" id="{C2B6E5F7-7284-4815-898A-147AD75230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84" y="2290"/>
              <a:ext cx="5" cy="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2" name="Freeform 1648">
              <a:extLst>
                <a:ext uri="{FF2B5EF4-FFF2-40B4-BE49-F238E27FC236}">
                  <a16:creationId xmlns:a16="http://schemas.microsoft.com/office/drawing/2014/main" id="{60192468-AB17-44D7-A727-008EFC625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" y="2290"/>
              <a:ext cx="5" cy="7"/>
            </a:xfrm>
            <a:custGeom>
              <a:avLst/>
              <a:gdLst>
                <a:gd name="T0" fmla="*/ 2 w 5"/>
                <a:gd name="T1" fmla="*/ 7 h 7"/>
                <a:gd name="T2" fmla="*/ 5 w 5"/>
                <a:gd name="T3" fmla="*/ 2 h 7"/>
                <a:gd name="T4" fmla="*/ 5 w 5"/>
                <a:gd name="T5" fmla="*/ 0 h 7"/>
                <a:gd name="T6" fmla="*/ 0 w 5"/>
                <a:gd name="T7" fmla="*/ 7 h 7"/>
                <a:gd name="T8" fmla="*/ 2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lnTo>
                    <a:pt x="5" y="2"/>
                  </a:lnTo>
                  <a:lnTo>
                    <a:pt x="5" y="0"/>
                  </a:lnTo>
                  <a:lnTo>
                    <a:pt x="0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3" name="Freeform 1649">
              <a:extLst>
                <a:ext uri="{FF2B5EF4-FFF2-40B4-BE49-F238E27FC236}">
                  <a16:creationId xmlns:a16="http://schemas.microsoft.com/office/drawing/2014/main" id="{23294EDC-C797-471A-B0EC-068CF4C18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" y="2290"/>
              <a:ext cx="5" cy="7"/>
            </a:xfrm>
            <a:custGeom>
              <a:avLst/>
              <a:gdLst>
                <a:gd name="T0" fmla="*/ 2 w 5"/>
                <a:gd name="T1" fmla="*/ 7 h 7"/>
                <a:gd name="T2" fmla="*/ 5 w 5"/>
                <a:gd name="T3" fmla="*/ 2 h 7"/>
                <a:gd name="T4" fmla="*/ 5 w 5"/>
                <a:gd name="T5" fmla="*/ 0 h 7"/>
                <a:gd name="T6" fmla="*/ 0 w 5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lnTo>
                    <a:pt x="5" y="2"/>
                  </a:lnTo>
                  <a:lnTo>
                    <a:pt x="5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4" name="Freeform 1650">
              <a:extLst>
                <a:ext uri="{FF2B5EF4-FFF2-40B4-BE49-F238E27FC236}">
                  <a16:creationId xmlns:a16="http://schemas.microsoft.com/office/drawing/2014/main" id="{123A8E18-FDA8-4AD4-8912-9B01A7ECE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" y="2254"/>
              <a:ext cx="20" cy="20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0 w 8"/>
                <a:gd name="T5" fmla="*/ 4 h 8"/>
                <a:gd name="T6" fmla="*/ 4 w 8"/>
                <a:gd name="T7" fmla="*/ 0 h 8"/>
                <a:gd name="T8" fmla="*/ 8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6"/>
                    <a:pt x="7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5" name="Freeform 1651">
              <a:extLst>
                <a:ext uri="{FF2B5EF4-FFF2-40B4-BE49-F238E27FC236}">
                  <a16:creationId xmlns:a16="http://schemas.microsoft.com/office/drawing/2014/main" id="{64EC233C-774A-4042-84C2-63098847E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" y="2252"/>
              <a:ext cx="25" cy="25"/>
            </a:xfrm>
            <a:custGeom>
              <a:avLst/>
              <a:gdLst>
                <a:gd name="T0" fmla="*/ 9 w 10"/>
                <a:gd name="T1" fmla="*/ 5 h 10"/>
                <a:gd name="T2" fmla="*/ 9 w 10"/>
                <a:gd name="T3" fmla="*/ 5 h 10"/>
                <a:gd name="T4" fmla="*/ 9 w 10"/>
                <a:gd name="T5" fmla="*/ 5 h 10"/>
                <a:gd name="T6" fmla="*/ 5 w 10"/>
                <a:gd name="T7" fmla="*/ 9 h 10"/>
                <a:gd name="T8" fmla="*/ 5 w 10"/>
                <a:gd name="T9" fmla="*/ 9 h 10"/>
                <a:gd name="T10" fmla="*/ 1 w 10"/>
                <a:gd name="T11" fmla="*/ 5 h 10"/>
                <a:gd name="T12" fmla="*/ 1 w 10"/>
                <a:gd name="T13" fmla="*/ 5 h 10"/>
                <a:gd name="T14" fmla="*/ 5 w 10"/>
                <a:gd name="T15" fmla="*/ 1 h 10"/>
                <a:gd name="T16" fmla="*/ 5 w 10"/>
                <a:gd name="T17" fmla="*/ 1 h 10"/>
                <a:gd name="T18" fmla="*/ 9 w 10"/>
                <a:gd name="T19" fmla="*/ 5 h 10"/>
                <a:gd name="T20" fmla="*/ 9 w 10"/>
                <a:gd name="T21" fmla="*/ 5 h 10"/>
                <a:gd name="T22" fmla="*/ 10 w 10"/>
                <a:gd name="T23" fmla="*/ 5 h 10"/>
                <a:gd name="T24" fmla="*/ 5 w 10"/>
                <a:gd name="T25" fmla="*/ 0 h 10"/>
                <a:gd name="T26" fmla="*/ 5 w 10"/>
                <a:gd name="T27" fmla="*/ 0 h 10"/>
                <a:gd name="T28" fmla="*/ 0 w 10"/>
                <a:gd name="T29" fmla="*/ 5 h 10"/>
                <a:gd name="T30" fmla="*/ 0 w 10"/>
                <a:gd name="T31" fmla="*/ 5 h 10"/>
                <a:gd name="T32" fmla="*/ 5 w 10"/>
                <a:gd name="T33" fmla="*/ 10 h 10"/>
                <a:gd name="T34" fmla="*/ 5 w 10"/>
                <a:gd name="T35" fmla="*/ 10 h 10"/>
                <a:gd name="T36" fmla="*/ 10 w 10"/>
                <a:gd name="T37" fmla="*/ 5 h 10"/>
                <a:gd name="T38" fmla="*/ 10 w 10"/>
                <a:gd name="T39" fmla="*/ 5 h 10"/>
                <a:gd name="T40" fmla="*/ 9 w 10"/>
                <a:gd name="T4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10">
                  <a:moveTo>
                    <a:pt x="9" y="5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7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1" y="7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1"/>
                    <a:pt x="9" y="3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8"/>
                    <a:pt x="3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8" y="10"/>
                    <a:pt x="10" y="8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6" name="Freeform 1652">
              <a:extLst>
                <a:ext uri="{FF2B5EF4-FFF2-40B4-BE49-F238E27FC236}">
                  <a16:creationId xmlns:a16="http://schemas.microsoft.com/office/drawing/2014/main" id="{DD740892-6B1F-4FD9-B373-588C87809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" y="2280"/>
              <a:ext cx="43" cy="86"/>
            </a:xfrm>
            <a:custGeom>
              <a:avLst/>
              <a:gdLst>
                <a:gd name="T0" fmla="*/ 17 w 17"/>
                <a:gd name="T1" fmla="*/ 23 h 34"/>
                <a:gd name="T2" fmla="*/ 17 w 17"/>
                <a:gd name="T3" fmla="*/ 22 h 34"/>
                <a:gd name="T4" fmla="*/ 14 w 17"/>
                <a:gd name="T5" fmla="*/ 14 h 34"/>
                <a:gd name="T6" fmla="*/ 13 w 17"/>
                <a:gd name="T7" fmla="*/ 14 h 34"/>
                <a:gd name="T8" fmla="*/ 13 w 17"/>
                <a:gd name="T9" fmla="*/ 1 h 34"/>
                <a:gd name="T10" fmla="*/ 12 w 17"/>
                <a:gd name="T11" fmla="*/ 0 h 34"/>
                <a:gd name="T12" fmla="*/ 7 w 17"/>
                <a:gd name="T13" fmla="*/ 0 h 34"/>
                <a:gd name="T14" fmla="*/ 6 w 17"/>
                <a:gd name="T15" fmla="*/ 0 h 34"/>
                <a:gd name="T16" fmla="*/ 6 w 17"/>
                <a:gd name="T17" fmla="*/ 0 h 34"/>
                <a:gd name="T18" fmla="*/ 6 w 17"/>
                <a:gd name="T19" fmla="*/ 0 h 34"/>
                <a:gd name="T20" fmla="*/ 6 w 17"/>
                <a:gd name="T21" fmla="*/ 0 h 34"/>
                <a:gd name="T22" fmla="*/ 6 w 17"/>
                <a:gd name="T23" fmla="*/ 0 h 34"/>
                <a:gd name="T24" fmla="*/ 6 w 17"/>
                <a:gd name="T25" fmla="*/ 0 h 34"/>
                <a:gd name="T26" fmla="*/ 5 w 17"/>
                <a:gd name="T27" fmla="*/ 1 h 34"/>
                <a:gd name="T28" fmla="*/ 0 w 17"/>
                <a:gd name="T29" fmla="*/ 8 h 34"/>
                <a:gd name="T30" fmla="*/ 0 w 17"/>
                <a:gd name="T31" fmla="*/ 8 h 34"/>
                <a:gd name="T32" fmla="*/ 0 w 17"/>
                <a:gd name="T33" fmla="*/ 8 h 34"/>
                <a:gd name="T34" fmla="*/ 0 w 17"/>
                <a:gd name="T35" fmla="*/ 9 h 34"/>
                <a:gd name="T36" fmla="*/ 0 w 17"/>
                <a:gd name="T37" fmla="*/ 9 h 34"/>
                <a:gd name="T38" fmla="*/ 0 w 17"/>
                <a:gd name="T39" fmla="*/ 16 h 34"/>
                <a:gd name="T40" fmla="*/ 2 w 17"/>
                <a:gd name="T41" fmla="*/ 18 h 34"/>
                <a:gd name="T42" fmla="*/ 4 w 17"/>
                <a:gd name="T43" fmla="*/ 16 h 34"/>
                <a:gd name="T44" fmla="*/ 4 w 17"/>
                <a:gd name="T45" fmla="*/ 9 h 34"/>
                <a:gd name="T46" fmla="*/ 5 w 17"/>
                <a:gd name="T47" fmla="*/ 7 h 34"/>
                <a:gd name="T48" fmla="*/ 5 w 17"/>
                <a:gd name="T49" fmla="*/ 11 h 34"/>
                <a:gd name="T50" fmla="*/ 5 w 17"/>
                <a:gd name="T51" fmla="*/ 11 h 34"/>
                <a:gd name="T52" fmla="*/ 6 w 17"/>
                <a:gd name="T53" fmla="*/ 24 h 34"/>
                <a:gd name="T54" fmla="*/ 2 w 17"/>
                <a:gd name="T55" fmla="*/ 31 h 34"/>
                <a:gd name="T56" fmla="*/ 2 w 17"/>
                <a:gd name="T57" fmla="*/ 33 h 34"/>
                <a:gd name="T58" fmla="*/ 4 w 17"/>
                <a:gd name="T59" fmla="*/ 33 h 34"/>
                <a:gd name="T60" fmla="*/ 9 w 17"/>
                <a:gd name="T61" fmla="*/ 26 h 34"/>
                <a:gd name="T62" fmla="*/ 9 w 17"/>
                <a:gd name="T63" fmla="*/ 25 h 34"/>
                <a:gd name="T64" fmla="*/ 9 w 17"/>
                <a:gd name="T65" fmla="*/ 17 h 34"/>
                <a:gd name="T66" fmla="*/ 11 w 17"/>
                <a:gd name="T67" fmla="*/ 17 h 34"/>
                <a:gd name="T68" fmla="*/ 13 w 17"/>
                <a:gd name="T69" fmla="*/ 23 h 34"/>
                <a:gd name="T70" fmla="*/ 14 w 17"/>
                <a:gd name="T71" fmla="*/ 31 h 34"/>
                <a:gd name="T72" fmla="*/ 15 w 17"/>
                <a:gd name="T73" fmla="*/ 33 h 34"/>
                <a:gd name="T74" fmla="*/ 17 w 17"/>
                <a:gd name="T75" fmla="*/ 31 h 34"/>
                <a:gd name="T76" fmla="*/ 17 w 17"/>
                <a:gd name="T77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34">
                  <a:moveTo>
                    <a:pt x="17" y="23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3" y="14"/>
                    <a:pt x="13" y="14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2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3" y="18"/>
                    <a:pt x="4" y="17"/>
                    <a:pt x="4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1" y="33"/>
                    <a:pt x="2" y="33"/>
                  </a:cubicBezTo>
                  <a:cubicBezTo>
                    <a:pt x="3" y="34"/>
                    <a:pt x="4" y="33"/>
                    <a:pt x="4" y="3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5" y="33"/>
                    <a:pt x="15" y="33"/>
                  </a:cubicBezTo>
                  <a:cubicBezTo>
                    <a:pt x="16" y="33"/>
                    <a:pt x="17" y="32"/>
                    <a:pt x="17" y="31"/>
                  </a:cubicBezTo>
                  <a:cubicBezTo>
                    <a:pt x="17" y="23"/>
                    <a:pt x="17" y="23"/>
                    <a:pt x="17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7" name="Freeform 1653">
              <a:extLst>
                <a:ext uri="{FF2B5EF4-FFF2-40B4-BE49-F238E27FC236}">
                  <a16:creationId xmlns:a16="http://schemas.microsoft.com/office/drawing/2014/main" id="{1825AD4E-B855-4327-A9D5-63BB3FBA4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" y="2280"/>
              <a:ext cx="46" cy="86"/>
            </a:xfrm>
            <a:custGeom>
              <a:avLst/>
              <a:gdLst>
                <a:gd name="T0" fmla="*/ 17 w 18"/>
                <a:gd name="T1" fmla="*/ 22 h 34"/>
                <a:gd name="T2" fmla="*/ 13 w 18"/>
                <a:gd name="T3" fmla="*/ 14 h 34"/>
                <a:gd name="T4" fmla="*/ 12 w 18"/>
                <a:gd name="T5" fmla="*/ 0 h 34"/>
                <a:gd name="T6" fmla="*/ 12 w 18"/>
                <a:gd name="T7" fmla="*/ 0 h 34"/>
                <a:gd name="T8" fmla="*/ 7 w 18"/>
                <a:gd name="T9" fmla="*/ 0 h 34"/>
                <a:gd name="T10" fmla="*/ 6 w 18"/>
                <a:gd name="T11" fmla="*/ 0 h 34"/>
                <a:gd name="T12" fmla="*/ 6 w 18"/>
                <a:gd name="T13" fmla="*/ 0 h 34"/>
                <a:gd name="T14" fmla="*/ 6 w 18"/>
                <a:gd name="T15" fmla="*/ 0 h 34"/>
                <a:gd name="T16" fmla="*/ 5 w 18"/>
                <a:gd name="T17" fmla="*/ 0 h 34"/>
                <a:gd name="T18" fmla="*/ 5 w 18"/>
                <a:gd name="T19" fmla="*/ 1 h 34"/>
                <a:gd name="T20" fmla="*/ 0 w 18"/>
                <a:gd name="T21" fmla="*/ 8 h 34"/>
                <a:gd name="T22" fmla="*/ 0 w 18"/>
                <a:gd name="T23" fmla="*/ 9 h 34"/>
                <a:gd name="T24" fmla="*/ 0 w 18"/>
                <a:gd name="T25" fmla="*/ 9 h 34"/>
                <a:gd name="T26" fmla="*/ 0 w 18"/>
                <a:gd name="T27" fmla="*/ 16 h 34"/>
                <a:gd name="T28" fmla="*/ 2 w 18"/>
                <a:gd name="T29" fmla="*/ 18 h 34"/>
                <a:gd name="T30" fmla="*/ 4 w 18"/>
                <a:gd name="T31" fmla="*/ 16 h 34"/>
                <a:gd name="T32" fmla="*/ 5 w 18"/>
                <a:gd name="T33" fmla="*/ 11 h 34"/>
                <a:gd name="T34" fmla="*/ 5 w 18"/>
                <a:gd name="T35" fmla="*/ 24 h 34"/>
                <a:gd name="T36" fmla="*/ 2 w 18"/>
                <a:gd name="T37" fmla="*/ 34 h 34"/>
                <a:gd name="T38" fmla="*/ 9 w 18"/>
                <a:gd name="T39" fmla="*/ 26 h 34"/>
                <a:gd name="T40" fmla="*/ 9 w 18"/>
                <a:gd name="T41" fmla="*/ 25 h 34"/>
                <a:gd name="T42" fmla="*/ 11 w 18"/>
                <a:gd name="T43" fmla="*/ 17 h 34"/>
                <a:gd name="T44" fmla="*/ 15 w 18"/>
                <a:gd name="T45" fmla="*/ 33 h 34"/>
                <a:gd name="T46" fmla="*/ 18 w 18"/>
                <a:gd name="T47" fmla="*/ 31 h 34"/>
                <a:gd name="T48" fmla="*/ 17 w 18"/>
                <a:gd name="T49" fmla="*/ 23 h 34"/>
                <a:gd name="T50" fmla="*/ 17 w 18"/>
                <a:gd name="T51" fmla="*/ 23 h 34"/>
                <a:gd name="T52" fmla="*/ 16 w 18"/>
                <a:gd name="T53" fmla="*/ 23 h 34"/>
                <a:gd name="T54" fmla="*/ 17 w 18"/>
                <a:gd name="T55" fmla="*/ 31 h 34"/>
                <a:gd name="T56" fmla="*/ 15 w 18"/>
                <a:gd name="T57" fmla="*/ 32 h 34"/>
                <a:gd name="T58" fmla="*/ 14 w 18"/>
                <a:gd name="T59" fmla="*/ 23 h 34"/>
                <a:gd name="T60" fmla="*/ 9 w 18"/>
                <a:gd name="T61" fmla="*/ 25 h 34"/>
                <a:gd name="T62" fmla="*/ 8 w 18"/>
                <a:gd name="T63" fmla="*/ 25 h 34"/>
                <a:gd name="T64" fmla="*/ 2 w 18"/>
                <a:gd name="T65" fmla="*/ 33 h 34"/>
                <a:gd name="T66" fmla="*/ 6 w 18"/>
                <a:gd name="T67" fmla="*/ 24 h 34"/>
                <a:gd name="T68" fmla="*/ 6 w 18"/>
                <a:gd name="T69" fmla="*/ 11 h 34"/>
                <a:gd name="T70" fmla="*/ 3 w 18"/>
                <a:gd name="T71" fmla="*/ 16 h 34"/>
                <a:gd name="T72" fmla="*/ 3 w 18"/>
                <a:gd name="T73" fmla="*/ 16 h 34"/>
                <a:gd name="T74" fmla="*/ 2 w 18"/>
                <a:gd name="T75" fmla="*/ 17 h 34"/>
                <a:gd name="T76" fmla="*/ 1 w 18"/>
                <a:gd name="T77" fmla="*/ 9 h 34"/>
                <a:gd name="T78" fmla="*/ 1 w 18"/>
                <a:gd name="T79" fmla="*/ 9 h 34"/>
                <a:gd name="T80" fmla="*/ 1 w 18"/>
                <a:gd name="T81" fmla="*/ 9 h 34"/>
                <a:gd name="T82" fmla="*/ 1 w 18"/>
                <a:gd name="T83" fmla="*/ 9 h 34"/>
                <a:gd name="T84" fmla="*/ 0 w 18"/>
                <a:gd name="T85" fmla="*/ 8 h 34"/>
                <a:gd name="T86" fmla="*/ 6 w 18"/>
                <a:gd name="T87" fmla="*/ 1 h 34"/>
                <a:gd name="T88" fmla="*/ 6 w 18"/>
                <a:gd name="T89" fmla="*/ 1 h 34"/>
                <a:gd name="T90" fmla="*/ 6 w 18"/>
                <a:gd name="T91" fmla="*/ 1 h 34"/>
                <a:gd name="T92" fmla="*/ 7 w 18"/>
                <a:gd name="T93" fmla="*/ 1 h 34"/>
                <a:gd name="T94" fmla="*/ 12 w 18"/>
                <a:gd name="T95" fmla="*/ 0 h 34"/>
                <a:gd name="T96" fmla="*/ 13 w 18"/>
                <a:gd name="T97" fmla="*/ 1 h 34"/>
                <a:gd name="T98" fmla="*/ 13 w 18"/>
                <a:gd name="T99" fmla="*/ 14 h 34"/>
                <a:gd name="T100" fmla="*/ 16 w 18"/>
                <a:gd name="T101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" h="34">
                  <a:moveTo>
                    <a:pt x="17" y="23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4" y="17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3"/>
                    <a:pt x="2" y="34"/>
                  </a:cubicBezTo>
                  <a:cubicBezTo>
                    <a:pt x="2" y="34"/>
                    <a:pt x="3" y="34"/>
                    <a:pt x="3" y="34"/>
                  </a:cubicBezTo>
                  <a:cubicBezTo>
                    <a:pt x="4" y="34"/>
                    <a:pt x="4" y="34"/>
                    <a:pt x="5" y="3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6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2"/>
                    <a:pt x="14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7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2"/>
                    <a:pt x="16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8" y="25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3" y="33"/>
                    <a:pt x="3" y="33"/>
                  </a:cubicBezTo>
                  <a:cubicBezTo>
                    <a:pt x="3" y="33"/>
                    <a:pt x="2" y="33"/>
                    <a:pt x="2" y="33"/>
                  </a:cubicBezTo>
                  <a:cubicBezTo>
                    <a:pt x="2" y="33"/>
                    <a:pt x="2" y="32"/>
                    <a:pt x="2" y="32"/>
                  </a:cubicBezTo>
                  <a:cubicBezTo>
                    <a:pt x="2" y="32"/>
                    <a:pt x="2" y="31"/>
                    <a:pt x="2" y="31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7"/>
                    <a:pt x="3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1" y="17"/>
                    <a:pt x="1" y="1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1"/>
                    <a:pt x="13" y="1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lnTo>
                    <a:pt x="17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8" name="Freeform 1654">
              <a:extLst>
                <a:ext uri="{FF2B5EF4-FFF2-40B4-BE49-F238E27FC236}">
                  <a16:creationId xmlns:a16="http://schemas.microsoft.com/office/drawing/2014/main" id="{1397C1D1-8AA6-4EB3-9911-BBDE1D243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280"/>
              <a:ext cx="26" cy="43"/>
            </a:xfrm>
            <a:custGeom>
              <a:avLst/>
              <a:gdLst>
                <a:gd name="T0" fmla="*/ 6 w 10"/>
                <a:gd name="T1" fmla="*/ 16 h 17"/>
                <a:gd name="T2" fmla="*/ 1 w 10"/>
                <a:gd name="T3" fmla="*/ 3 h 17"/>
                <a:gd name="T4" fmla="*/ 2 w 10"/>
                <a:gd name="T5" fmla="*/ 1 h 17"/>
                <a:gd name="T6" fmla="*/ 4 w 10"/>
                <a:gd name="T7" fmla="*/ 2 h 17"/>
                <a:gd name="T8" fmla="*/ 9 w 10"/>
                <a:gd name="T9" fmla="*/ 15 h 17"/>
                <a:gd name="T10" fmla="*/ 8 w 10"/>
                <a:gd name="T11" fmla="*/ 17 h 17"/>
                <a:gd name="T12" fmla="*/ 6 w 10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7">
                  <a:moveTo>
                    <a:pt x="6" y="16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3" y="1"/>
                    <a:pt x="4" y="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7"/>
                    <a:pt x="6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9" name="Freeform 1655">
              <a:extLst>
                <a:ext uri="{FF2B5EF4-FFF2-40B4-BE49-F238E27FC236}">
                  <a16:creationId xmlns:a16="http://schemas.microsoft.com/office/drawing/2014/main" id="{33CD4544-19E8-4227-B243-1C1CE68A0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280"/>
              <a:ext cx="26" cy="45"/>
            </a:xfrm>
            <a:custGeom>
              <a:avLst/>
              <a:gdLst>
                <a:gd name="T0" fmla="*/ 6 w 10"/>
                <a:gd name="T1" fmla="*/ 16 h 18"/>
                <a:gd name="T2" fmla="*/ 7 w 10"/>
                <a:gd name="T3" fmla="*/ 16 h 18"/>
                <a:gd name="T4" fmla="*/ 1 w 10"/>
                <a:gd name="T5" fmla="*/ 3 h 18"/>
                <a:gd name="T6" fmla="*/ 1 w 10"/>
                <a:gd name="T7" fmla="*/ 3 h 18"/>
                <a:gd name="T8" fmla="*/ 1 w 10"/>
                <a:gd name="T9" fmla="*/ 3 h 18"/>
                <a:gd name="T10" fmla="*/ 1 w 10"/>
                <a:gd name="T11" fmla="*/ 2 h 18"/>
                <a:gd name="T12" fmla="*/ 2 w 10"/>
                <a:gd name="T13" fmla="*/ 1 h 18"/>
                <a:gd name="T14" fmla="*/ 2 w 10"/>
                <a:gd name="T15" fmla="*/ 1 h 18"/>
                <a:gd name="T16" fmla="*/ 3 w 10"/>
                <a:gd name="T17" fmla="*/ 2 h 18"/>
                <a:gd name="T18" fmla="*/ 3 w 10"/>
                <a:gd name="T19" fmla="*/ 2 h 18"/>
                <a:gd name="T20" fmla="*/ 9 w 10"/>
                <a:gd name="T21" fmla="*/ 15 h 18"/>
                <a:gd name="T22" fmla="*/ 9 w 10"/>
                <a:gd name="T23" fmla="*/ 15 h 18"/>
                <a:gd name="T24" fmla="*/ 9 w 10"/>
                <a:gd name="T25" fmla="*/ 15 h 18"/>
                <a:gd name="T26" fmla="*/ 9 w 10"/>
                <a:gd name="T27" fmla="*/ 16 h 18"/>
                <a:gd name="T28" fmla="*/ 8 w 10"/>
                <a:gd name="T29" fmla="*/ 17 h 18"/>
                <a:gd name="T30" fmla="*/ 8 w 10"/>
                <a:gd name="T31" fmla="*/ 17 h 18"/>
                <a:gd name="T32" fmla="*/ 7 w 10"/>
                <a:gd name="T33" fmla="*/ 16 h 18"/>
                <a:gd name="T34" fmla="*/ 7 w 10"/>
                <a:gd name="T35" fmla="*/ 16 h 18"/>
                <a:gd name="T36" fmla="*/ 7 w 10"/>
                <a:gd name="T37" fmla="*/ 16 h 18"/>
                <a:gd name="T38" fmla="*/ 6 w 10"/>
                <a:gd name="T39" fmla="*/ 16 h 18"/>
                <a:gd name="T40" fmla="*/ 6 w 10"/>
                <a:gd name="T41" fmla="*/ 16 h 18"/>
                <a:gd name="T42" fmla="*/ 8 w 10"/>
                <a:gd name="T43" fmla="*/ 18 h 18"/>
                <a:gd name="T44" fmla="*/ 8 w 10"/>
                <a:gd name="T45" fmla="*/ 18 h 18"/>
                <a:gd name="T46" fmla="*/ 10 w 10"/>
                <a:gd name="T47" fmla="*/ 16 h 18"/>
                <a:gd name="T48" fmla="*/ 10 w 10"/>
                <a:gd name="T49" fmla="*/ 15 h 18"/>
                <a:gd name="T50" fmla="*/ 10 w 10"/>
                <a:gd name="T51" fmla="*/ 15 h 18"/>
                <a:gd name="T52" fmla="*/ 4 w 10"/>
                <a:gd name="T53" fmla="*/ 1 h 18"/>
                <a:gd name="T54" fmla="*/ 4 w 10"/>
                <a:gd name="T55" fmla="*/ 2 h 18"/>
                <a:gd name="T56" fmla="*/ 4 w 10"/>
                <a:gd name="T57" fmla="*/ 2 h 18"/>
                <a:gd name="T58" fmla="*/ 2 w 10"/>
                <a:gd name="T59" fmla="*/ 0 h 18"/>
                <a:gd name="T60" fmla="*/ 2 w 10"/>
                <a:gd name="T61" fmla="*/ 0 h 18"/>
                <a:gd name="T62" fmla="*/ 0 w 10"/>
                <a:gd name="T63" fmla="*/ 2 h 18"/>
                <a:gd name="T64" fmla="*/ 0 w 10"/>
                <a:gd name="T65" fmla="*/ 3 h 18"/>
                <a:gd name="T66" fmla="*/ 0 w 10"/>
                <a:gd name="T67" fmla="*/ 3 h 18"/>
                <a:gd name="T68" fmla="*/ 6 w 10"/>
                <a:gd name="T69" fmla="*/ 16 h 18"/>
                <a:gd name="T70" fmla="*/ 6 w 10"/>
                <a:gd name="T71" fmla="*/ 16 h 18"/>
                <a:gd name="T72" fmla="*/ 6 w 10"/>
                <a:gd name="T73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8">
                  <a:moveTo>
                    <a:pt x="6" y="16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6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7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7"/>
                    <a:pt x="10" y="16"/>
                    <a:pt x="10" y="1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0" name="Freeform 1656">
              <a:extLst>
                <a:ext uri="{FF2B5EF4-FFF2-40B4-BE49-F238E27FC236}">
                  <a16:creationId xmlns:a16="http://schemas.microsoft.com/office/drawing/2014/main" id="{18AAECEC-18FD-4972-873F-5BD2A459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3" y="2292"/>
              <a:ext cx="5" cy="5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0 h 5"/>
                <a:gd name="T4" fmla="*/ 0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1" name="Line 1657">
              <a:extLst>
                <a:ext uri="{FF2B5EF4-FFF2-40B4-BE49-F238E27FC236}">
                  <a16:creationId xmlns:a16="http://schemas.microsoft.com/office/drawing/2014/main" id="{D77CF182-66CA-4F9C-ACC4-FEC7B33BA1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53" y="2292"/>
              <a:ext cx="5" cy="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2" name="Freeform 1658">
              <a:extLst>
                <a:ext uri="{FF2B5EF4-FFF2-40B4-BE49-F238E27FC236}">
                  <a16:creationId xmlns:a16="http://schemas.microsoft.com/office/drawing/2014/main" id="{F25E31EB-3C10-4177-BB08-2176B7B08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290"/>
              <a:ext cx="7" cy="7"/>
            </a:xfrm>
            <a:custGeom>
              <a:avLst/>
              <a:gdLst>
                <a:gd name="T0" fmla="*/ 2 w 7"/>
                <a:gd name="T1" fmla="*/ 7 h 7"/>
                <a:gd name="T2" fmla="*/ 7 w 7"/>
                <a:gd name="T3" fmla="*/ 2 h 7"/>
                <a:gd name="T4" fmla="*/ 5 w 7"/>
                <a:gd name="T5" fmla="*/ 0 h 7"/>
                <a:gd name="T6" fmla="*/ 0 w 7"/>
                <a:gd name="T7" fmla="*/ 7 h 7"/>
                <a:gd name="T8" fmla="*/ 2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lnTo>
                    <a:pt x="7" y="2"/>
                  </a:lnTo>
                  <a:lnTo>
                    <a:pt x="5" y="0"/>
                  </a:lnTo>
                  <a:lnTo>
                    <a:pt x="0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3" name="Freeform 1659">
              <a:extLst>
                <a:ext uri="{FF2B5EF4-FFF2-40B4-BE49-F238E27FC236}">
                  <a16:creationId xmlns:a16="http://schemas.microsoft.com/office/drawing/2014/main" id="{A6C7B015-A8E9-4CD2-B148-2C2E8D2FB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290"/>
              <a:ext cx="7" cy="7"/>
            </a:xfrm>
            <a:custGeom>
              <a:avLst/>
              <a:gdLst>
                <a:gd name="T0" fmla="*/ 2 w 7"/>
                <a:gd name="T1" fmla="*/ 7 h 7"/>
                <a:gd name="T2" fmla="*/ 7 w 7"/>
                <a:gd name="T3" fmla="*/ 2 h 7"/>
                <a:gd name="T4" fmla="*/ 5 w 7"/>
                <a:gd name="T5" fmla="*/ 0 h 7"/>
                <a:gd name="T6" fmla="*/ 0 w 7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lnTo>
                    <a:pt x="7" y="2"/>
                  </a:lnTo>
                  <a:lnTo>
                    <a:pt x="5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4" name="Freeform 1660">
              <a:extLst>
                <a:ext uri="{FF2B5EF4-FFF2-40B4-BE49-F238E27FC236}">
                  <a16:creationId xmlns:a16="http://schemas.microsoft.com/office/drawing/2014/main" id="{5F0EABA4-025F-47F0-A7C8-67FBD55AE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254"/>
              <a:ext cx="23" cy="23"/>
            </a:xfrm>
            <a:custGeom>
              <a:avLst/>
              <a:gdLst>
                <a:gd name="T0" fmla="*/ 9 w 9"/>
                <a:gd name="T1" fmla="*/ 4 h 9"/>
                <a:gd name="T2" fmla="*/ 5 w 9"/>
                <a:gd name="T3" fmla="*/ 9 h 9"/>
                <a:gd name="T4" fmla="*/ 1 w 9"/>
                <a:gd name="T5" fmla="*/ 4 h 9"/>
                <a:gd name="T6" fmla="*/ 5 w 9"/>
                <a:gd name="T7" fmla="*/ 0 h 9"/>
                <a:gd name="T8" fmla="*/ 9 w 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9" y="7"/>
                    <a:pt x="7" y="8"/>
                    <a:pt x="5" y="9"/>
                  </a:cubicBezTo>
                  <a:cubicBezTo>
                    <a:pt x="3" y="9"/>
                    <a:pt x="1" y="7"/>
                    <a:pt x="1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5" name="Freeform 1661">
              <a:extLst>
                <a:ext uri="{FF2B5EF4-FFF2-40B4-BE49-F238E27FC236}">
                  <a16:creationId xmlns:a16="http://schemas.microsoft.com/office/drawing/2014/main" id="{B105A65C-BD27-4BD5-B6F2-281CFFB9A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254"/>
              <a:ext cx="23" cy="23"/>
            </a:xfrm>
            <a:custGeom>
              <a:avLst/>
              <a:gdLst>
                <a:gd name="T0" fmla="*/ 9 w 9"/>
                <a:gd name="T1" fmla="*/ 4 h 9"/>
                <a:gd name="T2" fmla="*/ 8 w 9"/>
                <a:gd name="T3" fmla="*/ 4 h 9"/>
                <a:gd name="T4" fmla="*/ 8 w 9"/>
                <a:gd name="T5" fmla="*/ 4 h 9"/>
                <a:gd name="T6" fmla="*/ 5 w 9"/>
                <a:gd name="T7" fmla="*/ 8 h 9"/>
                <a:gd name="T8" fmla="*/ 5 w 9"/>
                <a:gd name="T9" fmla="*/ 8 h 9"/>
                <a:gd name="T10" fmla="*/ 1 w 9"/>
                <a:gd name="T11" fmla="*/ 4 h 9"/>
                <a:gd name="T12" fmla="*/ 1 w 9"/>
                <a:gd name="T13" fmla="*/ 4 h 9"/>
                <a:gd name="T14" fmla="*/ 5 w 9"/>
                <a:gd name="T15" fmla="*/ 1 h 9"/>
                <a:gd name="T16" fmla="*/ 5 w 9"/>
                <a:gd name="T17" fmla="*/ 1 h 9"/>
                <a:gd name="T18" fmla="*/ 8 w 9"/>
                <a:gd name="T19" fmla="*/ 4 h 9"/>
                <a:gd name="T20" fmla="*/ 9 w 9"/>
                <a:gd name="T21" fmla="*/ 4 h 9"/>
                <a:gd name="T22" fmla="*/ 9 w 9"/>
                <a:gd name="T23" fmla="*/ 4 h 9"/>
                <a:gd name="T24" fmla="*/ 5 w 9"/>
                <a:gd name="T25" fmla="*/ 0 h 9"/>
                <a:gd name="T26" fmla="*/ 5 w 9"/>
                <a:gd name="T27" fmla="*/ 0 h 9"/>
                <a:gd name="T28" fmla="*/ 0 w 9"/>
                <a:gd name="T29" fmla="*/ 4 h 9"/>
                <a:gd name="T30" fmla="*/ 0 w 9"/>
                <a:gd name="T31" fmla="*/ 4 h 9"/>
                <a:gd name="T32" fmla="*/ 5 w 9"/>
                <a:gd name="T33" fmla="*/ 9 h 9"/>
                <a:gd name="T34" fmla="*/ 5 w 9"/>
                <a:gd name="T35" fmla="*/ 9 h 9"/>
                <a:gd name="T36" fmla="*/ 9 w 9"/>
                <a:gd name="T37" fmla="*/ 4 h 9"/>
                <a:gd name="T38" fmla="*/ 9 w 9"/>
                <a:gd name="T3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7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8"/>
                    <a:pt x="1" y="6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3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1"/>
                    <a:pt x="8" y="2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9" y="7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6" name="Freeform 1662">
              <a:extLst>
                <a:ext uri="{FF2B5EF4-FFF2-40B4-BE49-F238E27FC236}">
                  <a16:creationId xmlns:a16="http://schemas.microsoft.com/office/drawing/2014/main" id="{891B34E0-84E3-455C-89A1-A4963B510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" y="2280"/>
              <a:ext cx="43" cy="86"/>
            </a:xfrm>
            <a:custGeom>
              <a:avLst/>
              <a:gdLst>
                <a:gd name="T0" fmla="*/ 16 w 17"/>
                <a:gd name="T1" fmla="*/ 23 h 34"/>
                <a:gd name="T2" fmla="*/ 16 w 17"/>
                <a:gd name="T3" fmla="*/ 22 h 34"/>
                <a:gd name="T4" fmla="*/ 13 w 17"/>
                <a:gd name="T5" fmla="*/ 15 h 34"/>
                <a:gd name="T6" fmla="*/ 13 w 17"/>
                <a:gd name="T7" fmla="*/ 14 h 34"/>
                <a:gd name="T8" fmla="*/ 13 w 17"/>
                <a:gd name="T9" fmla="*/ 2 h 34"/>
                <a:gd name="T10" fmla="*/ 11 w 17"/>
                <a:gd name="T11" fmla="*/ 0 h 34"/>
                <a:gd name="T12" fmla="*/ 6 w 17"/>
                <a:gd name="T13" fmla="*/ 0 h 34"/>
                <a:gd name="T14" fmla="*/ 6 w 17"/>
                <a:gd name="T15" fmla="*/ 1 h 34"/>
                <a:gd name="T16" fmla="*/ 6 w 17"/>
                <a:gd name="T17" fmla="*/ 1 h 34"/>
                <a:gd name="T18" fmla="*/ 6 w 17"/>
                <a:gd name="T19" fmla="*/ 1 h 34"/>
                <a:gd name="T20" fmla="*/ 5 w 17"/>
                <a:gd name="T21" fmla="*/ 1 h 34"/>
                <a:gd name="T22" fmla="*/ 5 w 17"/>
                <a:gd name="T23" fmla="*/ 1 h 34"/>
                <a:gd name="T24" fmla="*/ 5 w 17"/>
                <a:gd name="T25" fmla="*/ 1 h 34"/>
                <a:gd name="T26" fmla="*/ 5 w 17"/>
                <a:gd name="T27" fmla="*/ 1 h 34"/>
                <a:gd name="T28" fmla="*/ 0 w 17"/>
                <a:gd name="T29" fmla="*/ 8 h 34"/>
                <a:gd name="T30" fmla="*/ 0 w 17"/>
                <a:gd name="T31" fmla="*/ 9 h 34"/>
                <a:gd name="T32" fmla="*/ 0 w 17"/>
                <a:gd name="T33" fmla="*/ 9 h 34"/>
                <a:gd name="T34" fmla="*/ 0 w 17"/>
                <a:gd name="T35" fmla="*/ 9 h 34"/>
                <a:gd name="T36" fmla="*/ 0 w 17"/>
                <a:gd name="T37" fmla="*/ 9 h 34"/>
                <a:gd name="T38" fmla="*/ 0 w 17"/>
                <a:gd name="T39" fmla="*/ 16 h 34"/>
                <a:gd name="T40" fmla="*/ 2 w 17"/>
                <a:gd name="T41" fmla="*/ 18 h 34"/>
                <a:gd name="T42" fmla="*/ 3 w 17"/>
                <a:gd name="T43" fmla="*/ 16 h 34"/>
                <a:gd name="T44" fmla="*/ 3 w 17"/>
                <a:gd name="T45" fmla="*/ 10 h 34"/>
                <a:gd name="T46" fmla="*/ 5 w 17"/>
                <a:gd name="T47" fmla="*/ 7 h 34"/>
                <a:gd name="T48" fmla="*/ 5 w 17"/>
                <a:gd name="T49" fmla="*/ 12 h 34"/>
                <a:gd name="T50" fmla="*/ 5 w 17"/>
                <a:gd name="T51" fmla="*/ 12 h 34"/>
                <a:gd name="T52" fmla="*/ 5 w 17"/>
                <a:gd name="T53" fmla="*/ 25 h 34"/>
                <a:gd name="T54" fmla="*/ 1 w 17"/>
                <a:gd name="T55" fmla="*/ 31 h 34"/>
                <a:gd name="T56" fmla="*/ 2 w 17"/>
                <a:gd name="T57" fmla="*/ 34 h 34"/>
                <a:gd name="T58" fmla="*/ 4 w 17"/>
                <a:gd name="T59" fmla="*/ 33 h 34"/>
                <a:gd name="T60" fmla="*/ 8 w 17"/>
                <a:gd name="T61" fmla="*/ 26 h 34"/>
                <a:gd name="T62" fmla="*/ 9 w 17"/>
                <a:gd name="T63" fmla="*/ 25 h 34"/>
                <a:gd name="T64" fmla="*/ 9 w 17"/>
                <a:gd name="T65" fmla="*/ 17 h 34"/>
                <a:gd name="T66" fmla="*/ 11 w 17"/>
                <a:gd name="T67" fmla="*/ 17 h 34"/>
                <a:gd name="T68" fmla="*/ 13 w 17"/>
                <a:gd name="T69" fmla="*/ 23 h 34"/>
                <a:gd name="T70" fmla="*/ 13 w 17"/>
                <a:gd name="T71" fmla="*/ 32 h 34"/>
                <a:gd name="T72" fmla="*/ 15 w 17"/>
                <a:gd name="T73" fmla="*/ 33 h 34"/>
                <a:gd name="T74" fmla="*/ 17 w 17"/>
                <a:gd name="T75" fmla="*/ 31 h 34"/>
                <a:gd name="T76" fmla="*/ 16 w 17"/>
                <a:gd name="T77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34">
                  <a:moveTo>
                    <a:pt x="16" y="23"/>
                  </a:moveTo>
                  <a:cubicBezTo>
                    <a:pt x="16" y="23"/>
                    <a:pt x="16" y="23"/>
                    <a:pt x="16" y="22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3" y="18"/>
                    <a:pt x="3" y="17"/>
                    <a:pt x="3" y="16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3"/>
                    <a:pt x="2" y="34"/>
                  </a:cubicBezTo>
                  <a:cubicBezTo>
                    <a:pt x="2" y="34"/>
                    <a:pt x="3" y="34"/>
                    <a:pt x="4" y="33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6"/>
                    <a:pt x="9" y="25"/>
                    <a:pt x="9" y="2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4" y="33"/>
                    <a:pt x="15" y="33"/>
                  </a:cubicBezTo>
                  <a:cubicBezTo>
                    <a:pt x="16" y="33"/>
                    <a:pt x="17" y="32"/>
                    <a:pt x="17" y="31"/>
                  </a:cubicBezTo>
                  <a:cubicBezTo>
                    <a:pt x="16" y="23"/>
                    <a:pt x="16" y="23"/>
                    <a:pt x="16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7" name="Freeform 1663">
              <a:extLst>
                <a:ext uri="{FF2B5EF4-FFF2-40B4-BE49-F238E27FC236}">
                  <a16:creationId xmlns:a16="http://schemas.microsoft.com/office/drawing/2014/main" id="{D6967324-9034-4375-AE53-A21B90A60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" y="2280"/>
              <a:ext cx="46" cy="86"/>
            </a:xfrm>
            <a:custGeom>
              <a:avLst/>
              <a:gdLst>
                <a:gd name="T0" fmla="*/ 18 w 18"/>
                <a:gd name="T1" fmla="*/ 22 h 34"/>
                <a:gd name="T2" fmla="*/ 14 w 18"/>
                <a:gd name="T3" fmla="*/ 14 h 34"/>
                <a:gd name="T4" fmla="*/ 12 w 18"/>
                <a:gd name="T5" fmla="*/ 0 h 34"/>
                <a:gd name="T6" fmla="*/ 12 w 18"/>
                <a:gd name="T7" fmla="*/ 0 h 34"/>
                <a:gd name="T8" fmla="*/ 7 w 18"/>
                <a:gd name="T9" fmla="*/ 0 h 34"/>
                <a:gd name="T10" fmla="*/ 7 w 18"/>
                <a:gd name="T11" fmla="*/ 0 h 34"/>
                <a:gd name="T12" fmla="*/ 6 w 18"/>
                <a:gd name="T13" fmla="*/ 0 h 34"/>
                <a:gd name="T14" fmla="*/ 6 w 18"/>
                <a:gd name="T15" fmla="*/ 0 h 34"/>
                <a:gd name="T16" fmla="*/ 6 w 18"/>
                <a:gd name="T17" fmla="*/ 0 h 34"/>
                <a:gd name="T18" fmla="*/ 5 w 18"/>
                <a:gd name="T19" fmla="*/ 1 h 34"/>
                <a:gd name="T20" fmla="*/ 0 w 18"/>
                <a:gd name="T21" fmla="*/ 9 h 34"/>
                <a:gd name="T22" fmla="*/ 0 w 18"/>
                <a:gd name="T23" fmla="*/ 9 h 34"/>
                <a:gd name="T24" fmla="*/ 0 w 18"/>
                <a:gd name="T25" fmla="*/ 9 h 34"/>
                <a:gd name="T26" fmla="*/ 0 w 18"/>
                <a:gd name="T27" fmla="*/ 16 h 34"/>
                <a:gd name="T28" fmla="*/ 3 w 18"/>
                <a:gd name="T29" fmla="*/ 18 h 34"/>
                <a:gd name="T30" fmla="*/ 5 w 18"/>
                <a:gd name="T31" fmla="*/ 16 h 34"/>
                <a:gd name="T32" fmla="*/ 6 w 18"/>
                <a:gd name="T33" fmla="*/ 12 h 34"/>
                <a:gd name="T34" fmla="*/ 6 w 18"/>
                <a:gd name="T35" fmla="*/ 24 h 34"/>
                <a:gd name="T36" fmla="*/ 2 w 18"/>
                <a:gd name="T37" fmla="*/ 34 h 34"/>
                <a:gd name="T38" fmla="*/ 10 w 18"/>
                <a:gd name="T39" fmla="*/ 26 h 34"/>
                <a:gd name="T40" fmla="*/ 10 w 18"/>
                <a:gd name="T41" fmla="*/ 25 h 34"/>
                <a:gd name="T42" fmla="*/ 11 w 18"/>
                <a:gd name="T43" fmla="*/ 18 h 34"/>
                <a:gd name="T44" fmla="*/ 16 w 18"/>
                <a:gd name="T45" fmla="*/ 34 h 34"/>
                <a:gd name="T46" fmla="*/ 18 w 18"/>
                <a:gd name="T47" fmla="*/ 31 h 34"/>
                <a:gd name="T48" fmla="*/ 18 w 18"/>
                <a:gd name="T49" fmla="*/ 23 h 34"/>
                <a:gd name="T50" fmla="*/ 18 w 18"/>
                <a:gd name="T51" fmla="*/ 23 h 34"/>
                <a:gd name="T52" fmla="*/ 17 w 18"/>
                <a:gd name="T53" fmla="*/ 23 h 34"/>
                <a:gd name="T54" fmla="*/ 17 w 18"/>
                <a:gd name="T55" fmla="*/ 31 h 34"/>
                <a:gd name="T56" fmla="*/ 16 w 18"/>
                <a:gd name="T57" fmla="*/ 33 h 34"/>
                <a:gd name="T58" fmla="*/ 15 w 18"/>
                <a:gd name="T59" fmla="*/ 23 h 34"/>
                <a:gd name="T60" fmla="*/ 9 w 18"/>
                <a:gd name="T61" fmla="*/ 25 h 34"/>
                <a:gd name="T62" fmla="*/ 9 w 18"/>
                <a:gd name="T63" fmla="*/ 26 h 34"/>
                <a:gd name="T64" fmla="*/ 3 w 18"/>
                <a:gd name="T65" fmla="*/ 33 h 34"/>
                <a:gd name="T66" fmla="*/ 7 w 18"/>
                <a:gd name="T67" fmla="*/ 25 h 34"/>
                <a:gd name="T68" fmla="*/ 6 w 18"/>
                <a:gd name="T69" fmla="*/ 12 h 34"/>
                <a:gd name="T70" fmla="*/ 4 w 18"/>
                <a:gd name="T71" fmla="*/ 16 h 34"/>
                <a:gd name="T72" fmla="*/ 4 w 18"/>
                <a:gd name="T73" fmla="*/ 16 h 34"/>
                <a:gd name="T74" fmla="*/ 3 w 18"/>
                <a:gd name="T75" fmla="*/ 17 h 34"/>
                <a:gd name="T76" fmla="*/ 1 w 18"/>
                <a:gd name="T77" fmla="*/ 9 h 34"/>
                <a:gd name="T78" fmla="*/ 1 w 18"/>
                <a:gd name="T79" fmla="*/ 9 h 34"/>
                <a:gd name="T80" fmla="*/ 1 w 18"/>
                <a:gd name="T81" fmla="*/ 9 h 34"/>
                <a:gd name="T82" fmla="*/ 1 w 18"/>
                <a:gd name="T83" fmla="*/ 9 h 34"/>
                <a:gd name="T84" fmla="*/ 1 w 18"/>
                <a:gd name="T85" fmla="*/ 9 h 34"/>
                <a:gd name="T86" fmla="*/ 1 w 18"/>
                <a:gd name="T87" fmla="*/ 9 h 34"/>
                <a:gd name="T88" fmla="*/ 7 w 18"/>
                <a:gd name="T89" fmla="*/ 1 h 34"/>
                <a:gd name="T90" fmla="*/ 7 w 18"/>
                <a:gd name="T91" fmla="*/ 1 h 34"/>
                <a:gd name="T92" fmla="*/ 7 w 18"/>
                <a:gd name="T93" fmla="*/ 1 h 34"/>
                <a:gd name="T94" fmla="*/ 7 w 18"/>
                <a:gd name="T95" fmla="*/ 1 h 34"/>
                <a:gd name="T96" fmla="*/ 12 w 18"/>
                <a:gd name="T97" fmla="*/ 1 h 34"/>
                <a:gd name="T98" fmla="*/ 14 w 18"/>
                <a:gd name="T99" fmla="*/ 14 h 34"/>
                <a:gd name="T100" fmla="*/ 17 w 18"/>
                <a:gd name="T101" fmla="*/ 23 h 34"/>
                <a:gd name="T102" fmla="*/ 17 w 18"/>
                <a:gd name="T103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" h="34">
                  <a:moveTo>
                    <a:pt x="17" y="23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1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5" y="17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1" y="33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4" y="34"/>
                    <a:pt x="5" y="34"/>
                    <a:pt x="5" y="33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3"/>
                    <a:pt x="15" y="34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7" y="34"/>
                    <a:pt x="18" y="33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2"/>
                    <a:pt x="17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3"/>
                    <a:pt x="15" y="32"/>
                    <a:pt x="15" y="3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6"/>
                    <a:pt x="9" y="26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4" y="33"/>
                    <a:pt x="4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2" y="33"/>
                    <a:pt x="2" y="33"/>
                    <a:pt x="2" y="32"/>
                  </a:cubicBezTo>
                  <a:cubicBezTo>
                    <a:pt x="2" y="32"/>
                    <a:pt x="2" y="32"/>
                    <a:pt x="2" y="31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7"/>
                    <a:pt x="1" y="17"/>
                    <a:pt x="1" y="1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8" name="Rectangle 1664">
              <a:extLst>
                <a:ext uri="{FF2B5EF4-FFF2-40B4-BE49-F238E27FC236}">
                  <a16:creationId xmlns:a16="http://schemas.microsoft.com/office/drawing/2014/main" id="{691E3FD3-EE7A-4B8F-8EDF-D39019578F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8" y="1979"/>
              <a:ext cx="387" cy="16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9" name="Freeform 1665">
              <a:extLst>
                <a:ext uri="{FF2B5EF4-FFF2-40B4-BE49-F238E27FC236}">
                  <a16:creationId xmlns:a16="http://schemas.microsoft.com/office/drawing/2014/main" id="{36A3A1CD-D0E3-468A-92C6-7D7BD89C4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1979"/>
              <a:ext cx="387" cy="161"/>
            </a:xfrm>
            <a:custGeom>
              <a:avLst/>
              <a:gdLst>
                <a:gd name="T0" fmla="*/ 0 w 387"/>
                <a:gd name="T1" fmla="*/ 161 h 161"/>
                <a:gd name="T2" fmla="*/ 0 w 387"/>
                <a:gd name="T3" fmla="*/ 0 h 161"/>
                <a:gd name="T4" fmla="*/ 387 w 387"/>
                <a:gd name="T5" fmla="*/ 0 h 161"/>
                <a:gd name="T6" fmla="*/ 387 w 387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161">
                  <a:moveTo>
                    <a:pt x="0" y="161"/>
                  </a:moveTo>
                  <a:lnTo>
                    <a:pt x="0" y="0"/>
                  </a:lnTo>
                  <a:lnTo>
                    <a:pt x="387" y="0"/>
                  </a:lnTo>
                  <a:lnTo>
                    <a:pt x="387" y="16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0" name="Freeform 1666">
              <a:extLst>
                <a:ext uri="{FF2B5EF4-FFF2-40B4-BE49-F238E27FC236}">
                  <a16:creationId xmlns:a16="http://schemas.microsoft.com/office/drawing/2014/main" id="{CF0449B5-4954-43DD-9B3B-A41612805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1976"/>
              <a:ext cx="387" cy="164"/>
            </a:xfrm>
            <a:custGeom>
              <a:avLst/>
              <a:gdLst>
                <a:gd name="T0" fmla="*/ 3 w 387"/>
                <a:gd name="T1" fmla="*/ 164 h 164"/>
                <a:gd name="T2" fmla="*/ 3 w 387"/>
                <a:gd name="T3" fmla="*/ 3 h 164"/>
                <a:gd name="T4" fmla="*/ 384 w 387"/>
                <a:gd name="T5" fmla="*/ 3 h 164"/>
                <a:gd name="T6" fmla="*/ 384 w 387"/>
                <a:gd name="T7" fmla="*/ 164 h 164"/>
                <a:gd name="T8" fmla="*/ 387 w 387"/>
                <a:gd name="T9" fmla="*/ 164 h 164"/>
                <a:gd name="T10" fmla="*/ 387 w 387"/>
                <a:gd name="T11" fmla="*/ 0 h 164"/>
                <a:gd name="T12" fmla="*/ 0 w 387"/>
                <a:gd name="T13" fmla="*/ 0 h 164"/>
                <a:gd name="T14" fmla="*/ 0 w 387"/>
                <a:gd name="T15" fmla="*/ 164 h 164"/>
                <a:gd name="T16" fmla="*/ 3 w 387"/>
                <a:gd name="T17" fmla="*/ 164 h 164"/>
                <a:gd name="T18" fmla="*/ 3 w 387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7" h="164">
                  <a:moveTo>
                    <a:pt x="3" y="164"/>
                  </a:moveTo>
                  <a:lnTo>
                    <a:pt x="3" y="3"/>
                  </a:lnTo>
                  <a:lnTo>
                    <a:pt x="384" y="3"/>
                  </a:lnTo>
                  <a:lnTo>
                    <a:pt x="384" y="164"/>
                  </a:lnTo>
                  <a:lnTo>
                    <a:pt x="387" y="164"/>
                  </a:lnTo>
                  <a:lnTo>
                    <a:pt x="387" y="0"/>
                  </a:lnTo>
                  <a:lnTo>
                    <a:pt x="0" y="0"/>
                  </a:lnTo>
                  <a:lnTo>
                    <a:pt x="0" y="164"/>
                  </a:lnTo>
                  <a:lnTo>
                    <a:pt x="3" y="164"/>
                  </a:lnTo>
                  <a:lnTo>
                    <a:pt x="3" y="16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1" name="Freeform 1667">
              <a:extLst>
                <a:ext uri="{FF2B5EF4-FFF2-40B4-BE49-F238E27FC236}">
                  <a16:creationId xmlns:a16="http://schemas.microsoft.com/office/drawing/2014/main" id="{EE02C1B8-FE84-43D5-899A-86EF01383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2070"/>
              <a:ext cx="564" cy="222"/>
            </a:xfrm>
            <a:custGeom>
              <a:avLst/>
              <a:gdLst>
                <a:gd name="T0" fmla="*/ 0 w 223"/>
                <a:gd name="T1" fmla="*/ 86 h 88"/>
                <a:gd name="T2" fmla="*/ 0 w 223"/>
                <a:gd name="T3" fmla="*/ 0 h 88"/>
                <a:gd name="T4" fmla="*/ 76 w 223"/>
                <a:gd name="T5" fmla="*/ 0 h 88"/>
                <a:gd name="T6" fmla="*/ 76 w 223"/>
                <a:gd name="T7" fmla="*/ 32 h 88"/>
                <a:gd name="T8" fmla="*/ 81 w 223"/>
                <a:gd name="T9" fmla="*/ 32 h 88"/>
                <a:gd name="T10" fmla="*/ 109 w 223"/>
                <a:gd name="T11" fmla="*/ 16 h 88"/>
                <a:gd name="T12" fmla="*/ 137 w 223"/>
                <a:gd name="T13" fmla="*/ 32 h 88"/>
                <a:gd name="T14" fmla="*/ 143 w 223"/>
                <a:gd name="T15" fmla="*/ 32 h 88"/>
                <a:gd name="T16" fmla="*/ 143 w 223"/>
                <a:gd name="T17" fmla="*/ 0 h 88"/>
                <a:gd name="T18" fmla="*/ 223 w 223"/>
                <a:gd name="T19" fmla="*/ 0 h 88"/>
                <a:gd name="T20" fmla="*/ 223 w 223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88">
                  <a:moveTo>
                    <a:pt x="0" y="8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90" y="32"/>
                    <a:pt x="95" y="16"/>
                    <a:pt x="109" y="16"/>
                  </a:cubicBezTo>
                  <a:cubicBezTo>
                    <a:pt x="124" y="16"/>
                    <a:pt x="129" y="32"/>
                    <a:pt x="137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223" y="88"/>
                    <a:pt x="223" y="88"/>
                    <a:pt x="223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2" name="Freeform 1668">
              <a:extLst>
                <a:ext uri="{FF2B5EF4-FFF2-40B4-BE49-F238E27FC236}">
                  <a16:creationId xmlns:a16="http://schemas.microsoft.com/office/drawing/2014/main" id="{C7C86D04-35C6-4115-A16E-918287292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0" y="2070"/>
              <a:ext cx="566" cy="222"/>
            </a:xfrm>
            <a:custGeom>
              <a:avLst/>
              <a:gdLst>
                <a:gd name="T0" fmla="*/ 1 w 224"/>
                <a:gd name="T1" fmla="*/ 86 h 88"/>
                <a:gd name="T2" fmla="*/ 1 w 224"/>
                <a:gd name="T3" fmla="*/ 0 h 88"/>
                <a:gd name="T4" fmla="*/ 77 w 224"/>
                <a:gd name="T5" fmla="*/ 0 h 88"/>
                <a:gd name="T6" fmla="*/ 77 w 224"/>
                <a:gd name="T7" fmla="*/ 32 h 88"/>
                <a:gd name="T8" fmla="*/ 82 w 224"/>
                <a:gd name="T9" fmla="*/ 32 h 88"/>
                <a:gd name="T10" fmla="*/ 89 w 224"/>
                <a:gd name="T11" fmla="*/ 30 h 88"/>
                <a:gd name="T12" fmla="*/ 98 w 224"/>
                <a:gd name="T13" fmla="*/ 22 h 88"/>
                <a:gd name="T14" fmla="*/ 110 w 224"/>
                <a:gd name="T15" fmla="*/ 17 h 88"/>
                <a:gd name="T16" fmla="*/ 126 w 224"/>
                <a:gd name="T17" fmla="*/ 24 h 88"/>
                <a:gd name="T18" fmla="*/ 132 w 224"/>
                <a:gd name="T19" fmla="*/ 30 h 88"/>
                <a:gd name="T20" fmla="*/ 138 w 224"/>
                <a:gd name="T21" fmla="*/ 32 h 88"/>
                <a:gd name="T22" fmla="*/ 145 w 224"/>
                <a:gd name="T23" fmla="*/ 32 h 88"/>
                <a:gd name="T24" fmla="*/ 145 w 224"/>
                <a:gd name="T25" fmla="*/ 0 h 88"/>
                <a:gd name="T26" fmla="*/ 223 w 224"/>
                <a:gd name="T27" fmla="*/ 0 h 88"/>
                <a:gd name="T28" fmla="*/ 223 w 224"/>
                <a:gd name="T29" fmla="*/ 88 h 88"/>
                <a:gd name="T30" fmla="*/ 224 w 224"/>
                <a:gd name="T31" fmla="*/ 88 h 88"/>
                <a:gd name="T32" fmla="*/ 224 w 224"/>
                <a:gd name="T33" fmla="*/ 0 h 88"/>
                <a:gd name="T34" fmla="*/ 144 w 224"/>
                <a:gd name="T35" fmla="*/ 0 h 88"/>
                <a:gd name="T36" fmla="*/ 144 w 224"/>
                <a:gd name="T37" fmla="*/ 31 h 88"/>
                <a:gd name="T38" fmla="*/ 138 w 224"/>
                <a:gd name="T39" fmla="*/ 31 h 88"/>
                <a:gd name="T40" fmla="*/ 133 w 224"/>
                <a:gd name="T41" fmla="*/ 29 h 88"/>
                <a:gd name="T42" fmla="*/ 124 w 224"/>
                <a:gd name="T43" fmla="*/ 21 h 88"/>
                <a:gd name="T44" fmla="*/ 110 w 224"/>
                <a:gd name="T45" fmla="*/ 16 h 88"/>
                <a:gd name="T46" fmla="*/ 94 w 224"/>
                <a:gd name="T47" fmla="*/ 24 h 88"/>
                <a:gd name="T48" fmla="*/ 88 w 224"/>
                <a:gd name="T49" fmla="*/ 29 h 88"/>
                <a:gd name="T50" fmla="*/ 82 w 224"/>
                <a:gd name="T51" fmla="*/ 31 h 88"/>
                <a:gd name="T52" fmla="*/ 78 w 224"/>
                <a:gd name="T53" fmla="*/ 31 h 88"/>
                <a:gd name="T54" fmla="*/ 78 w 224"/>
                <a:gd name="T55" fmla="*/ 0 h 88"/>
                <a:gd name="T56" fmla="*/ 0 w 224"/>
                <a:gd name="T57" fmla="*/ 0 h 88"/>
                <a:gd name="T58" fmla="*/ 0 w 224"/>
                <a:gd name="T59" fmla="*/ 86 h 88"/>
                <a:gd name="T60" fmla="*/ 1 w 224"/>
                <a:gd name="T61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4" h="88">
                  <a:moveTo>
                    <a:pt x="1" y="86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5" y="32"/>
                    <a:pt x="87" y="31"/>
                    <a:pt x="89" y="30"/>
                  </a:cubicBezTo>
                  <a:cubicBezTo>
                    <a:pt x="91" y="27"/>
                    <a:pt x="94" y="24"/>
                    <a:pt x="98" y="22"/>
                  </a:cubicBezTo>
                  <a:cubicBezTo>
                    <a:pt x="101" y="19"/>
                    <a:pt x="105" y="17"/>
                    <a:pt x="110" y="17"/>
                  </a:cubicBezTo>
                  <a:cubicBezTo>
                    <a:pt x="117" y="17"/>
                    <a:pt x="122" y="20"/>
                    <a:pt x="126" y="24"/>
                  </a:cubicBezTo>
                  <a:cubicBezTo>
                    <a:pt x="128" y="26"/>
                    <a:pt x="130" y="28"/>
                    <a:pt x="132" y="30"/>
                  </a:cubicBezTo>
                  <a:cubicBezTo>
                    <a:pt x="134" y="31"/>
                    <a:pt x="136" y="32"/>
                    <a:pt x="138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224" y="88"/>
                    <a:pt x="224" y="88"/>
                    <a:pt x="224" y="88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6" y="31"/>
                    <a:pt x="135" y="30"/>
                    <a:pt x="133" y="29"/>
                  </a:cubicBezTo>
                  <a:cubicBezTo>
                    <a:pt x="130" y="27"/>
                    <a:pt x="127" y="23"/>
                    <a:pt x="124" y="21"/>
                  </a:cubicBezTo>
                  <a:cubicBezTo>
                    <a:pt x="120" y="18"/>
                    <a:pt x="116" y="16"/>
                    <a:pt x="110" y="16"/>
                  </a:cubicBezTo>
                  <a:cubicBezTo>
                    <a:pt x="103" y="16"/>
                    <a:pt x="98" y="20"/>
                    <a:pt x="94" y="24"/>
                  </a:cubicBezTo>
                  <a:cubicBezTo>
                    <a:pt x="92" y="26"/>
                    <a:pt x="90" y="27"/>
                    <a:pt x="88" y="29"/>
                  </a:cubicBezTo>
                  <a:cubicBezTo>
                    <a:pt x="86" y="30"/>
                    <a:pt x="84" y="31"/>
                    <a:pt x="82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" y="86"/>
                    <a:pt x="1" y="86"/>
                    <a:pt x="1" y="8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3" name="Rectangle 1669">
              <a:extLst>
                <a:ext uri="{FF2B5EF4-FFF2-40B4-BE49-F238E27FC236}">
                  <a16:creationId xmlns:a16="http://schemas.microsoft.com/office/drawing/2014/main" id="{9F482CF0-01F8-492F-B87E-F9ABD9079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4" y="2204"/>
              <a:ext cx="172" cy="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4" name="Freeform 1670">
              <a:extLst>
                <a:ext uri="{FF2B5EF4-FFF2-40B4-BE49-F238E27FC236}">
                  <a16:creationId xmlns:a16="http://schemas.microsoft.com/office/drawing/2014/main" id="{7EBA9E78-1220-4DD3-A505-BC4B5BF75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204"/>
              <a:ext cx="172" cy="86"/>
            </a:xfrm>
            <a:custGeom>
              <a:avLst/>
              <a:gdLst>
                <a:gd name="T0" fmla="*/ 0 w 172"/>
                <a:gd name="T1" fmla="*/ 86 h 86"/>
                <a:gd name="T2" fmla="*/ 0 w 172"/>
                <a:gd name="T3" fmla="*/ 0 h 86"/>
                <a:gd name="T4" fmla="*/ 172 w 172"/>
                <a:gd name="T5" fmla="*/ 0 h 86"/>
                <a:gd name="T6" fmla="*/ 172 w 172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86">
                  <a:moveTo>
                    <a:pt x="0" y="86"/>
                  </a:moveTo>
                  <a:lnTo>
                    <a:pt x="0" y="0"/>
                  </a:lnTo>
                  <a:lnTo>
                    <a:pt x="172" y="0"/>
                  </a:lnTo>
                  <a:lnTo>
                    <a:pt x="172" y="8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5" name="Freeform 1671">
              <a:extLst>
                <a:ext uri="{FF2B5EF4-FFF2-40B4-BE49-F238E27FC236}">
                  <a16:creationId xmlns:a16="http://schemas.microsoft.com/office/drawing/2014/main" id="{59384A90-4CD4-4A17-8182-5E00C3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204"/>
              <a:ext cx="175" cy="86"/>
            </a:xfrm>
            <a:custGeom>
              <a:avLst/>
              <a:gdLst>
                <a:gd name="T0" fmla="*/ 0 w 175"/>
                <a:gd name="T1" fmla="*/ 86 h 86"/>
                <a:gd name="T2" fmla="*/ 0 w 175"/>
                <a:gd name="T3" fmla="*/ 2 h 86"/>
                <a:gd name="T4" fmla="*/ 172 w 175"/>
                <a:gd name="T5" fmla="*/ 2 h 86"/>
                <a:gd name="T6" fmla="*/ 172 w 175"/>
                <a:gd name="T7" fmla="*/ 86 h 86"/>
                <a:gd name="T8" fmla="*/ 175 w 175"/>
                <a:gd name="T9" fmla="*/ 86 h 86"/>
                <a:gd name="T10" fmla="*/ 175 w 175"/>
                <a:gd name="T11" fmla="*/ 0 h 86"/>
                <a:gd name="T12" fmla="*/ 0 w 175"/>
                <a:gd name="T13" fmla="*/ 0 h 86"/>
                <a:gd name="T14" fmla="*/ 0 w 175"/>
                <a:gd name="T15" fmla="*/ 86 h 86"/>
                <a:gd name="T16" fmla="*/ 0 w 175"/>
                <a:gd name="T17" fmla="*/ 86 h 86"/>
                <a:gd name="T18" fmla="*/ 0 w 175"/>
                <a:gd name="T1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86">
                  <a:moveTo>
                    <a:pt x="0" y="86"/>
                  </a:moveTo>
                  <a:lnTo>
                    <a:pt x="0" y="2"/>
                  </a:lnTo>
                  <a:lnTo>
                    <a:pt x="172" y="2"/>
                  </a:lnTo>
                  <a:lnTo>
                    <a:pt x="172" y="86"/>
                  </a:lnTo>
                  <a:lnTo>
                    <a:pt x="175" y="86"/>
                  </a:lnTo>
                  <a:lnTo>
                    <a:pt x="175" y="0"/>
                  </a:lnTo>
                  <a:lnTo>
                    <a:pt x="0" y="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6" name="Freeform 1672">
              <a:extLst>
                <a:ext uri="{FF2B5EF4-FFF2-40B4-BE49-F238E27FC236}">
                  <a16:creationId xmlns:a16="http://schemas.microsoft.com/office/drawing/2014/main" id="{6372E02E-85F7-45AA-A1C8-A68D453C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2204"/>
              <a:ext cx="0" cy="86"/>
            </a:xfrm>
            <a:custGeom>
              <a:avLst/>
              <a:gdLst>
                <a:gd name="T0" fmla="*/ 0 h 86"/>
                <a:gd name="T1" fmla="*/ 86 h 86"/>
                <a:gd name="T2" fmla="*/ 0 h 8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6">
                  <a:moveTo>
                    <a:pt x="0" y="0"/>
                  </a:moveTo>
                  <a:lnTo>
                    <a:pt x="0" y="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7" name="Line 1673">
              <a:extLst>
                <a:ext uri="{FF2B5EF4-FFF2-40B4-BE49-F238E27FC236}">
                  <a16:creationId xmlns:a16="http://schemas.microsoft.com/office/drawing/2014/main" id="{0AA7C327-CE81-4950-8F47-BA5F8700D4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5" y="2204"/>
              <a:ext cx="0" cy="8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8" name="Rectangle 1674">
              <a:extLst>
                <a:ext uri="{FF2B5EF4-FFF2-40B4-BE49-F238E27FC236}">
                  <a16:creationId xmlns:a16="http://schemas.microsoft.com/office/drawing/2014/main" id="{FACB25E3-F64F-4FC2-8D96-C33E79111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2204"/>
              <a:ext cx="2" cy="86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9" name="Freeform 1675">
              <a:extLst>
                <a:ext uri="{FF2B5EF4-FFF2-40B4-BE49-F238E27FC236}">
                  <a16:creationId xmlns:a16="http://schemas.microsoft.com/office/drawing/2014/main" id="{72C66115-9514-44B6-8218-2467A5C22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2204"/>
              <a:ext cx="2" cy="86"/>
            </a:xfrm>
            <a:custGeom>
              <a:avLst/>
              <a:gdLst>
                <a:gd name="T0" fmla="*/ 0 w 2"/>
                <a:gd name="T1" fmla="*/ 0 h 86"/>
                <a:gd name="T2" fmla="*/ 0 w 2"/>
                <a:gd name="T3" fmla="*/ 86 h 86"/>
                <a:gd name="T4" fmla="*/ 2 w 2"/>
                <a:gd name="T5" fmla="*/ 86 h 86"/>
                <a:gd name="T6" fmla="*/ 2 w 2"/>
                <a:gd name="T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6">
                  <a:moveTo>
                    <a:pt x="0" y="0"/>
                  </a:moveTo>
                  <a:lnTo>
                    <a:pt x="0" y="86"/>
                  </a:lnTo>
                  <a:lnTo>
                    <a:pt x="2" y="8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0" name="Freeform 1676">
              <a:extLst>
                <a:ext uri="{FF2B5EF4-FFF2-40B4-BE49-F238E27FC236}">
                  <a16:creationId xmlns:a16="http://schemas.microsoft.com/office/drawing/2014/main" id="{AD62B991-B14F-4FAF-8A7C-212BD7C4E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" y="2204"/>
              <a:ext cx="0" cy="86"/>
            </a:xfrm>
            <a:custGeom>
              <a:avLst/>
              <a:gdLst>
                <a:gd name="T0" fmla="*/ 0 h 86"/>
                <a:gd name="T1" fmla="*/ 86 h 86"/>
                <a:gd name="T2" fmla="*/ 0 h 8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6">
                  <a:moveTo>
                    <a:pt x="0" y="0"/>
                  </a:moveTo>
                  <a:lnTo>
                    <a:pt x="0" y="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1" name="Line 1677">
              <a:extLst>
                <a:ext uri="{FF2B5EF4-FFF2-40B4-BE49-F238E27FC236}">
                  <a16:creationId xmlns:a16="http://schemas.microsoft.com/office/drawing/2014/main" id="{476E86D0-8803-4AEB-B457-7DF4E5D607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" y="2204"/>
              <a:ext cx="0" cy="8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2" name="Rectangle 1678">
              <a:extLst>
                <a:ext uri="{FF2B5EF4-FFF2-40B4-BE49-F238E27FC236}">
                  <a16:creationId xmlns:a16="http://schemas.microsoft.com/office/drawing/2014/main" id="{729D161A-C214-4B8A-8E41-432DE81A6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1" y="2204"/>
              <a:ext cx="2" cy="86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3" name="Freeform 1679">
              <a:extLst>
                <a:ext uri="{FF2B5EF4-FFF2-40B4-BE49-F238E27FC236}">
                  <a16:creationId xmlns:a16="http://schemas.microsoft.com/office/drawing/2014/main" id="{5B8F614C-76E0-49AF-8697-BD3C2C0E3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" y="2204"/>
              <a:ext cx="2" cy="86"/>
            </a:xfrm>
            <a:custGeom>
              <a:avLst/>
              <a:gdLst>
                <a:gd name="T0" fmla="*/ 0 w 2"/>
                <a:gd name="T1" fmla="*/ 0 h 86"/>
                <a:gd name="T2" fmla="*/ 0 w 2"/>
                <a:gd name="T3" fmla="*/ 86 h 86"/>
                <a:gd name="T4" fmla="*/ 2 w 2"/>
                <a:gd name="T5" fmla="*/ 86 h 86"/>
                <a:gd name="T6" fmla="*/ 2 w 2"/>
                <a:gd name="T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6">
                  <a:moveTo>
                    <a:pt x="0" y="0"/>
                  </a:moveTo>
                  <a:lnTo>
                    <a:pt x="0" y="86"/>
                  </a:lnTo>
                  <a:lnTo>
                    <a:pt x="2" y="8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4" name="Oval 1680">
              <a:extLst>
                <a:ext uri="{FF2B5EF4-FFF2-40B4-BE49-F238E27FC236}">
                  <a16:creationId xmlns:a16="http://schemas.microsoft.com/office/drawing/2014/main" id="{7A1C7394-E7B3-4020-BCB8-836F3874A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0" y="2120"/>
              <a:ext cx="58" cy="5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5" name="Freeform 1681">
              <a:extLst>
                <a:ext uri="{FF2B5EF4-FFF2-40B4-BE49-F238E27FC236}">
                  <a16:creationId xmlns:a16="http://schemas.microsoft.com/office/drawing/2014/main" id="{273FFCF5-8EFE-42C6-AC65-EA3CD03D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2120"/>
              <a:ext cx="61" cy="61"/>
            </a:xfrm>
            <a:custGeom>
              <a:avLst/>
              <a:gdLst>
                <a:gd name="T0" fmla="*/ 24 w 24"/>
                <a:gd name="T1" fmla="*/ 12 h 24"/>
                <a:gd name="T2" fmla="*/ 23 w 24"/>
                <a:gd name="T3" fmla="*/ 12 h 24"/>
                <a:gd name="T4" fmla="*/ 20 w 24"/>
                <a:gd name="T5" fmla="*/ 19 h 24"/>
                <a:gd name="T6" fmla="*/ 12 w 24"/>
                <a:gd name="T7" fmla="*/ 23 h 24"/>
                <a:gd name="T8" fmla="*/ 5 w 24"/>
                <a:gd name="T9" fmla="*/ 19 h 24"/>
                <a:gd name="T10" fmla="*/ 1 w 24"/>
                <a:gd name="T11" fmla="*/ 12 h 24"/>
                <a:gd name="T12" fmla="*/ 5 w 24"/>
                <a:gd name="T13" fmla="*/ 4 h 24"/>
                <a:gd name="T14" fmla="*/ 12 w 24"/>
                <a:gd name="T15" fmla="*/ 1 h 24"/>
                <a:gd name="T16" fmla="*/ 20 w 24"/>
                <a:gd name="T17" fmla="*/ 4 h 24"/>
                <a:gd name="T18" fmla="*/ 23 w 24"/>
                <a:gd name="T19" fmla="*/ 12 h 24"/>
                <a:gd name="T20" fmla="*/ 24 w 24"/>
                <a:gd name="T21" fmla="*/ 12 h 24"/>
                <a:gd name="T22" fmla="*/ 24 w 24"/>
                <a:gd name="T23" fmla="*/ 12 h 24"/>
                <a:gd name="T24" fmla="*/ 12 w 24"/>
                <a:gd name="T25" fmla="*/ 0 h 24"/>
                <a:gd name="T26" fmla="*/ 0 w 24"/>
                <a:gd name="T27" fmla="*/ 12 h 24"/>
                <a:gd name="T28" fmla="*/ 12 w 24"/>
                <a:gd name="T29" fmla="*/ 24 h 24"/>
                <a:gd name="T30" fmla="*/ 24 w 24"/>
                <a:gd name="T3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3" y="12"/>
                    <a:pt x="23" y="12"/>
                    <a:pt x="23" y="12"/>
                  </a:cubicBezTo>
                  <a:cubicBezTo>
                    <a:pt x="23" y="15"/>
                    <a:pt x="22" y="17"/>
                    <a:pt x="20" y="19"/>
                  </a:cubicBezTo>
                  <a:cubicBezTo>
                    <a:pt x="18" y="21"/>
                    <a:pt x="15" y="23"/>
                    <a:pt x="12" y="23"/>
                  </a:cubicBezTo>
                  <a:cubicBezTo>
                    <a:pt x="9" y="23"/>
                    <a:pt x="7" y="21"/>
                    <a:pt x="5" y="19"/>
                  </a:cubicBezTo>
                  <a:cubicBezTo>
                    <a:pt x="3" y="17"/>
                    <a:pt x="1" y="15"/>
                    <a:pt x="1" y="12"/>
                  </a:cubicBezTo>
                  <a:cubicBezTo>
                    <a:pt x="1" y="9"/>
                    <a:pt x="3" y="6"/>
                    <a:pt x="5" y="4"/>
                  </a:cubicBezTo>
                  <a:cubicBezTo>
                    <a:pt x="7" y="2"/>
                    <a:pt x="9" y="1"/>
                    <a:pt x="12" y="1"/>
                  </a:cubicBezTo>
                  <a:cubicBezTo>
                    <a:pt x="15" y="1"/>
                    <a:pt x="18" y="2"/>
                    <a:pt x="20" y="4"/>
                  </a:cubicBezTo>
                  <a:cubicBezTo>
                    <a:pt x="22" y="6"/>
                    <a:pt x="23" y="9"/>
                    <a:pt x="23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8"/>
                    <a:pt x="6" y="24"/>
                    <a:pt x="12" y="24"/>
                  </a:cubicBezTo>
                  <a:cubicBezTo>
                    <a:pt x="19" y="24"/>
                    <a:pt x="24" y="18"/>
                    <a:pt x="24" y="12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6" name="Freeform 1682">
              <a:extLst>
                <a:ext uri="{FF2B5EF4-FFF2-40B4-BE49-F238E27FC236}">
                  <a16:creationId xmlns:a16="http://schemas.microsoft.com/office/drawing/2014/main" id="{414AB4E8-0A9A-49A1-A960-E5157D070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300"/>
              <a:ext cx="1065" cy="35"/>
            </a:xfrm>
            <a:custGeom>
              <a:avLst/>
              <a:gdLst>
                <a:gd name="T0" fmla="*/ 1065 w 1065"/>
                <a:gd name="T1" fmla="*/ 0 h 35"/>
                <a:gd name="T2" fmla="*/ 0 w 1065"/>
                <a:gd name="T3" fmla="*/ 0 h 35"/>
                <a:gd name="T4" fmla="*/ 0 w 1065"/>
                <a:gd name="T5" fmla="*/ 35 h 35"/>
                <a:gd name="T6" fmla="*/ 1065 w 1065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5" h="35">
                  <a:moveTo>
                    <a:pt x="1065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106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7" name="Freeform 1683">
              <a:extLst>
                <a:ext uri="{FF2B5EF4-FFF2-40B4-BE49-F238E27FC236}">
                  <a16:creationId xmlns:a16="http://schemas.microsoft.com/office/drawing/2014/main" id="{40B3F104-57A9-4648-8BC7-C08E20491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300"/>
              <a:ext cx="1065" cy="35"/>
            </a:xfrm>
            <a:custGeom>
              <a:avLst/>
              <a:gdLst>
                <a:gd name="T0" fmla="*/ 1065 w 1065"/>
                <a:gd name="T1" fmla="*/ 0 h 35"/>
                <a:gd name="T2" fmla="*/ 0 w 1065"/>
                <a:gd name="T3" fmla="*/ 0 h 35"/>
                <a:gd name="T4" fmla="*/ 0 w 1065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65" h="35">
                  <a:moveTo>
                    <a:pt x="1065" y="0"/>
                  </a:moveTo>
                  <a:lnTo>
                    <a:pt x="0" y="0"/>
                  </a:lnTo>
                  <a:lnTo>
                    <a:pt x="0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8" name="Freeform 1684">
              <a:extLst>
                <a:ext uri="{FF2B5EF4-FFF2-40B4-BE49-F238E27FC236}">
                  <a16:creationId xmlns:a16="http://schemas.microsoft.com/office/drawing/2014/main" id="{D45F2DAC-EEED-470C-8185-4B30DCEA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297"/>
              <a:ext cx="1065" cy="38"/>
            </a:xfrm>
            <a:custGeom>
              <a:avLst/>
              <a:gdLst>
                <a:gd name="T0" fmla="*/ 1065 w 1065"/>
                <a:gd name="T1" fmla="*/ 0 h 38"/>
                <a:gd name="T2" fmla="*/ 0 w 1065"/>
                <a:gd name="T3" fmla="*/ 0 h 38"/>
                <a:gd name="T4" fmla="*/ 0 w 1065"/>
                <a:gd name="T5" fmla="*/ 38 h 38"/>
                <a:gd name="T6" fmla="*/ 3 w 1065"/>
                <a:gd name="T7" fmla="*/ 38 h 38"/>
                <a:gd name="T8" fmla="*/ 3 w 1065"/>
                <a:gd name="T9" fmla="*/ 3 h 38"/>
                <a:gd name="T10" fmla="*/ 1065 w 1065"/>
                <a:gd name="T11" fmla="*/ 3 h 38"/>
                <a:gd name="T12" fmla="*/ 1065 w 1065"/>
                <a:gd name="T13" fmla="*/ 0 h 38"/>
                <a:gd name="T14" fmla="*/ 1065 w 1065"/>
                <a:gd name="T1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5" h="38">
                  <a:moveTo>
                    <a:pt x="1065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3" y="3"/>
                  </a:lnTo>
                  <a:lnTo>
                    <a:pt x="1065" y="3"/>
                  </a:lnTo>
                  <a:lnTo>
                    <a:pt x="1065" y="0"/>
                  </a:lnTo>
                  <a:lnTo>
                    <a:pt x="1065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9" name="Freeform 1685">
              <a:extLst>
                <a:ext uri="{FF2B5EF4-FFF2-40B4-BE49-F238E27FC236}">
                  <a16:creationId xmlns:a16="http://schemas.microsoft.com/office/drawing/2014/main" id="{3E3DFD4B-CCC7-4523-A81B-206BF9BA1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" y="2128"/>
              <a:ext cx="15" cy="33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23 h 33"/>
                <a:gd name="T4" fmla="*/ 15 w 15"/>
                <a:gd name="T5" fmla="*/ 33 h 33"/>
                <a:gd name="T6" fmla="*/ 0 w 15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3">
                  <a:moveTo>
                    <a:pt x="0" y="0"/>
                  </a:moveTo>
                  <a:lnTo>
                    <a:pt x="0" y="23"/>
                  </a:lnTo>
                  <a:lnTo>
                    <a:pt x="15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0" name="Freeform 1686">
              <a:extLst>
                <a:ext uri="{FF2B5EF4-FFF2-40B4-BE49-F238E27FC236}">
                  <a16:creationId xmlns:a16="http://schemas.microsoft.com/office/drawing/2014/main" id="{DE3ED5C4-6258-451A-958D-F247D1984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" y="2128"/>
              <a:ext cx="15" cy="33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23 h 33"/>
                <a:gd name="T4" fmla="*/ 15 w 15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3">
                  <a:moveTo>
                    <a:pt x="0" y="0"/>
                  </a:moveTo>
                  <a:lnTo>
                    <a:pt x="0" y="23"/>
                  </a:lnTo>
                  <a:lnTo>
                    <a:pt x="15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1" name="Freeform 1687">
              <a:extLst>
                <a:ext uri="{FF2B5EF4-FFF2-40B4-BE49-F238E27FC236}">
                  <a16:creationId xmlns:a16="http://schemas.microsoft.com/office/drawing/2014/main" id="{7869D412-520B-4633-B94D-F53BA59F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" y="2128"/>
              <a:ext cx="15" cy="35"/>
            </a:xfrm>
            <a:custGeom>
              <a:avLst/>
              <a:gdLst>
                <a:gd name="T0" fmla="*/ 0 w 6"/>
                <a:gd name="T1" fmla="*/ 0 h 14"/>
                <a:gd name="T2" fmla="*/ 0 w 6"/>
                <a:gd name="T3" fmla="*/ 9 h 14"/>
                <a:gd name="T4" fmla="*/ 0 w 6"/>
                <a:gd name="T5" fmla="*/ 9 h 14"/>
                <a:gd name="T6" fmla="*/ 5 w 6"/>
                <a:gd name="T7" fmla="*/ 14 h 14"/>
                <a:gd name="T8" fmla="*/ 6 w 6"/>
                <a:gd name="T9" fmla="*/ 13 h 14"/>
                <a:gd name="T10" fmla="*/ 0 w 6"/>
                <a:gd name="T11" fmla="*/ 8 h 14"/>
                <a:gd name="T12" fmla="*/ 0 w 6"/>
                <a:gd name="T13" fmla="*/ 0 h 14"/>
                <a:gd name="T14" fmla="*/ 0 w 6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4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2" name="Rectangle 1688">
              <a:extLst>
                <a:ext uri="{FF2B5EF4-FFF2-40B4-BE49-F238E27FC236}">
                  <a16:creationId xmlns:a16="http://schemas.microsoft.com/office/drawing/2014/main" id="{EC74996A-F192-4C1F-8D2E-616157653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9" y="2201"/>
              <a:ext cx="422" cy="19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3" name="Freeform 1689">
              <a:extLst>
                <a:ext uri="{FF2B5EF4-FFF2-40B4-BE49-F238E27FC236}">
                  <a16:creationId xmlns:a16="http://schemas.microsoft.com/office/drawing/2014/main" id="{55324A86-5C1C-4071-8E5F-488697CE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2199"/>
              <a:ext cx="425" cy="199"/>
            </a:xfrm>
            <a:custGeom>
              <a:avLst/>
              <a:gdLst>
                <a:gd name="T0" fmla="*/ 167 w 168"/>
                <a:gd name="T1" fmla="*/ 78 h 79"/>
                <a:gd name="T2" fmla="*/ 167 w 168"/>
                <a:gd name="T3" fmla="*/ 78 h 79"/>
                <a:gd name="T4" fmla="*/ 1 w 168"/>
                <a:gd name="T5" fmla="*/ 78 h 79"/>
                <a:gd name="T6" fmla="*/ 1 w 168"/>
                <a:gd name="T7" fmla="*/ 1 h 79"/>
                <a:gd name="T8" fmla="*/ 167 w 168"/>
                <a:gd name="T9" fmla="*/ 1 h 79"/>
                <a:gd name="T10" fmla="*/ 167 w 168"/>
                <a:gd name="T11" fmla="*/ 78 h 79"/>
                <a:gd name="T12" fmla="*/ 167 w 168"/>
                <a:gd name="T13" fmla="*/ 78 h 79"/>
                <a:gd name="T14" fmla="*/ 167 w 168"/>
                <a:gd name="T15" fmla="*/ 78 h 79"/>
                <a:gd name="T16" fmla="*/ 167 w 168"/>
                <a:gd name="T17" fmla="*/ 78 h 79"/>
                <a:gd name="T18" fmla="*/ 168 w 168"/>
                <a:gd name="T19" fmla="*/ 78 h 79"/>
                <a:gd name="T20" fmla="*/ 168 w 168"/>
                <a:gd name="T21" fmla="*/ 1 h 79"/>
                <a:gd name="T22" fmla="*/ 168 w 168"/>
                <a:gd name="T23" fmla="*/ 0 h 79"/>
                <a:gd name="T24" fmla="*/ 167 w 168"/>
                <a:gd name="T25" fmla="*/ 0 h 79"/>
                <a:gd name="T26" fmla="*/ 0 w 168"/>
                <a:gd name="T27" fmla="*/ 0 h 79"/>
                <a:gd name="T28" fmla="*/ 0 w 168"/>
                <a:gd name="T29" fmla="*/ 0 h 79"/>
                <a:gd name="T30" fmla="*/ 0 w 168"/>
                <a:gd name="T31" fmla="*/ 1 h 79"/>
                <a:gd name="T32" fmla="*/ 0 w 168"/>
                <a:gd name="T33" fmla="*/ 78 h 79"/>
                <a:gd name="T34" fmla="*/ 0 w 168"/>
                <a:gd name="T35" fmla="*/ 79 h 79"/>
                <a:gd name="T36" fmla="*/ 0 w 168"/>
                <a:gd name="T37" fmla="*/ 79 h 79"/>
                <a:gd name="T38" fmla="*/ 167 w 168"/>
                <a:gd name="T39" fmla="*/ 79 h 79"/>
                <a:gd name="T40" fmla="*/ 168 w 168"/>
                <a:gd name="T41" fmla="*/ 79 h 79"/>
                <a:gd name="T42" fmla="*/ 168 w 168"/>
                <a:gd name="T43" fmla="*/ 78 h 79"/>
                <a:gd name="T44" fmla="*/ 167 w 168"/>
                <a:gd name="T45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79">
                  <a:moveTo>
                    <a:pt x="167" y="78"/>
                  </a:moveTo>
                  <a:cubicBezTo>
                    <a:pt x="167" y="78"/>
                    <a:pt x="167" y="78"/>
                    <a:pt x="167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78"/>
                    <a:pt x="167" y="78"/>
                    <a:pt x="167" y="78"/>
                  </a:cubicBezTo>
                  <a:cubicBezTo>
                    <a:pt x="167" y="78"/>
                    <a:pt x="167" y="78"/>
                    <a:pt x="167" y="78"/>
                  </a:cubicBezTo>
                  <a:cubicBezTo>
                    <a:pt x="167" y="78"/>
                    <a:pt x="167" y="78"/>
                    <a:pt x="167" y="78"/>
                  </a:cubicBezTo>
                  <a:cubicBezTo>
                    <a:pt x="167" y="78"/>
                    <a:pt x="167" y="78"/>
                    <a:pt x="167" y="78"/>
                  </a:cubicBezTo>
                  <a:cubicBezTo>
                    <a:pt x="168" y="78"/>
                    <a:pt x="168" y="78"/>
                    <a:pt x="168" y="78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68" y="1"/>
                    <a:pt x="168" y="1"/>
                    <a:pt x="168" y="0"/>
                  </a:cubicBezTo>
                  <a:cubicBezTo>
                    <a:pt x="168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8" y="79"/>
                    <a:pt x="168" y="79"/>
                  </a:cubicBezTo>
                  <a:cubicBezTo>
                    <a:pt x="168" y="79"/>
                    <a:pt x="168" y="79"/>
                    <a:pt x="168" y="78"/>
                  </a:cubicBezTo>
                  <a:lnTo>
                    <a:pt x="167" y="7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4" name="Rectangle 1690">
              <a:extLst>
                <a:ext uri="{FF2B5EF4-FFF2-40B4-BE49-F238E27FC236}">
                  <a16:creationId xmlns:a16="http://schemas.microsoft.com/office/drawing/2014/main" id="{B127218B-1E09-47B1-BA08-A46D7062D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4" y="2181"/>
              <a:ext cx="480" cy="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5" name="Freeform 1691">
              <a:extLst>
                <a:ext uri="{FF2B5EF4-FFF2-40B4-BE49-F238E27FC236}">
                  <a16:creationId xmlns:a16="http://schemas.microsoft.com/office/drawing/2014/main" id="{E2E9D836-E39D-468D-BD5D-4235AB43A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181"/>
              <a:ext cx="483" cy="25"/>
            </a:xfrm>
            <a:custGeom>
              <a:avLst/>
              <a:gdLst>
                <a:gd name="T0" fmla="*/ 483 w 483"/>
                <a:gd name="T1" fmla="*/ 23 h 25"/>
                <a:gd name="T2" fmla="*/ 483 w 483"/>
                <a:gd name="T3" fmla="*/ 23 h 25"/>
                <a:gd name="T4" fmla="*/ 3 w 483"/>
                <a:gd name="T5" fmla="*/ 23 h 25"/>
                <a:gd name="T6" fmla="*/ 3 w 483"/>
                <a:gd name="T7" fmla="*/ 2 h 25"/>
                <a:gd name="T8" fmla="*/ 481 w 483"/>
                <a:gd name="T9" fmla="*/ 2 h 25"/>
                <a:gd name="T10" fmla="*/ 481 w 483"/>
                <a:gd name="T11" fmla="*/ 23 h 25"/>
                <a:gd name="T12" fmla="*/ 483 w 483"/>
                <a:gd name="T13" fmla="*/ 23 h 25"/>
                <a:gd name="T14" fmla="*/ 483 w 483"/>
                <a:gd name="T15" fmla="*/ 23 h 25"/>
                <a:gd name="T16" fmla="*/ 483 w 483"/>
                <a:gd name="T17" fmla="*/ 23 h 25"/>
                <a:gd name="T18" fmla="*/ 483 w 483"/>
                <a:gd name="T19" fmla="*/ 23 h 25"/>
                <a:gd name="T20" fmla="*/ 483 w 483"/>
                <a:gd name="T21" fmla="*/ 0 h 25"/>
                <a:gd name="T22" fmla="*/ 0 w 483"/>
                <a:gd name="T23" fmla="*/ 0 h 25"/>
                <a:gd name="T24" fmla="*/ 0 w 483"/>
                <a:gd name="T25" fmla="*/ 25 h 25"/>
                <a:gd name="T26" fmla="*/ 483 w 483"/>
                <a:gd name="T27" fmla="*/ 25 h 25"/>
                <a:gd name="T28" fmla="*/ 483 w 483"/>
                <a:gd name="T29" fmla="*/ 23 h 25"/>
                <a:gd name="T30" fmla="*/ 483 w 483"/>
                <a:gd name="T31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3" h="25">
                  <a:moveTo>
                    <a:pt x="483" y="23"/>
                  </a:moveTo>
                  <a:lnTo>
                    <a:pt x="483" y="23"/>
                  </a:lnTo>
                  <a:lnTo>
                    <a:pt x="3" y="23"/>
                  </a:lnTo>
                  <a:lnTo>
                    <a:pt x="3" y="2"/>
                  </a:lnTo>
                  <a:lnTo>
                    <a:pt x="481" y="2"/>
                  </a:lnTo>
                  <a:lnTo>
                    <a:pt x="481" y="23"/>
                  </a:lnTo>
                  <a:lnTo>
                    <a:pt x="483" y="23"/>
                  </a:lnTo>
                  <a:lnTo>
                    <a:pt x="483" y="23"/>
                  </a:lnTo>
                  <a:lnTo>
                    <a:pt x="483" y="23"/>
                  </a:lnTo>
                  <a:lnTo>
                    <a:pt x="483" y="23"/>
                  </a:lnTo>
                  <a:lnTo>
                    <a:pt x="48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483" y="25"/>
                  </a:lnTo>
                  <a:lnTo>
                    <a:pt x="483" y="23"/>
                  </a:lnTo>
                  <a:lnTo>
                    <a:pt x="483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6" name="Rectangle 1692">
              <a:extLst>
                <a:ext uri="{FF2B5EF4-FFF2-40B4-BE49-F238E27FC236}">
                  <a16:creationId xmlns:a16="http://schemas.microsoft.com/office/drawing/2014/main" id="{1FE08593-F5ED-429F-9DF4-CE2C1DA17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" y="2366"/>
              <a:ext cx="852" cy="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7" name="Freeform 1693">
              <a:extLst>
                <a:ext uri="{FF2B5EF4-FFF2-40B4-BE49-F238E27FC236}">
                  <a16:creationId xmlns:a16="http://schemas.microsoft.com/office/drawing/2014/main" id="{E110308B-B989-4BAF-BDD6-53F488766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" y="2363"/>
              <a:ext cx="854" cy="43"/>
            </a:xfrm>
            <a:custGeom>
              <a:avLst/>
              <a:gdLst>
                <a:gd name="T0" fmla="*/ 338 w 338"/>
                <a:gd name="T1" fmla="*/ 16 h 17"/>
                <a:gd name="T2" fmla="*/ 338 w 338"/>
                <a:gd name="T3" fmla="*/ 16 h 17"/>
                <a:gd name="T4" fmla="*/ 1 w 338"/>
                <a:gd name="T5" fmla="*/ 16 h 17"/>
                <a:gd name="T6" fmla="*/ 1 w 338"/>
                <a:gd name="T7" fmla="*/ 1 h 17"/>
                <a:gd name="T8" fmla="*/ 337 w 338"/>
                <a:gd name="T9" fmla="*/ 1 h 17"/>
                <a:gd name="T10" fmla="*/ 337 w 338"/>
                <a:gd name="T11" fmla="*/ 16 h 17"/>
                <a:gd name="T12" fmla="*/ 338 w 338"/>
                <a:gd name="T13" fmla="*/ 16 h 17"/>
                <a:gd name="T14" fmla="*/ 338 w 338"/>
                <a:gd name="T15" fmla="*/ 16 h 17"/>
                <a:gd name="T16" fmla="*/ 338 w 338"/>
                <a:gd name="T17" fmla="*/ 16 h 17"/>
                <a:gd name="T18" fmla="*/ 338 w 338"/>
                <a:gd name="T19" fmla="*/ 16 h 17"/>
                <a:gd name="T20" fmla="*/ 338 w 338"/>
                <a:gd name="T21" fmla="*/ 1 h 17"/>
                <a:gd name="T22" fmla="*/ 338 w 338"/>
                <a:gd name="T23" fmla="*/ 1 h 17"/>
                <a:gd name="T24" fmla="*/ 338 w 338"/>
                <a:gd name="T25" fmla="*/ 0 h 17"/>
                <a:gd name="T26" fmla="*/ 1 w 338"/>
                <a:gd name="T27" fmla="*/ 0 h 17"/>
                <a:gd name="T28" fmla="*/ 0 w 338"/>
                <a:gd name="T29" fmla="*/ 1 h 17"/>
                <a:gd name="T30" fmla="*/ 0 w 338"/>
                <a:gd name="T31" fmla="*/ 1 h 17"/>
                <a:gd name="T32" fmla="*/ 0 w 338"/>
                <a:gd name="T33" fmla="*/ 16 h 17"/>
                <a:gd name="T34" fmla="*/ 0 w 338"/>
                <a:gd name="T35" fmla="*/ 17 h 17"/>
                <a:gd name="T36" fmla="*/ 1 w 338"/>
                <a:gd name="T37" fmla="*/ 17 h 17"/>
                <a:gd name="T38" fmla="*/ 338 w 338"/>
                <a:gd name="T39" fmla="*/ 17 h 17"/>
                <a:gd name="T40" fmla="*/ 338 w 338"/>
                <a:gd name="T41" fmla="*/ 17 h 17"/>
                <a:gd name="T42" fmla="*/ 338 w 338"/>
                <a:gd name="T4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17">
                  <a:moveTo>
                    <a:pt x="338" y="16"/>
                  </a:moveTo>
                  <a:cubicBezTo>
                    <a:pt x="338" y="16"/>
                    <a:pt x="338" y="16"/>
                    <a:pt x="338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37" y="1"/>
                    <a:pt x="337" y="1"/>
                    <a:pt x="337" y="1"/>
                  </a:cubicBezTo>
                  <a:cubicBezTo>
                    <a:pt x="337" y="16"/>
                    <a:pt x="337" y="16"/>
                    <a:pt x="337" y="16"/>
                  </a:cubicBezTo>
                  <a:cubicBezTo>
                    <a:pt x="338" y="16"/>
                    <a:pt x="338" y="16"/>
                    <a:pt x="338" y="16"/>
                  </a:cubicBezTo>
                  <a:cubicBezTo>
                    <a:pt x="338" y="16"/>
                    <a:pt x="338" y="16"/>
                    <a:pt x="338" y="16"/>
                  </a:cubicBezTo>
                  <a:cubicBezTo>
                    <a:pt x="338" y="16"/>
                    <a:pt x="338" y="16"/>
                    <a:pt x="338" y="16"/>
                  </a:cubicBezTo>
                  <a:cubicBezTo>
                    <a:pt x="338" y="16"/>
                    <a:pt x="338" y="16"/>
                    <a:pt x="338" y="16"/>
                  </a:cubicBezTo>
                  <a:cubicBezTo>
                    <a:pt x="338" y="1"/>
                    <a:pt x="338" y="1"/>
                    <a:pt x="338" y="1"/>
                  </a:cubicBezTo>
                  <a:cubicBezTo>
                    <a:pt x="338" y="1"/>
                    <a:pt x="338" y="1"/>
                    <a:pt x="338" y="1"/>
                  </a:cubicBezTo>
                  <a:cubicBezTo>
                    <a:pt x="338" y="1"/>
                    <a:pt x="338" y="0"/>
                    <a:pt x="33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7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38" y="17"/>
                    <a:pt x="338" y="17"/>
                    <a:pt x="338" y="17"/>
                  </a:cubicBezTo>
                  <a:cubicBezTo>
                    <a:pt x="338" y="17"/>
                    <a:pt x="338" y="17"/>
                    <a:pt x="338" y="17"/>
                  </a:cubicBezTo>
                  <a:cubicBezTo>
                    <a:pt x="338" y="16"/>
                    <a:pt x="338" y="16"/>
                    <a:pt x="338" y="1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8" name="Freeform 1694">
              <a:extLst>
                <a:ext uri="{FF2B5EF4-FFF2-40B4-BE49-F238E27FC236}">
                  <a16:creationId xmlns:a16="http://schemas.microsoft.com/office/drawing/2014/main" id="{98C0FC1A-A350-4126-957B-B4683C2FD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2269"/>
              <a:ext cx="45" cy="66"/>
            </a:xfrm>
            <a:custGeom>
              <a:avLst/>
              <a:gdLst>
                <a:gd name="T0" fmla="*/ 16 w 18"/>
                <a:gd name="T1" fmla="*/ 26 h 26"/>
                <a:gd name="T2" fmla="*/ 3 w 18"/>
                <a:gd name="T3" fmla="*/ 26 h 26"/>
                <a:gd name="T4" fmla="*/ 0 w 18"/>
                <a:gd name="T5" fmla="*/ 23 h 26"/>
                <a:gd name="T6" fmla="*/ 0 w 18"/>
                <a:gd name="T7" fmla="*/ 3 h 26"/>
                <a:gd name="T8" fmla="*/ 3 w 18"/>
                <a:gd name="T9" fmla="*/ 0 h 26"/>
                <a:gd name="T10" fmla="*/ 16 w 18"/>
                <a:gd name="T11" fmla="*/ 0 h 26"/>
                <a:gd name="T12" fmla="*/ 18 w 18"/>
                <a:gd name="T13" fmla="*/ 3 h 26"/>
                <a:gd name="T14" fmla="*/ 18 w 18"/>
                <a:gd name="T15" fmla="*/ 23 h 26"/>
                <a:gd name="T16" fmla="*/ 16 w 18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6">
                  <a:moveTo>
                    <a:pt x="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5"/>
                    <a:pt x="17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9" name="Freeform 1695">
              <a:extLst>
                <a:ext uri="{FF2B5EF4-FFF2-40B4-BE49-F238E27FC236}">
                  <a16:creationId xmlns:a16="http://schemas.microsoft.com/office/drawing/2014/main" id="{3274E07C-F2BF-40FD-A696-321C608AC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2269"/>
              <a:ext cx="51" cy="69"/>
            </a:xfrm>
            <a:custGeom>
              <a:avLst/>
              <a:gdLst>
                <a:gd name="T0" fmla="*/ 17 w 20"/>
                <a:gd name="T1" fmla="*/ 26 h 27"/>
                <a:gd name="T2" fmla="*/ 17 w 20"/>
                <a:gd name="T3" fmla="*/ 26 h 27"/>
                <a:gd name="T4" fmla="*/ 4 w 20"/>
                <a:gd name="T5" fmla="*/ 26 h 27"/>
                <a:gd name="T6" fmla="*/ 1 w 20"/>
                <a:gd name="T7" fmla="*/ 23 h 27"/>
                <a:gd name="T8" fmla="*/ 1 w 20"/>
                <a:gd name="T9" fmla="*/ 3 h 27"/>
                <a:gd name="T10" fmla="*/ 4 w 20"/>
                <a:gd name="T11" fmla="*/ 1 h 27"/>
                <a:gd name="T12" fmla="*/ 17 w 20"/>
                <a:gd name="T13" fmla="*/ 1 h 27"/>
                <a:gd name="T14" fmla="*/ 19 w 20"/>
                <a:gd name="T15" fmla="*/ 3 h 27"/>
                <a:gd name="T16" fmla="*/ 19 w 20"/>
                <a:gd name="T17" fmla="*/ 23 h 27"/>
                <a:gd name="T18" fmla="*/ 17 w 20"/>
                <a:gd name="T19" fmla="*/ 26 h 27"/>
                <a:gd name="T20" fmla="*/ 17 w 20"/>
                <a:gd name="T21" fmla="*/ 26 h 27"/>
                <a:gd name="T22" fmla="*/ 17 w 20"/>
                <a:gd name="T23" fmla="*/ 27 h 27"/>
                <a:gd name="T24" fmla="*/ 20 w 20"/>
                <a:gd name="T25" fmla="*/ 23 h 27"/>
                <a:gd name="T26" fmla="*/ 20 w 20"/>
                <a:gd name="T27" fmla="*/ 3 h 27"/>
                <a:gd name="T28" fmla="*/ 17 w 20"/>
                <a:gd name="T29" fmla="*/ 0 h 27"/>
                <a:gd name="T30" fmla="*/ 4 w 20"/>
                <a:gd name="T31" fmla="*/ 0 h 27"/>
                <a:gd name="T32" fmla="*/ 0 w 20"/>
                <a:gd name="T33" fmla="*/ 3 h 27"/>
                <a:gd name="T34" fmla="*/ 0 w 20"/>
                <a:gd name="T35" fmla="*/ 23 h 27"/>
                <a:gd name="T36" fmla="*/ 4 w 20"/>
                <a:gd name="T37" fmla="*/ 27 h 27"/>
                <a:gd name="T38" fmla="*/ 17 w 20"/>
                <a:gd name="T39" fmla="*/ 27 h 27"/>
                <a:gd name="T40" fmla="*/ 17 w 20"/>
                <a:gd name="T4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7">
                  <a:moveTo>
                    <a:pt x="17" y="26"/>
                  </a:moveTo>
                  <a:cubicBezTo>
                    <a:pt x="17" y="26"/>
                    <a:pt x="17" y="26"/>
                    <a:pt x="17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2" y="26"/>
                    <a:pt x="1" y="25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19" y="2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8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7"/>
                    <a:pt x="20" y="25"/>
                    <a:pt x="20" y="2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2" y="27"/>
                    <a:pt x="4" y="27"/>
                  </a:cubicBezTo>
                  <a:cubicBezTo>
                    <a:pt x="17" y="27"/>
                    <a:pt x="17" y="27"/>
                    <a:pt x="17" y="27"/>
                  </a:cubicBezTo>
                  <a:lnTo>
                    <a:pt x="17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0" name="Rectangle 1696">
              <a:extLst>
                <a:ext uri="{FF2B5EF4-FFF2-40B4-BE49-F238E27FC236}">
                  <a16:creationId xmlns:a16="http://schemas.microsoft.com/office/drawing/2014/main" id="{B2335D3A-A412-4112-BE05-3D262C0F6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" y="2335"/>
              <a:ext cx="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1" name="Freeform 1697">
              <a:extLst>
                <a:ext uri="{FF2B5EF4-FFF2-40B4-BE49-F238E27FC236}">
                  <a16:creationId xmlns:a16="http://schemas.microsoft.com/office/drawing/2014/main" id="{AF5207A5-B500-4FE2-B085-FDDC5E684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2335"/>
              <a:ext cx="8" cy="28"/>
            </a:xfrm>
            <a:custGeom>
              <a:avLst/>
              <a:gdLst>
                <a:gd name="T0" fmla="*/ 8 w 8"/>
                <a:gd name="T1" fmla="*/ 28 h 28"/>
                <a:gd name="T2" fmla="*/ 8 w 8"/>
                <a:gd name="T3" fmla="*/ 0 h 28"/>
                <a:gd name="T4" fmla="*/ 0 w 8"/>
                <a:gd name="T5" fmla="*/ 0 h 28"/>
                <a:gd name="T6" fmla="*/ 0 w 8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8" y="2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2" name="Freeform 1698">
              <a:extLst>
                <a:ext uri="{FF2B5EF4-FFF2-40B4-BE49-F238E27FC236}">
                  <a16:creationId xmlns:a16="http://schemas.microsoft.com/office/drawing/2014/main" id="{60B2A7D8-06CC-4424-B605-29EEFE00C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2335"/>
              <a:ext cx="10" cy="28"/>
            </a:xfrm>
            <a:custGeom>
              <a:avLst/>
              <a:gdLst>
                <a:gd name="T0" fmla="*/ 10 w 10"/>
                <a:gd name="T1" fmla="*/ 28 h 28"/>
                <a:gd name="T2" fmla="*/ 10 w 10"/>
                <a:gd name="T3" fmla="*/ 0 h 28"/>
                <a:gd name="T4" fmla="*/ 0 w 10"/>
                <a:gd name="T5" fmla="*/ 0 h 28"/>
                <a:gd name="T6" fmla="*/ 0 w 10"/>
                <a:gd name="T7" fmla="*/ 28 h 28"/>
                <a:gd name="T8" fmla="*/ 3 w 10"/>
                <a:gd name="T9" fmla="*/ 28 h 28"/>
                <a:gd name="T10" fmla="*/ 3 w 10"/>
                <a:gd name="T11" fmla="*/ 3 h 28"/>
                <a:gd name="T12" fmla="*/ 8 w 10"/>
                <a:gd name="T13" fmla="*/ 3 h 28"/>
                <a:gd name="T14" fmla="*/ 8 w 10"/>
                <a:gd name="T15" fmla="*/ 28 h 28"/>
                <a:gd name="T16" fmla="*/ 10 w 10"/>
                <a:gd name="T17" fmla="*/ 28 h 28"/>
                <a:gd name="T18" fmla="*/ 10 w 1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8">
                  <a:moveTo>
                    <a:pt x="10" y="28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3"/>
                  </a:lnTo>
                  <a:lnTo>
                    <a:pt x="8" y="3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3" name="Freeform 1699">
              <a:extLst>
                <a:ext uri="{FF2B5EF4-FFF2-40B4-BE49-F238E27FC236}">
                  <a16:creationId xmlns:a16="http://schemas.microsoft.com/office/drawing/2014/main" id="{5FF42857-A0F9-49B8-A7F7-CB5E5E81B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9" y="2277"/>
              <a:ext cx="35" cy="43"/>
            </a:xfrm>
            <a:custGeom>
              <a:avLst/>
              <a:gdLst>
                <a:gd name="T0" fmla="*/ 35 w 35"/>
                <a:gd name="T1" fmla="*/ 43 h 43"/>
                <a:gd name="T2" fmla="*/ 35 w 35"/>
                <a:gd name="T3" fmla="*/ 40 h 43"/>
                <a:gd name="T4" fmla="*/ 2 w 35"/>
                <a:gd name="T5" fmla="*/ 40 h 43"/>
                <a:gd name="T6" fmla="*/ 2 w 35"/>
                <a:gd name="T7" fmla="*/ 3 h 43"/>
                <a:gd name="T8" fmla="*/ 32 w 35"/>
                <a:gd name="T9" fmla="*/ 3 h 43"/>
                <a:gd name="T10" fmla="*/ 32 w 35"/>
                <a:gd name="T11" fmla="*/ 43 h 43"/>
                <a:gd name="T12" fmla="*/ 35 w 35"/>
                <a:gd name="T13" fmla="*/ 43 h 43"/>
                <a:gd name="T14" fmla="*/ 35 w 35"/>
                <a:gd name="T15" fmla="*/ 40 h 43"/>
                <a:gd name="T16" fmla="*/ 35 w 35"/>
                <a:gd name="T17" fmla="*/ 43 h 43"/>
                <a:gd name="T18" fmla="*/ 35 w 35"/>
                <a:gd name="T19" fmla="*/ 43 h 43"/>
                <a:gd name="T20" fmla="*/ 35 w 35"/>
                <a:gd name="T21" fmla="*/ 0 h 43"/>
                <a:gd name="T22" fmla="*/ 0 w 35"/>
                <a:gd name="T23" fmla="*/ 0 h 43"/>
                <a:gd name="T24" fmla="*/ 0 w 35"/>
                <a:gd name="T25" fmla="*/ 43 h 43"/>
                <a:gd name="T26" fmla="*/ 35 w 35"/>
                <a:gd name="T27" fmla="*/ 43 h 43"/>
                <a:gd name="T28" fmla="*/ 35 w 35"/>
                <a:gd name="T29" fmla="*/ 43 h 43"/>
                <a:gd name="T30" fmla="*/ 35 w 35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43">
                  <a:moveTo>
                    <a:pt x="35" y="43"/>
                  </a:moveTo>
                  <a:lnTo>
                    <a:pt x="35" y="40"/>
                  </a:lnTo>
                  <a:lnTo>
                    <a:pt x="2" y="40"/>
                  </a:lnTo>
                  <a:lnTo>
                    <a:pt x="2" y="3"/>
                  </a:lnTo>
                  <a:lnTo>
                    <a:pt x="32" y="3"/>
                  </a:lnTo>
                  <a:lnTo>
                    <a:pt x="32" y="43"/>
                  </a:lnTo>
                  <a:lnTo>
                    <a:pt x="35" y="43"/>
                  </a:lnTo>
                  <a:lnTo>
                    <a:pt x="35" y="40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4" name="Rectangle 1700">
              <a:extLst>
                <a:ext uri="{FF2B5EF4-FFF2-40B4-BE49-F238E27FC236}">
                  <a16:creationId xmlns:a16="http://schemas.microsoft.com/office/drawing/2014/main" id="{522BA31E-C7C7-4F44-ABB1-3F6E4037F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1" y="2310"/>
              <a:ext cx="3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5" name="Freeform 1701">
              <a:extLst>
                <a:ext uri="{FF2B5EF4-FFF2-40B4-BE49-F238E27FC236}">
                  <a16:creationId xmlns:a16="http://schemas.microsoft.com/office/drawing/2014/main" id="{86810A55-0DA4-4E5A-9089-B48C6DD08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310"/>
              <a:ext cx="33" cy="2"/>
            </a:xfrm>
            <a:custGeom>
              <a:avLst/>
              <a:gdLst>
                <a:gd name="T0" fmla="*/ 0 w 33"/>
                <a:gd name="T1" fmla="*/ 2 h 2"/>
                <a:gd name="T2" fmla="*/ 33 w 33"/>
                <a:gd name="T3" fmla="*/ 2 h 2"/>
                <a:gd name="T4" fmla="*/ 33 w 33"/>
                <a:gd name="T5" fmla="*/ 0 h 2"/>
                <a:gd name="T6" fmla="*/ 0 w 3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">
                  <a:moveTo>
                    <a:pt x="0" y="2"/>
                  </a:moveTo>
                  <a:lnTo>
                    <a:pt x="33" y="2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6" name="Rectangle 1702">
              <a:extLst>
                <a:ext uri="{FF2B5EF4-FFF2-40B4-BE49-F238E27FC236}">
                  <a16:creationId xmlns:a16="http://schemas.microsoft.com/office/drawing/2014/main" id="{C5BF7055-0C0A-463F-82D3-73FBAA436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9" y="2312"/>
              <a:ext cx="15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7" name="Freeform 1703">
              <a:extLst>
                <a:ext uri="{FF2B5EF4-FFF2-40B4-BE49-F238E27FC236}">
                  <a16:creationId xmlns:a16="http://schemas.microsoft.com/office/drawing/2014/main" id="{921EABC6-AD86-45F5-97DF-26CC1552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9" y="2312"/>
              <a:ext cx="15" cy="3"/>
            </a:xfrm>
            <a:custGeom>
              <a:avLst/>
              <a:gdLst>
                <a:gd name="T0" fmla="*/ 0 w 15"/>
                <a:gd name="T1" fmla="*/ 3 h 3"/>
                <a:gd name="T2" fmla="*/ 15 w 15"/>
                <a:gd name="T3" fmla="*/ 3 h 3"/>
                <a:gd name="T4" fmla="*/ 15 w 15"/>
                <a:gd name="T5" fmla="*/ 0 h 3"/>
                <a:gd name="T6" fmla="*/ 0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0" y="3"/>
                  </a:move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8" name="Freeform 1704">
              <a:extLst>
                <a:ext uri="{FF2B5EF4-FFF2-40B4-BE49-F238E27FC236}">
                  <a16:creationId xmlns:a16="http://schemas.microsoft.com/office/drawing/2014/main" id="{11905783-ACEE-4C6E-A65D-1EB0EA16D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269"/>
              <a:ext cx="48" cy="66"/>
            </a:xfrm>
            <a:custGeom>
              <a:avLst/>
              <a:gdLst>
                <a:gd name="T0" fmla="*/ 16 w 19"/>
                <a:gd name="T1" fmla="*/ 26 h 26"/>
                <a:gd name="T2" fmla="*/ 3 w 19"/>
                <a:gd name="T3" fmla="*/ 26 h 26"/>
                <a:gd name="T4" fmla="*/ 0 w 19"/>
                <a:gd name="T5" fmla="*/ 23 h 26"/>
                <a:gd name="T6" fmla="*/ 0 w 19"/>
                <a:gd name="T7" fmla="*/ 3 h 26"/>
                <a:gd name="T8" fmla="*/ 3 w 19"/>
                <a:gd name="T9" fmla="*/ 0 h 26"/>
                <a:gd name="T10" fmla="*/ 16 w 19"/>
                <a:gd name="T11" fmla="*/ 0 h 26"/>
                <a:gd name="T12" fmla="*/ 19 w 19"/>
                <a:gd name="T13" fmla="*/ 3 h 26"/>
                <a:gd name="T14" fmla="*/ 19 w 19"/>
                <a:gd name="T15" fmla="*/ 23 h 26"/>
                <a:gd name="T16" fmla="*/ 16 w 1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6">
                  <a:moveTo>
                    <a:pt x="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8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9" name="Freeform 1705">
              <a:extLst>
                <a:ext uri="{FF2B5EF4-FFF2-40B4-BE49-F238E27FC236}">
                  <a16:creationId xmlns:a16="http://schemas.microsoft.com/office/drawing/2014/main" id="{7AAC332E-77AE-4655-98EF-D41418AB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269"/>
              <a:ext cx="51" cy="69"/>
            </a:xfrm>
            <a:custGeom>
              <a:avLst/>
              <a:gdLst>
                <a:gd name="T0" fmla="*/ 16 w 20"/>
                <a:gd name="T1" fmla="*/ 26 h 27"/>
                <a:gd name="T2" fmla="*/ 16 w 20"/>
                <a:gd name="T3" fmla="*/ 26 h 27"/>
                <a:gd name="T4" fmla="*/ 3 w 20"/>
                <a:gd name="T5" fmla="*/ 26 h 27"/>
                <a:gd name="T6" fmla="*/ 1 w 20"/>
                <a:gd name="T7" fmla="*/ 23 h 27"/>
                <a:gd name="T8" fmla="*/ 1 w 20"/>
                <a:gd name="T9" fmla="*/ 3 h 27"/>
                <a:gd name="T10" fmla="*/ 3 w 20"/>
                <a:gd name="T11" fmla="*/ 1 h 27"/>
                <a:gd name="T12" fmla="*/ 16 w 20"/>
                <a:gd name="T13" fmla="*/ 1 h 27"/>
                <a:gd name="T14" fmla="*/ 19 w 20"/>
                <a:gd name="T15" fmla="*/ 3 h 27"/>
                <a:gd name="T16" fmla="*/ 19 w 20"/>
                <a:gd name="T17" fmla="*/ 23 h 27"/>
                <a:gd name="T18" fmla="*/ 16 w 20"/>
                <a:gd name="T19" fmla="*/ 26 h 27"/>
                <a:gd name="T20" fmla="*/ 16 w 20"/>
                <a:gd name="T21" fmla="*/ 26 h 27"/>
                <a:gd name="T22" fmla="*/ 16 w 20"/>
                <a:gd name="T23" fmla="*/ 27 h 27"/>
                <a:gd name="T24" fmla="*/ 20 w 20"/>
                <a:gd name="T25" fmla="*/ 23 h 27"/>
                <a:gd name="T26" fmla="*/ 20 w 20"/>
                <a:gd name="T27" fmla="*/ 3 h 27"/>
                <a:gd name="T28" fmla="*/ 16 w 20"/>
                <a:gd name="T29" fmla="*/ 0 h 27"/>
                <a:gd name="T30" fmla="*/ 3 w 20"/>
                <a:gd name="T31" fmla="*/ 0 h 27"/>
                <a:gd name="T32" fmla="*/ 0 w 20"/>
                <a:gd name="T33" fmla="*/ 3 h 27"/>
                <a:gd name="T34" fmla="*/ 0 w 20"/>
                <a:gd name="T35" fmla="*/ 23 h 27"/>
                <a:gd name="T36" fmla="*/ 3 w 20"/>
                <a:gd name="T37" fmla="*/ 27 h 27"/>
                <a:gd name="T38" fmla="*/ 16 w 20"/>
                <a:gd name="T39" fmla="*/ 27 h 27"/>
                <a:gd name="T40" fmla="*/ 16 w 20"/>
                <a:gd name="T4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7">
                  <a:moveTo>
                    <a:pt x="16" y="26"/>
                  </a:moveTo>
                  <a:cubicBezTo>
                    <a:pt x="16" y="26"/>
                    <a:pt x="16" y="26"/>
                    <a:pt x="16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1" y="25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1"/>
                    <a:pt x="19" y="2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8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0" y="25"/>
                    <a:pt x="20" y="2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1" y="27"/>
                    <a:pt x="3" y="27"/>
                  </a:cubicBezTo>
                  <a:cubicBezTo>
                    <a:pt x="16" y="27"/>
                    <a:pt x="16" y="27"/>
                    <a:pt x="16" y="27"/>
                  </a:cubicBezTo>
                  <a:lnTo>
                    <a:pt x="16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0" name="Rectangle 1706">
              <a:extLst>
                <a:ext uri="{FF2B5EF4-FFF2-40B4-BE49-F238E27FC236}">
                  <a16:creationId xmlns:a16="http://schemas.microsoft.com/office/drawing/2014/main" id="{D2DAA14F-9084-44CB-86D0-15361F3BCB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9" y="2335"/>
              <a:ext cx="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1" name="Freeform 1707">
              <a:extLst>
                <a:ext uri="{FF2B5EF4-FFF2-40B4-BE49-F238E27FC236}">
                  <a16:creationId xmlns:a16="http://schemas.microsoft.com/office/drawing/2014/main" id="{56B57DD5-9797-4AF5-920B-A0D12A84E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2335"/>
              <a:ext cx="8" cy="28"/>
            </a:xfrm>
            <a:custGeom>
              <a:avLst/>
              <a:gdLst>
                <a:gd name="T0" fmla="*/ 8 w 8"/>
                <a:gd name="T1" fmla="*/ 28 h 28"/>
                <a:gd name="T2" fmla="*/ 8 w 8"/>
                <a:gd name="T3" fmla="*/ 0 h 28"/>
                <a:gd name="T4" fmla="*/ 0 w 8"/>
                <a:gd name="T5" fmla="*/ 0 h 28"/>
                <a:gd name="T6" fmla="*/ 0 w 8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8" y="2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2" name="Freeform 1708">
              <a:extLst>
                <a:ext uri="{FF2B5EF4-FFF2-40B4-BE49-F238E27FC236}">
                  <a16:creationId xmlns:a16="http://schemas.microsoft.com/office/drawing/2014/main" id="{3CC5B8D1-8CA3-4D24-981A-F544FF055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" y="2335"/>
              <a:ext cx="10" cy="28"/>
            </a:xfrm>
            <a:custGeom>
              <a:avLst/>
              <a:gdLst>
                <a:gd name="T0" fmla="*/ 10 w 10"/>
                <a:gd name="T1" fmla="*/ 28 h 28"/>
                <a:gd name="T2" fmla="*/ 10 w 10"/>
                <a:gd name="T3" fmla="*/ 0 h 28"/>
                <a:gd name="T4" fmla="*/ 0 w 10"/>
                <a:gd name="T5" fmla="*/ 0 h 28"/>
                <a:gd name="T6" fmla="*/ 0 w 10"/>
                <a:gd name="T7" fmla="*/ 28 h 28"/>
                <a:gd name="T8" fmla="*/ 2 w 10"/>
                <a:gd name="T9" fmla="*/ 28 h 28"/>
                <a:gd name="T10" fmla="*/ 2 w 10"/>
                <a:gd name="T11" fmla="*/ 3 h 28"/>
                <a:gd name="T12" fmla="*/ 7 w 10"/>
                <a:gd name="T13" fmla="*/ 3 h 28"/>
                <a:gd name="T14" fmla="*/ 7 w 10"/>
                <a:gd name="T15" fmla="*/ 28 h 28"/>
                <a:gd name="T16" fmla="*/ 10 w 10"/>
                <a:gd name="T17" fmla="*/ 28 h 28"/>
                <a:gd name="T18" fmla="*/ 10 w 1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8">
                  <a:moveTo>
                    <a:pt x="10" y="28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"/>
                  </a:lnTo>
                  <a:lnTo>
                    <a:pt x="7" y="3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3" name="Freeform 1709">
              <a:extLst>
                <a:ext uri="{FF2B5EF4-FFF2-40B4-BE49-F238E27FC236}">
                  <a16:creationId xmlns:a16="http://schemas.microsoft.com/office/drawing/2014/main" id="{17D867B7-8267-4867-99F9-45740813F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7" y="2277"/>
              <a:ext cx="35" cy="43"/>
            </a:xfrm>
            <a:custGeom>
              <a:avLst/>
              <a:gdLst>
                <a:gd name="T0" fmla="*/ 33 w 35"/>
                <a:gd name="T1" fmla="*/ 43 h 43"/>
                <a:gd name="T2" fmla="*/ 33 w 35"/>
                <a:gd name="T3" fmla="*/ 40 h 43"/>
                <a:gd name="T4" fmla="*/ 2 w 35"/>
                <a:gd name="T5" fmla="*/ 40 h 43"/>
                <a:gd name="T6" fmla="*/ 2 w 35"/>
                <a:gd name="T7" fmla="*/ 3 h 43"/>
                <a:gd name="T8" fmla="*/ 33 w 35"/>
                <a:gd name="T9" fmla="*/ 3 h 43"/>
                <a:gd name="T10" fmla="*/ 33 w 35"/>
                <a:gd name="T11" fmla="*/ 43 h 43"/>
                <a:gd name="T12" fmla="*/ 33 w 35"/>
                <a:gd name="T13" fmla="*/ 43 h 43"/>
                <a:gd name="T14" fmla="*/ 33 w 35"/>
                <a:gd name="T15" fmla="*/ 40 h 43"/>
                <a:gd name="T16" fmla="*/ 33 w 35"/>
                <a:gd name="T17" fmla="*/ 43 h 43"/>
                <a:gd name="T18" fmla="*/ 35 w 35"/>
                <a:gd name="T19" fmla="*/ 43 h 43"/>
                <a:gd name="T20" fmla="*/ 35 w 35"/>
                <a:gd name="T21" fmla="*/ 0 h 43"/>
                <a:gd name="T22" fmla="*/ 0 w 35"/>
                <a:gd name="T23" fmla="*/ 0 h 43"/>
                <a:gd name="T24" fmla="*/ 0 w 35"/>
                <a:gd name="T25" fmla="*/ 43 h 43"/>
                <a:gd name="T26" fmla="*/ 35 w 35"/>
                <a:gd name="T27" fmla="*/ 43 h 43"/>
                <a:gd name="T28" fmla="*/ 35 w 35"/>
                <a:gd name="T29" fmla="*/ 43 h 43"/>
                <a:gd name="T30" fmla="*/ 33 w 35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43">
                  <a:moveTo>
                    <a:pt x="33" y="43"/>
                  </a:moveTo>
                  <a:lnTo>
                    <a:pt x="33" y="40"/>
                  </a:lnTo>
                  <a:lnTo>
                    <a:pt x="2" y="40"/>
                  </a:lnTo>
                  <a:lnTo>
                    <a:pt x="2" y="3"/>
                  </a:lnTo>
                  <a:lnTo>
                    <a:pt x="33" y="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4" name="Rectangle 1710">
              <a:extLst>
                <a:ext uri="{FF2B5EF4-FFF2-40B4-BE49-F238E27FC236}">
                  <a16:creationId xmlns:a16="http://schemas.microsoft.com/office/drawing/2014/main" id="{F3F3A75F-E79F-4F33-8E89-30D066E0A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7" y="2310"/>
              <a:ext cx="3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5" name="Freeform 1711">
              <a:extLst>
                <a:ext uri="{FF2B5EF4-FFF2-40B4-BE49-F238E27FC236}">
                  <a16:creationId xmlns:a16="http://schemas.microsoft.com/office/drawing/2014/main" id="{23A29D0D-EECD-4F3C-84BD-F9C231DE2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7" y="2310"/>
              <a:ext cx="33" cy="2"/>
            </a:xfrm>
            <a:custGeom>
              <a:avLst/>
              <a:gdLst>
                <a:gd name="T0" fmla="*/ 0 w 33"/>
                <a:gd name="T1" fmla="*/ 2 h 2"/>
                <a:gd name="T2" fmla="*/ 33 w 33"/>
                <a:gd name="T3" fmla="*/ 2 h 2"/>
                <a:gd name="T4" fmla="*/ 33 w 33"/>
                <a:gd name="T5" fmla="*/ 0 h 2"/>
                <a:gd name="T6" fmla="*/ 0 w 3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">
                  <a:moveTo>
                    <a:pt x="0" y="2"/>
                  </a:moveTo>
                  <a:lnTo>
                    <a:pt x="33" y="2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6" name="Rectangle 1712">
              <a:extLst>
                <a:ext uri="{FF2B5EF4-FFF2-40B4-BE49-F238E27FC236}">
                  <a16:creationId xmlns:a16="http://schemas.microsoft.com/office/drawing/2014/main" id="{0E613C51-75F2-469E-9D53-2151267EB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" y="2312"/>
              <a:ext cx="16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7" name="Freeform 1713">
              <a:extLst>
                <a:ext uri="{FF2B5EF4-FFF2-40B4-BE49-F238E27FC236}">
                  <a16:creationId xmlns:a16="http://schemas.microsoft.com/office/drawing/2014/main" id="{EE11BF3F-5A7B-4F37-B59A-5EDFBED91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" y="2312"/>
              <a:ext cx="16" cy="3"/>
            </a:xfrm>
            <a:custGeom>
              <a:avLst/>
              <a:gdLst>
                <a:gd name="T0" fmla="*/ 0 w 16"/>
                <a:gd name="T1" fmla="*/ 3 h 3"/>
                <a:gd name="T2" fmla="*/ 16 w 16"/>
                <a:gd name="T3" fmla="*/ 3 h 3"/>
                <a:gd name="T4" fmla="*/ 16 w 16"/>
                <a:gd name="T5" fmla="*/ 0 h 3"/>
                <a:gd name="T6" fmla="*/ 0 w 1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">
                  <a:moveTo>
                    <a:pt x="0" y="3"/>
                  </a:moveTo>
                  <a:lnTo>
                    <a:pt x="16" y="3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8" name="Freeform 1714">
              <a:extLst>
                <a:ext uri="{FF2B5EF4-FFF2-40B4-BE49-F238E27FC236}">
                  <a16:creationId xmlns:a16="http://schemas.microsoft.com/office/drawing/2014/main" id="{96B5BA20-7DC1-40E0-9FB6-4DBA34F6B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269"/>
              <a:ext cx="48" cy="66"/>
            </a:xfrm>
            <a:custGeom>
              <a:avLst/>
              <a:gdLst>
                <a:gd name="T0" fmla="*/ 16 w 19"/>
                <a:gd name="T1" fmla="*/ 26 h 26"/>
                <a:gd name="T2" fmla="*/ 3 w 19"/>
                <a:gd name="T3" fmla="*/ 26 h 26"/>
                <a:gd name="T4" fmla="*/ 0 w 19"/>
                <a:gd name="T5" fmla="*/ 23 h 26"/>
                <a:gd name="T6" fmla="*/ 0 w 19"/>
                <a:gd name="T7" fmla="*/ 3 h 26"/>
                <a:gd name="T8" fmla="*/ 3 w 19"/>
                <a:gd name="T9" fmla="*/ 0 h 26"/>
                <a:gd name="T10" fmla="*/ 16 w 19"/>
                <a:gd name="T11" fmla="*/ 0 h 26"/>
                <a:gd name="T12" fmla="*/ 19 w 19"/>
                <a:gd name="T13" fmla="*/ 3 h 26"/>
                <a:gd name="T14" fmla="*/ 19 w 19"/>
                <a:gd name="T15" fmla="*/ 23 h 26"/>
                <a:gd name="T16" fmla="*/ 16 w 1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6">
                  <a:moveTo>
                    <a:pt x="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7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9" name="Freeform 1715">
              <a:extLst>
                <a:ext uri="{FF2B5EF4-FFF2-40B4-BE49-F238E27FC236}">
                  <a16:creationId xmlns:a16="http://schemas.microsoft.com/office/drawing/2014/main" id="{7A995D33-5F3B-4959-8B6A-0B27B9D41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269"/>
              <a:ext cx="48" cy="69"/>
            </a:xfrm>
            <a:custGeom>
              <a:avLst/>
              <a:gdLst>
                <a:gd name="T0" fmla="*/ 16 w 19"/>
                <a:gd name="T1" fmla="*/ 26 h 27"/>
                <a:gd name="T2" fmla="*/ 16 w 19"/>
                <a:gd name="T3" fmla="*/ 26 h 27"/>
                <a:gd name="T4" fmla="*/ 3 w 19"/>
                <a:gd name="T5" fmla="*/ 26 h 27"/>
                <a:gd name="T6" fmla="*/ 1 w 19"/>
                <a:gd name="T7" fmla="*/ 23 h 27"/>
                <a:gd name="T8" fmla="*/ 1 w 19"/>
                <a:gd name="T9" fmla="*/ 3 h 27"/>
                <a:gd name="T10" fmla="*/ 3 w 19"/>
                <a:gd name="T11" fmla="*/ 1 h 27"/>
                <a:gd name="T12" fmla="*/ 16 w 19"/>
                <a:gd name="T13" fmla="*/ 1 h 27"/>
                <a:gd name="T14" fmla="*/ 18 w 19"/>
                <a:gd name="T15" fmla="*/ 3 h 27"/>
                <a:gd name="T16" fmla="*/ 18 w 19"/>
                <a:gd name="T17" fmla="*/ 23 h 27"/>
                <a:gd name="T18" fmla="*/ 16 w 19"/>
                <a:gd name="T19" fmla="*/ 26 h 27"/>
                <a:gd name="T20" fmla="*/ 16 w 19"/>
                <a:gd name="T21" fmla="*/ 26 h 27"/>
                <a:gd name="T22" fmla="*/ 16 w 19"/>
                <a:gd name="T23" fmla="*/ 27 h 27"/>
                <a:gd name="T24" fmla="*/ 19 w 19"/>
                <a:gd name="T25" fmla="*/ 23 h 27"/>
                <a:gd name="T26" fmla="*/ 19 w 19"/>
                <a:gd name="T27" fmla="*/ 3 h 27"/>
                <a:gd name="T28" fmla="*/ 16 w 19"/>
                <a:gd name="T29" fmla="*/ 0 h 27"/>
                <a:gd name="T30" fmla="*/ 3 w 19"/>
                <a:gd name="T31" fmla="*/ 0 h 27"/>
                <a:gd name="T32" fmla="*/ 0 w 19"/>
                <a:gd name="T33" fmla="*/ 3 h 27"/>
                <a:gd name="T34" fmla="*/ 0 w 19"/>
                <a:gd name="T35" fmla="*/ 23 h 27"/>
                <a:gd name="T36" fmla="*/ 3 w 19"/>
                <a:gd name="T37" fmla="*/ 27 h 27"/>
                <a:gd name="T38" fmla="*/ 16 w 19"/>
                <a:gd name="T39" fmla="*/ 27 h 27"/>
                <a:gd name="T40" fmla="*/ 16 w 19"/>
                <a:gd name="T4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" h="27">
                  <a:moveTo>
                    <a:pt x="16" y="26"/>
                  </a:moveTo>
                  <a:cubicBezTo>
                    <a:pt x="16" y="26"/>
                    <a:pt x="16" y="26"/>
                    <a:pt x="16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1" y="25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5"/>
                    <a:pt x="17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19" y="25"/>
                    <a:pt x="19" y="2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18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1" y="27"/>
                    <a:pt x="3" y="27"/>
                  </a:cubicBezTo>
                  <a:cubicBezTo>
                    <a:pt x="16" y="27"/>
                    <a:pt x="16" y="27"/>
                    <a:pt x="16" y="27"/>
                  </a:cubicBezTo>
                  <a:lnTo>
                    <a:pt x="16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0" name="Rectangle 1716">
              <a:extLst>
                <a:ext uri="{FF2B5EF4-FFF2-40B4-BE49-F238E27FC236}">
                  <a16:creationId xmlns:a16="http://schemas.microsoft.com/office/drawing/2014/main" id="{735F4CE2-82B0-4E72-90D9-57C617E0B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8" y="2335"/>
              <a:ext cx="7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1" name="Freeform 1717">
              <a:extLst>
                <a:ext uri="{FF2B5EF4-FFF2-40B4-BE49-F238E27FC236}">
                  <a16:creationId xmlns:a16="http://schemas.microsoft.com/office/drawing/2014/main" id="{87D2E51F-4553-4681-B4C0-7BF08B478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" y="2335"/>
              <a:ext cx="7" cy="28"/>
            </a:xfrm>
            <a:custGeom>
              <a:avLst/>
              <a:gdLst>
                <a:gd name="T0" fmla="*/ 7 w 7"/>
                <a:gd name="T1" fmla="*/ 28 h 28"/>
                <a:gd name="T2" fmla="*/ 7 w 7"/>
                <a:gd name="T3" fmla="*/ 0 h 28"/>
                <a:gd name="T4" fmla="*/ 0 w 7"/>
                <a:gd name="T5" fmla="*/ 0 h 28"/>
                <a:gd name="T6" fmla="*/ 0 w 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8">
                  <a:moveTo>
                    <a:pt x="7" y="28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2" name="Freeform 1718">
              <a:extLst>
                <a:ext uri="{FF2B5EF4-FFF2-40B4-BE49-F238E27FC236}">
                  <a16:creationId xmlns:a16="http://schemas.microsoft.com/office/drawing/2014/main" id="{551A7D74-B402-4AA0-95D0-8A30F2A23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" y="2335"/>
              <a:ext cx="10" cy="28"/>
            </a:xfrm>
            <a:custGeom>
              <a:avLst/>
              <a:gdLst>
                <a:gd name="T0" fmla="*/ 10 w 10"/>
                <a:gd name="T1" fmla="*/ 28 h 28"/>
                <a:gd name="T2" fmla="*/ 10 w 10"/>
                <a:gd name="T3" fmla="*/ 0 h 28"/>
                <a:gd name="T4" fmla="*/ 0 w 10"/>
                <a:gd name="T5" fmla="*/ 0 h 28"/>
                <a:gd name="T6" fmla="*/ 0 w 10"/>
                <a:gd name="T7" fmla="*/ 28 h 28"/>
                <a:gd name="T8" fmla="*/ 3 w 10"/>
                <a:gd name="T9" fmla="*/ 28 h 28"/>
                <a:gd name="T10" fmla="*/ 3 w 10"/>
                <a:gd name="T11" fmla="*/ 3 h 28"/>
                <a:gd name="T12" fmla="*/ 8 w 10"/>
                <a:gd name="T13" fmla="*/ 3 h 28"/>
                <a:gd name="T14" fmla="*/ 8 w 10"/>
                <a:gd name="T15" fmla="*/ 28 h 28"/>
                <a:gd name="T16" fmla="*/ 10 w 10"/>
                <a:gd name="T17" fmla="*/ 28 h 28"/>
                <a:gd name="T18" fmla="*/ 10 w 1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8">
                  <a:moveTo>
                    <a:pt x="10" y="28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3"/>
                  </a:lnTo>
                  <a:lnTo>
                    <a:pt x="8" y="3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3" name="Freeform 1719">
              <a:extLst>
                <a:ext uri="{FF2B5EF4-FFF2-40B4-BE49-F238E27FC236}">
                  <a16:creationId xmlns:a16="http://schemas.microsoft.com/office/drawing/2014/main" id="{107B3318-A3FB-427D-ADD8-F205650E7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2" y="2277"/>
              <a:ext cx="36" cy="43"/>
            </a:xfrm>
            <a:custGeom>
              <a:avLst/>
              <a:gdLst>
                <a:gd name="T0" fmla="*/ 36 w 36"/>
                <a:gd name="T1" fmla="*/ 43 h 43"/>
                <a:gd name="T2" fmla="*/ 36 w 36"/>
                <a:gd name="T3" fmla="*/ 40 h 43"/>
                <a:gd name="T4" fmla="*/ 3 w 36"/>
                <a:gd name="T5" fmla="*/ 40 h 43"/>
                <a:gd name="T6" fmla="*/ 3 w 36"/>
                <a:gd name="T7" fmla="*/ 3 h 43"/>
                <a:gd name="T8" fmla="*/ 33 w 36"/>
                <a:gd name="T9" fmla="*/ 3 h 43"/>
                <a:gd name="T10" fmla="*/ 33 w 36"/>
                <a:gd name="T11" fmla="*/ 43 h 43"/>
                <a:gd name="T12" fmla="*/ 36 w 36"/>
                <a:gd name="T13" fmla="*/ 43 h 43"/>
                <a:gd name="T14" fmla="*/ 36 w 36"/>
                <a:gd name="T15" fmla="*/ 40 h 43"/>
                <a:gd name="T16" fmla="*/ 36 w 36"/>
                <a:gd name="T17" fmla="*/ 43 h 43"/>
                <a:gd name="T18" fmla="*/ 36 w 36"/>
                <a:gd name="T19" fmla="*/ 43 h 43"/>
                <a:gd name="T20" fmla="*/ 36 w 36"/>
                <a:gd name="T21" fmla="*/ 0 h 43"/>
                <a:gd name="T22" fmla="*/ 0 w 36"/>
                <a:gd name="T23" fmla="*/ 0 h 43"/>
                <a:gd name="T24" fmla="*/ 0 w 36"/>
                <a:gd name="T25" fmla="*/ 43 h 43"/>
                <a:gd name="T26" fmla="*/ 36 w 36"/>
                <a:gd name="T27" fmla="*/ 43 h 43"/>
                <a:gd name="T28" fmla="*/ 36 w 36"/>
                <a:gd name="T29" fmla="*/ 43 h 43"/>
                <a:gd name="T30" fmla="*/ 36 w 36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43">
                  <a:moveTo>
                    <a:pt x="36" y="43"/>
                  </a:moveTo>
                  <a:lnTo>
                    <a:pt x="36" y="40"/>
                  </a:lnTo>
                  <a:lnTo>
                    <a:pt x="3" y="40"/>
                  </a:lnTo>
                  <a:lnTo>
                    <a:pt x="3" y="3"/>
                  </a:lnTo>
                  <a:lnTo>
                    <a:pt x="33" y="3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40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4" name="Rectangle 1720">
              <a:extLst>
                <a:ext uri="{FF2B5EF4-FFF2-40B4-BE49-F238E27FC236}">
                  <a16:creationId xmlns:a16="http://schemas.microsoft.com/office/drawing/2014/main" id="{F05BA85E-1CF7-490A-8636-ECB363506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5" y="2310"/>
              <a:ext cx="33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5" name="Freeform 1721">
              <a:extLst>
                <a:ext uri="{FF2B5EF4-FFF2-40B4-BE49-F238E27FC236}">
                  <a16:creationId xmlns:a16="http://schemas.microsoft.com/office/drawing/2014/main" id="{CF0C96F7-11CA-4871-B913-179891507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" y="2310"/>
              <a:ext cx="33" cy="2"/>
            </a:xfrm>
            <a:custGeom>
              <a:avLst/>
              <a:gdLst>
                <a:gd name="T0" fmla="*/ 0 w 33"/>
                <a:gd name="T1" fmla="*/ 2 h 2"/>
                <a:gd name="T2" fmla="*/ 33 w 33"/>
                <a:gd name="T3" fmla="*/ 2 h 2"/>
                <a:gd name="T4" fmla="*/ 33 w 33"/>
                <a:gd name="T5" fmla="*/ 0 h 2"/>
                <a:gd name="T6" fmla="*/ 0 w 3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">
                  <a:moveTo>
                    <a:pt x="0" y="2"/>
                  </a:moveTo>
                  <a:lnTo>
                    <a:pt x="33" y="2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6" name="Rectangle 1722">
              <a:extLst>
                <a:ext uri="{FF2B5EF4-FFF2-40B4-BE49-F238E27FC236}">
                  <a16:creationId xmlns:a16="http://schemas.microsoft.com/office/drawing/2014/main" id="{457C4EDE-9736-4A4C-8DBF-CB918A9E9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3" y="2312"/>
              <a:ext cx="15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7" name="Freeform 1723">
              <a:extLst>
                <a:ext uri="{FF2B5EF4-FFF2-40B4-BE49-F238E27FC236}">
                  <a16:creationId xmlns:a16="http://schemas.microsoft.com/office/drawing/2014/main" id="{ADAC7241-D80D-44A5-A974-A0C955618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312"/>
              <a:ext cx="15" cy="3"/>
            </a:xfrm>
            <a:custGeom>
              <a:avLst/>
              <a:gdLst>
                <a:gd name="T0" fmla="*/ 0 w 15"/>
                <a:gd name="T1" fmla="*/ 3 h 3"/>
                <a:gd name="T2" fmla="*/ 15 w 15"/>
                <a:gd name="T3" fmla="*/ 3 h 3"/>
                <a:gd name="T4" fmla="*/ 15 w 15"/>
                <a:gd name="T5" fmla="*/ 0 h 3"/>
                <a:gd name="T6" fmla="*/ 0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0" y="3"/>
                  </a:move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8" name="Freeform 1724">
              <a:extLst>
                <a:ext uri="{FF2B5EF4-FFF2-40B4-BE49-F238E27FC236}">
                  <a16:creationId xmlns:a16="http://schemas.microsoft.com/office/drawing/2014/main" id="{6C321B6E-28A0-408E-974B-E83A92071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" y="2257"/>
              <a:ext cx="10" cy="12"/>
            </a:xfrm>
            <a:custGeom>
              <a:avLst/>
              <a:gdLst>
                <a:gd name="T0" fmla="*/ 0 w 4"/>
                <a:gd name="T1" fmla="*/ 5 h 5"/>
                <a:gd name="T2" fmla="*/ 0 w 4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cubicBezTo>
                    <a:pt x="1" y="5"/>
                    <a:pt x="4" y="2"/>
                    <a:pt x="0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49" name="Freeform 1725">
              <a:extLst>
                <a:ext uri="{FF2B5EF4-FFF2-40B4-BE49-F238E27FC236}">
                  <a16:creationId xmlns:a16="http://schemas.microsoft.com/office/drawing/2014/main" id="{5AC4F941-D6B1-4B40-ABB5-4886A99DC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" y="2257"/>
              <a:ext cx="5" cy="12"/>
            </a:xfrm>
            <a:custGeom>
              <a:avLst/>
              <a:gdLst>
                <a:gd name="T0" fmla="*/ 0 w 2"/>
                <a:gd name="T1" fmla="*/ 5 h 5"/>
                <a:gd name="T2" fmla="*/ 0 w 2"/>
                <a:gd name="T3" fmla="*/ 5 h 5"/>
                <a:gd name="T4" fmla="*/ 2 w 2"/>
                <a:gd name="T5" fmla="*/ 5 h 5"/>
                <a:gd name="T6" fmla="*/ 2 w 2"/>
                <a:gd name="T7" fmla="*/ 3 h 5"/>
                <a:gd name="T8" fmla="*/ 0 w 2"/>
                <a:gd name="T9" fmla="*/ 0 h 5"/>
                <a:gd name="T10" fmla="*/ 0 w 2"/>
                <a:gd name="T11" fmla="*/ 1 h 5"/>
                <a:gd name="T12" fmla="*/ 2 w 2"/>
                <a:gd name="T13" fmla="*/ 3 h 5"/>
                <a:gd name="T14" fmla="*/ 1 w 2"/>
                <a:gd name="T15" fmla="*/ 4 h 5"/>
                <a:gd name="T16" fmla="*/ 0 w 2"/>
                <a:gd name="T17" fmla="*/ 4 h 5"/>
                <a:gd name="T18" fmla="*/ 0 w 2"/>
                <a:gd name="T19" fmla="*/ 4 h 5"/>
                <a:gd name="T20" fmla="*/ 0 w 2"/>
                <a:gd name="T2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2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2"/>
                    <a:pt x="2" y="3"/>
                  </a:cubicBezTo>
                  <a:cubicBezTo>
                    <a:pt x="2" y="3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0" name="Freeform 1726">
              <a:extLst>
                <a:ext uri="{FF2B5EF4-FFF2-40B4-BE49-F238E27FC236}">
                  <a16:creationId xmlns:a16="http://schemas.microsoft.com/office/drawing/2014/main" id="{645B9F1B-EBF7-4512-8635-FBFF9CB72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2257"/>
              <a:ext cx="10" cy="12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2" y="5"/>
                    <a:pt x="0" y="2"/>
                    <a:pt x="4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1" name="Freeform 1727">
              <a:extLst>
                <a:ext uri="{FF2B5EF4-FFF2-40B4-BE49-F238E27FC236}">
                  <a16:creationId xmlns:a16="http://schemas.microsoft.com/office/drawing/2014/main" id="{649B0E10-7AD3-4AEF-9C2B-66ABEB2B3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" y="2257"/>
              <a:ext cx="8" cy="12"/>
            </a:xfrm>
            <a:custGeom>
              <a:avLst/>
              <a:gdLst>
                <a:gd name="T0" fmla="*/ 3 w 3"/>
                <a:gd name="T1" fmla="*/ 4 h 5"/>
                <a:gd name="T2" fmla="*/ 3 w 3"/>
                <a:gd name="T3" fmla="*/ 4 h 5"/>
                <a:gd name="T4" fmla="*/ 2 w 3"/>
                <a:gd name="T5" fmla="*/ 4 h 5"/>
                <a:gd name="T6" fmla="*/ 1 w 3"/>
                <a:gd name="T7" fmla="*/ 3 h 5"/>
                <a:gd name="T8" fmla="*/ 3 w 3"/>
                <a:gd name="T9" fmla="*/ 1 h 5"/>
                <a:gd name="T10" fmla="*/ 3 w 3"/>
                <a:gd name="T11" fmla="*/ 0 h 5"/>
                <a:gd name="T12" fmla="*/ 0 w 3"/>
                <a:gd name="T13" fmla="*/ 3 h 5"/>
                <a:gd name="T14" fmla="*/ 1 w 3"/>
                <a:gd name="T15" fmla="*/ 5 h 5"/>
                <a:gd name="T16" fmla="*/ 3 w 3"/>
                <a:gd name="T17" fmla="*/ 5 h 5"/>
                <a:gd name="T18" fmla="*/ 3 w 3"/>
                <a:gd name="T19" fmla="*/ 5 h 5"/>
                <a:gd name="T20" fmla="*/ 3 w 3"/>
                <a:gd name="T2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1" y="4"/>
                    <a:pt x="1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2" name="Oval 1728">
              <a:extLst>
                <a:ext uri="{FF2B5EF4-FFF2-40B4-BE49-F238E27FC236}">
                  <a16:creationId xmlns:a16="http://schemas.microsoft.com/office/drawing/2014/main" id="{D25ACEA9-0099-4AE7-BAD5-28C8750EB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5" y="2254"/>
              <a:ext cx="20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3" name="Freeform 1729">
              <a:extLst>
                <a:ext uri="{FF2B5EF4-FFF2-40B4-BE49-F238E27FC236}">
                  <a16:creationId xmlns:a16="http://schemas.microsoft.com/office/drawing/2014/main" id="{428AE1CA-4FEE-4174-816E-C399FDF2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2252"/>
              <a:ext cx="20" cy="22"/>
            </a:xfrm>
            <a:custGeom>
              <a:avLst/>
              <a:gdLst>
                <a:gd name="T0" fmla="*/ 8 w 8"/>
                <a:gd name="T1" fmla="*/ 4 h 9"/>
                <a:gd name="T2" fmla="*/ 7 w 8"/>
                <a:gd name="T3" fmla="*/ 4 h 9"/>
                <a:gd name="T4" fmla="*/ 4 w 8"/>
                <a:gd name="T5" fmla="*/ 8 h 9"/>
                <a:gd name="T6" fmla="*/ 1 w 8"/>
                <a:gd name="T7" fmla="*/ 4 h 9"/>
                <a:gd name="T8" fmla="*/ 4 w 8"/>
                <a:gd name="T9" fmla="*/ 1 h 9"/>
                <a:gd name="T10" fmla="*/ 7 w 8"/>
                <a:gd name="T11" fmla="*/ 4 h 9"/>
                <a:gd name="T12" fmla="*/ 8 w 8"/>
                <a:gd name="T13" fmla="*/ 4 h 9"/>
                <a:gd name="T14" fmla="*/ 8 w 8"/>
                <a:gd name="T15" fmla="*/ 4 h 9"/>
                <a:gd name="T16" fmla="*/ 4 w 8"/>
                <a:gd name="T17" fmla="*/ 0 h 9"/>
                <a:gd name="T18" fmla="*/ 0 w 8"/>
                <a:gd name="T19" fmla="*/ 4 h 9"/>
                <a:gd name="T20" fmla="*/ 4 w 8"/>
                <a:gd name="T21" fmla="*/ 9 h 9"/>
                <a:gd name="T22" fmla="*/ 8 w 8"/>
                <a:gd name="T2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8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2" y="8"/>
                    <a:pt x="1" y="6"/>
                    <a:pt x="1" y="4"/>
                  </a:cubicBezTo>
                  <a:cubicBezTo>
                    <a:pt x="1" y="3"/>
                    <a:pt x="2" y="1"/>
                    <a:pt x="4" y="1"/>
                  </a:cubicBezTo>
                  <a:cubicBezTo>
                    <a:pt x="6" y="1"/>
                    <a:pt x="7" y="3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8" y="7"/>
                    <a:pt x="8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4" name="Freeform 1730">
              <a:extLst>
                <a:ext uri="{FF2B5EF4-FFF2-40B4-BE49-F238E27FC236}">
                  <a16:creationId xmlns:a16="http://schemas.microsoft.com/office/drawing/2014/main" id="{1872DA34-F467-4297-9D1A-96F5BB75E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57"/>
              <a:ext cx="15" cy="2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cubicBezTo>
                    <a:pt x="2" y="1"/>
                    <a:pt x="4" y="1"/>
                    <a:pt x="6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5" name="Freeform 1731">
              <a:extLst>
                <a:ext uri="{FF2B5EF4-FFF2-40B4-BE49-F238E27FC236}">
                  <a16:creationId xmlns:a16="http://schemas.microsoft.com/office/drawing/2014/main" id="{4C6FDC61-33D1-4C7A-935A-ED8DFA8F1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57"/>
              <a:ext cx="15" cy="5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2 h 2"/>
                <a:gd name="T4" fmla="*/ 6 w 6"/>
                <a:gd name="T5" fmla="*/ 0 h 2"/>
                <a:gd name="T6" fmla="*/ 5 w 6"/>
                <a:gd name="T7" fmla="*/ 0 h 2"/>
                <a:gd name="T8" fmla="*/ 3 w 6"/>
                <a:gd name="T9" fmla="*/ 1 h 2"/>
                <a:gd name="T10" fmla="*/ 1 w 6"/>
                <a:gd name="T11" fmla="*/ 0 h 2"/>
                <a:gd name="T12" fmla="*/ 0 w 6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cubicBezTo>
                    <a:pt x="1" y="1"/>
                    <a:pt x="2" y="2"/>
                    <a:pt x="3" y="2"/>
                  </a:cubicBezTo>
                  <a:cubicBezTo>
                    <a:pt x="4" y="2"/>
                    <a:pt x="5" y="1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1"/>
                    <a:pt x="3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6" name="Rectangle 1732">
              <a:extLst>
                <a:ext uri="{FF2B5EF4-FFF2-40B4-BE49-F238E27FC236}">
                  <a16:creationId xmlns:a16="http://schemas.microsoft.com/office/drawing/2014/main" id="{1A77F00D-1C2A-4B2E-9C47-87E7E615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7" y="2249"/>
              <a:ext cx="15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7" name="Freeform 1733">
              <a:extLst>
                <a:ext uri="{FF2B5EF4-FFF2-40B4-BE49-F238E27FC236}">
                  <a16:creationId xmlns:a16="http://schemas.microsoft.com/office/drawing/2014/main" id="{89606D93-A569-4E5A-A228-38F0C6F7C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49"/>
              <a:ext cx="15" cy="8"/>
            </a:xfrm>
            <a:custGeom>
              <a:avLst/>
              <a:gdLst>
                <a:gd name="T0" fmla="*/ 15 w 15"/>
                <a:gd name="T1" fmla="*/ 8 h 8"/>
                <a:gd name="T2" fmla="*/ 15 w 15"/>
                <a:gd name="T3" fmla="*/ 5 h 8"/>
                <a:gd name="T4" fmla="*/ 0 w 15"/>
                <a:gd name="T5" fmla="*/ 5 h 8"/>
                <a:gd name="T6" fmla="*/ 0 w 15"/>
                <a:gd name="T7" fmla="*/ 3 h 8"/>
                <a:gd name="T8" fmla="*/ 13 w 15"/>
                <a:gd name="T9" fmla="*/ 3 h 8"/>
                <a:gd name="T10" fmla="*/ 13 w 15"/>
                <a:gd name="T11" fmla="*/ 8 h 8"/>
                <a:gd name="T12" fmla="*/ 15 w 15"/>
                <a:gd name="T13" fmla="*/ 8 h 8"/>
                <a:gd name="T14" fmla="*/ 15 w 15"/>
                <a:gd name="T15" fmla="*/ 5 h 8"/>
                <a:gd name="T16" fmla="*/ 15 w 15"/>
                <a:gd name="T17" fmla="*/ 8 h 8"/>
                <a:gd name="T18" fmla="*/ 15 w 15"/>
                <a:gd name="T19" fmla="*/ 8 h 8"/>
                <a:gd name="T20" fmla="*/ 15 w 15"/>
                <a:gd name="T21" fmla="*/ 0 h 8"/>
                <a:gd name="T22" fmla="*/ 0 w 15"/>
                <a:gd name="T23" fmla="*/ 0 h 8"/>
                <a:gd name="T24" fmla="*/ 0 w 15"/>
                <a:gd name="T25" fmla="*/ 8 h 8"/>
                <a:gd name="T26" fmla="*/ 15 w 15"/>
                <a:gd name="T27" fmla="*/ 8 h 8"/>
                <a:gd name="T28" fmla="*/ 15 w 15"/>
                <a:gd name="T29" fmla="*/ 8 h 8"/>
                <a:gd name="T30" fmla="*/ 15 w 15"/>
                <a:gd name="T3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8">
                  <a:moveTo>
                    <a:pt x="15" y="8"/>
                  </a:moveTo>
                  <a:lnTo>
                    <a:pt x="15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13" y="3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5" y="5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8" name="Freeform 1734">
              <a:extLst>
                <a:ext uri="{FF2B5EF4-FFF2-40B4-BE49-F238E27FC236}">
                  <a16:creationId xmlns:a16="http://schemas.microsoft.com/office/drawing/2014/main" id="{72502C3D-CA0C-412B-8B5C-860F8CD68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52"/>
              <a:ext cx="15" cy="0"/>
            </a:xfrm>
            <a:custGeom>
              <a:avLst/>
              <a:gdLst>
                <a:gd name="T0" fmla="*/ 0 w 15"/>
                <a:gd name="T1" fmla="*/ 15 w 15"/>
                <a:gd name="T2" fmla="*/ 0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9" name="Line 1735">
              <a:extLst>
                <a:ext uri="{FF2B5EF4-FFF2-40B4-BE49-F238E27FC236}">
                  <a16:creationId xmlns:a16="http://schemas.microsoft.com/office/drawing/2014/main" id="{0871C063-330D-49C1-B2B1-FD6FAA7EB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97" y="2252"/>
              <a:ext cx="15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0" name="Rectangle 1736">
              <a:extLst>
                <a:ext uri="{FF2B5EF4-FFF2-40B4-BE49-F238E27FC236}">
                  <a16:creationId xmlns:a16="http://schemas.microsoft.com/office/drawing/2014/main" id="{3476CB0F-17D2-4594-9593-67AC41B29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7" y="2252"/>
              <a:ext cx="15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1" name="Freeform 1737">
              <a:extLst>
                <a:ext uri="{FF2B5EF4-FFF2-40B4-BE49-F238E27FC236}">
                  <a16:creationId xmlns:a16="http://schemas.microsoft.com/office/drawing/2014/main" id="{A59D34B1-47EA-4C84-9F10-448FEC522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52"/>
              <a:ext cx="15" cy="2"/>
            </a:xfrm>
            <a:custGeom>
              <a:avLst/>
              <a:gdLst>
                <a:gd name="T0" fmla="*/ 0 w 15"/>
                <a:gd name="T1" fmla="*/ 2 h 2"/>
                <a:gd name="T2" fmla="*/ 15 w 15"/>
                <a:gd name="T3" fmla="*/ 2 h 2"/>
                <a:gd name="T4" fmla="*/ 15 w 15"/>
                <a:gd name="T5" fmla="*/ 0 h 2"/>
                <a:gd name="T6" fmla="*/ 0 w 1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">
                  <a:moveTo>
                    <a:pt x="0" y="2"/>
                  </a:moveTo>
                  <a:lnTo>
                    <a:pt x="15" y="2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2" name="Freeform 1738">
              <a:extLst>
                <a:ext uri="{FF2B5EF4-FFF2-40B4-BE49-F238E27FC236}">
                  <a16:creationId xmlns:a16="http://schemas.microsoft.com/office/drawing/2014/main" id="{DA638AE7-CC5C-45B1-8B4E-9C7EE1CED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277"/>
              <a:ext cx="41" cy="89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9 h 35"/>
                <a:gd name="T4" fmla="*/ 2 w 16"/>
                <a:gd name="T5" fmla="*/ 11 h 35"/>
                <a:gd name="T6" fmla="*/ 3 w 16"/>
                <a:gd name="T7" fmla="*/ 11 h 35"/>
                <a:gd name="T8" fmla="*/ 3 w 16"/>
                <a:gd name="T9" fmla="*/ 18 h 35"/>
                <a:gd name="T10" fmla="*/ 3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8 h 35"/>
                <a:gd name="T18" fmla="*/ 9 w 16"/>
                <a:gd name="T19" fmla="*/ 18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8 h 35"/>
                <a:gd name="T28" fmla="*/ 13 w 16"/>
                <a:gd name="T29" fmla="*/ 16 h 35"/>
                <a:gd name="T30" fmla="*/ 14 w 16"/>
                <a:gd name="T31" fmla="*/ 16 h 35"/>
                <a:gd name="T32" fmla="*/ 16 w 16"/>
                <a:gd name="T33" fmla="*/ 14 h 35"/>
                <a:gd name="T34" fmla="*/ 16 w 16"/>
                <a:gd name="T35" fmla="*/ 5 h 35"/>
                <a:gd name="T36" fmla="*/ 11 w 16"/>
                <a:gd name="T37" fmla="*/ 0 h 35"/>
                <a:gd name="T38" fmla="*/ 5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3" name="Freeform 1739">
              <a:extLst>
                <a:ext uri="{FF2B5EF4-FFF2-40B4-BE49-F238E27FC236}">
                  <a16:creationId xmlns:a16="http://schemas.microsoft.com/office/drawing/2014/main" id="{2A9C9A33-3004-4A31-A59F-94FDE7976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274"/>
              <a:ext cx="41" cy="92"/>
            </a:xfrm>
            <a:custGeom>
              <a:avLst/>
              <a:gdLst>
                <a:gd name="T0" fmla="*/ 0 w 16"/>
                <a:gd name="T1" fmla="*/ 6 h 36"/>
                <a:gd name="T2" fmla="*/ 0 w 16"/>
                <a:gd name="T3" fmla="*/ 6 h 36"/>
                <a:gd name="T4" fmla="*/ 0 w 16"/>
                <a:gd name="T5" fmla="*/ 10 h 36"/>
                <a:gd name="T6" fmla="*/ 2 w 16"/>
                <a:gd name="T7" fmla="*/ 12 h 36"/>
                <a:gd name="T8" fmla="*/ 3 w 16"/>
                <a:gd name="T9" fmla="*/ 12 h 36"/>
                <a:gd name="T10" fmla="*/ 3 w 16"/>
                <a:gd name="T11" fmla="*/ 19 h 36"/>
                <a:gd name="T12" fmla="*/ 3 w 16"/>
                <a:gd name="T13" fmla="*/ 34 h 36"/>
                <a:gd name="T14" fmla="*/ 5 w 16"/>
                <a:gd name="T15" fmla="*/ 36 h 36"/>
                <a:gd name="T16" fmla="*/ 7 w 16"/>
                <a:gd name="T17" fmla="*/ 34 h 36"/>
                <a:gd name="T18" fmla="*/ 7 w 16"/>
                <a:gd name="T19" fmla="*/ 20 h 36"/>
                <a:gd name="T20" fmla="*/ 9 w 16"/>
                <a:gd name="T21" fmla="*/ 20 h 36"/>
                <a:gd name="T22" fmla="*/ 9 w 16"/>
                <a:gd name="T23" fmla="*/ 34 h 36"/>
                <a:gd name="T24" fmla="*/ 11 w 16"/>
                <a:gd name="T25" fmla="*/ 36 h 36"/>
                <a:gd name="T26" fmla="*/ 13 w 16"/>
                <a:gd name="T27" fmla="*/ 34 h 36"/>
                <a:gd name="T28" fmla="*/ 13 w 16"/>
                <a:gd name="T29" fmla="*/ 19 h 36"/>
                <a:gd name="T30" fmla="*/ 13 w 16"/>
                <a:gd name="T31" fmla="*/ 18 h 36"/>
                <a:gd name="T32" fmla="*/ 14 w 16"/>
                <a:gd name="T33" fmla="*/ 18 h 36"/>
                <a:gd name="T34" fmla="*/ 16 w 16"/>
                <a:gd name="T35" fmla="*/ 15 h 36"/>
                <a:gd name="T36" fmla="*/ 16 w 16"/>
                <a:gd name="T37" fmla="*/ 6 h 36"/>
                <a:gd name="T38" fmla="*/ 11 w 16"/>
                <a:gd name="T39" fmla="*/ 0 h 36"/>
                <a:gd name="T40" fmla="*/ 5 w 16"/>
                <a:gd name="T41" fmla="*/ 0 h 36"/>
                <a:gd name="T42" fmla="*/ 0 w 16"/>
                <a:gd name="T43" fmla="*/ 6 h 36"/>
                <a:gd name="T44" fmla="*/ 0 w 16"/>
                <a:gd name="T45" fmla="*/ 6 h 36"/>
                <a:gd name="T46" fmla="*/ 0 w 16"/>
                <a:gd name="T47" fmla="*/ 6 h 36"/>
                <a:gd name="T48" fmla="*/ 5 w 16"/>
                <a:gd name="T49" fmla="*/ 1 h 36"/>
                <a:gd name="T50" fmla="*/ 11 w 16"/>
                <a:gd name="T51" fmla="*/ 1 h 36"/>
                <a:gd name="T52" fmla="*/ 15 w 16"/>
                <a:gd name="T53" fmla="*/ 6 h 36"/>
                <a:gd name="T54" fmla="*/ 15 w 16"/>
                <a:gd name="T55" fmla="*/ 15 h 36"/>
                <a:gd name="T56" fmla="*/ 14 w 16"/>
                <a:gd name="T57" fmla="*/ 17 h 36"/>
                <a:gd name="T58" fmla="*/ 13 w 16"/>
                <a:gd name="T59" fmla="*/ 17 h 36"/>
                <a:gd name="T60" fmla="*/ 12 w 16"/>
                <a:gd name="T61" fmla="*/ 17 h 36"/>
                <a:gd name="T62" fmla="*/ 12 w 16"/>
                <a:gd name="T63" fmla="*/ 19 h 36"/>
                <a:gd name="T64" fmla="*/ 12 w 16"/>
                <a:gd name="T65" fmla="*/ 34 h 36"/>
                <a:gd name="T66" fmla="*/ 11 w 16"/>
                <a:gd name="T67" fmla="*/ 35 h 36"/>
                <a:gd name="T68" fmla="*/ 9 w 16"/>
                <a:gd name="T69" fmla="*/ 34 h 36"/>
                <a:gd name="T70" fmla="*/ 9 w 16"/>
                <a:gd name="T71" fmla="*/ 19 h 36"/>
                <a:gd name="T72" fmla="*/ 6 w 16"/>
                <a:gd name="T73" fmla="*/ 19 h 36"/>
                <a:gd name="T74" fmla="*/ 6 w 16"/>
                <a:gd name="T75" fmla="*/ 34 h 36"/>
                <a:gd name="T76" fmla="*/ 5 w 16"/>
                <a:gd name="T77" fmla="*/ 35 h 36"/>
                <a:gd name="T78" fmla="*/ 4 w 16"/>
                <a:gd name="T79" fmla="*/ 34 h 36"/>
                <a:gd name="T80" fmla="*/ 4 w 16"/>
                <a:gd name="T81" fmla="*/ 19 h 36"/>
                <a:gd name="T82" fmla="*/ 4 w 16"/>
                <a:gd name="T83" fmla="*/ 11 h 36"/>
                <a:gd name="T84" fmla="*/ 2 w 16"/>
                <a:gd name="T85" fmla="*/ 11 h 36"/>
                <a:gd name="T86" fmla="*/ 0 w 16"/>
                <a:gd name="T87" fmla="*/ 10 h 36"/>
                <a:gd name="T88" fmla="*/ 0 w 1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" h="3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4" y="36"/>
                    <a:pt x="5" y="36"/>
                  </a:cubicBezTo>
                  <a:cubicBezTo>
                    <a:pt x="6" y="36"/>
                    <a:pt x="7" y="35"/>
                    <a:pt x="7" y="34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10" y="36"/>
                    <a:pt x="11" y="36"/>
                  </a:cubicBezTo>
                  <a:cubicBezTo>
                    <a:pt x="12" y="36"/>
                    <a:pt x="13" y="35"/>
                    <a:pt x="13" y="34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6" y="16"/>
                    <a:pt x="16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1"/>
                    <a:pt x="5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5" y="3"/>
                    <a:pt x="15" y="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5"/>
                    <a:pt x="11" y="35"/>
                  </a:cubicBezTo>
                  <a:cubicBezTo>
                    <a:pt x="10" y="35"/>
                    <a:pt x="9" y="34"/>
                    <a:pt x="9" y="3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5"/>
                    <a:pt x="5" y="35"/>
                  </a:cubicBezTo>
                  <a:cubicBezTo>
                    <a:pt x="4" y="35"/>
                    <a:pt x="4" y="34"/>
                    <a:pt x="4" y="3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10"/>
                    <a:pt x="0" y="10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4" name="Rectangle 1740">
              <a:extLst>
                <a:ext uri="{FF2B5EF4-FFF2-40B4-BE49-F238E27FC236}">
                  <a16:creationId xmlns:a16="http://schemas.microsoft.com/office/drawing/2014/main" id="{F721890B-838D-4C11-BAE7-5CC662AA6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2" y="2290"/>
              <a:ext cx="3" cy="1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5" name="Freeform 1741">
              <a:extLst>
                <a:ext uri="{FF2B5EF4-FFF2-40B4-BE49-F238E27FC236}">
                  <a16:creationId xmlns:a16="http://schemas.microsoft.com/office/drawing/2014/main" id="{A4028CB0-6993-49DC-A1E1-589A8A4B1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" y="2290"/>
              <a:ext cx="3" cy="15"/>
            </a:xfrm>
            <a:custGeom>
              <a:avLst/>
              <a:gdLst>
                <a:gd name="T0" fmla="*/ 3 w 3"/>
                <a:gd name="T1" fmla="*/ 15 h 15"/>
                <a:gd name="T2" fmla="*/ 3 w 3"/>
                <a:gd name="T3" fmla="*/ 0 h 15"/>
                <a:gd name="T4" fmla="*/ 0 w 3"/>
                <a:gd name="T5" fmla="*/ 0 h 15"/>
                <a:gd name="T6" fmla="*/ 0 w 3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5">
                  <a:moveTo>
                    <a:pt x="3" y="15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6" name="Rectangle 1742">
              <a:extLst>
                <a:ext uri="{FF2B5EF4-FFF2-40B4-BE49-F238E27FC236}">
                  <a16:creationId xmlns:a16="http://schemas.microsoft.com/office/drawing/2014/main" id="{30BB9435-DE83-4BA5-959C-B561AF95C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5" y="2290"/>
              <a:ext cx="2" cy="2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7" name="Freeform 1743">
              <a:extLst>
                <a:ext uri="{FF2B5EF4-FFF2-40B4-BE49-F238E27FC236}">
                  <a16:creationId xmlns:a16="http://schemas.microsoft.com/office/drawing/2014/main" id="{086E7954-3B1B-49A0-8F93-5E45B794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0"/>
              <a:ext cx="2" cy="27"/>
            </a:xfrm>
            <a:custGeom>
              <a:avLst/>
              <a:gdLst>
                <a:gd name="T0" fmla="*/ 2 w 2"/>
                <a:gd name="T1" fmla="*/ 27 h 27"/>
                <a:gd name="T2" fmla="*/ 2 w 2"/>
                <a:gd name="T3" fmla="*/ 0 h 27"/>
                <a:gd name="T4" fmla="*/ 0 w 2"/>
                <a:gd name="T5" fmla="*/ 0 h 27"/>
                <a:gd name="T6" fmla="*/ 0 w 2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7">
                  <a:moveTo>
                    <a:pt x="2" y="27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8" name="Rectangle 1744">
              <a:extLst>
                <a:ext uri="{FF2B5EF4-FFF2-40B4-BE49-F238E27FC236}">
                  <a16:creationId xmlns:a16="http://schemas.microsoft.com/office/drawing/2014/main" id="{797CF1FE-814D-4F04-9C58-7F4C98131C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" y="2295"/>
              <a:ext cx="8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9" name="Freeform 1745">
              <a:extLst>
                <a:ext uri="{FF2B5EF4-FFF2-40B4-BE49-F238E27FC236}">
                  <a16:creationId xmlns:a16="http://schemas.microsoft.com/office/drawing/2014/main" id="{5033CBEA-86AA-4385-BB09-1BE42CB95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0" y="2292"/>
              <a:ext cx="10" cy="13"/>
            </a:xfrm>
            <a:custGeom>
              <a:avLst/>
              <a:gdLst>
                <a:gd name="T0" fmla="*/ 10 w 10"/>
                <a:gd name="T1" fmla="*/ 13 h 13"/>
                <a:gd name="T2" fmla="*/ 10 w 10"/>
                <a:gd name="T3" fmla="*/ 10 h 13"/>
                <a:gd name="T4" fmla="*/ 2 w 10"/>
                <a:gd name="T5" fmla="*/ 10 h 13"/>
                <a:gd name="T6" fmla="*/ 2 w 10"/>
                <a:gd name="T7" fmla="*/ 3 h 13"/>
                <a:gd name="T8" fmla="*/ 7 w 10"/>
                <a:gd name="T9" fmla="*/ 3 h 13"/>
                <a:gd name="T10" fmla="*/ 7 w 10"/>
                <a:gd name="T11" fmla="*/ 13 h 13"/>
                <a:gd name="T12" fmla="*/ 10 w 10"/>
                <a:gd name="T13" fmla="*/ 13 h 13"/>
                <a:gd name="T14" fmla="*/ 10 w 10"/>
                <a:gd name="T15" fmla="*/ 10 h 13"/>
                <a:gd name="T16" fmla="*/ 10 w 10"/>
                <a:gd name="T17" fmla="*/ 13 h 13"/>
                <a:gd name="T18" fmla="*/ 10 w 10"/>
                <a:gd name="T19" fmla="*/ 13 h 13"/>
                <a:gd name="T20" fmla="*/ 10 w 10"/>
                <a:gd name="T21" fmla="*/ 0 h 13"/>
                <a:gd name="T22" fmla="*/ 0 w 10"/>
                <a:gd name="T23" fmla="*/ 0 h 13"/>
                <a:gd name="T24" fmla="*/ 0 w 10"/>
                <a:gd name="T25" fmla="*/ 13 h 13"/>
                <a:gd name="T26" fmla="*/ 10 w 10"/>
                <a:gd name="T27" fmla="*/ 13 h 13"/>
                <a:gd name="T28" fmla="*/ 10 w 10"/>
                <a:gd name="T29" fmla="*/ 13 h 13"/>
                <a:gd name="T30" fmla="*/ 10 w 10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3">
                  <a:moveTo>
                    <a:pt x="10" y="13"/>
                  </a:moveTo>
                  <a:lnTo>
                    <a:pt x="10" y="10"/>
                  </a:lnTo>
                  <a:lnTo>
                    <a:pt x="2" y="10"/>
                  </a:lnTo>
                  <a:lnTo>
                    <a:pt x="2" y="3"/>
                  </a:lnTo>
                  <a:lnTo>
                    <a:pt x="7" y="3"/>
                  </a:lnTo>
                  <a:lnTo>
                    <a:pt x="7" y="13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0" name="Freeform 1746">
              <a:extLst>
                <a:ext uri="{FF2B5EF4-FFF2-40B4-BE49-F238E27FC236}">
                  <a16:creationId xmlns:a16="http://schemas.microsoft.com/office/drawing/2014/main" id="{FB5F7738-0920-425D-A83D-72F5AD4E5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2297"/>
              <a:ext cx="20" cy="13"/>
            </a:xfrm>
            <a:custGeom>
              <a:avLst/>
              <a:gdLst>
                <a:gd name="T0" fmla="*/ 0 w 8"/>
                <a:gd name="T1" fmla="*/ 2 h 5"/>
                <a:gd name="T2" fmla="*/ 6 w 8"/>
                <a:gd name="T3" fmla="*/ 5 h 5"/>
                <a:gd name="T4" fmla="*/ 8 w 8"/>
                <a:gd name="T5" fmla="*/ 4 h 5"/>
                <a:gd name="T6" fmla="*/ 7 w 8"/>
                <a:gd name="T7" fmla="*/ 2 h 5"/>
                <a:gd name="T8" fmla="*/ 2 w 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2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7" y="5"/>
                    <a:pt x="8" y="4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1" name="Freeform 1747">
              <a:extLst>
                <a:ext uri="{FF2B5EF4-FFF2-40B4-BE49-F238E27FC236}">
                  <a16:creationId xmlns:a16="http://schemas.microsoft.com/office/drawing/2014/main" id="{CDF8A553-1B46-4A0F-A4DA-23FE4F470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2295"/>
              <a:ext cx="20" cy="15"/>
            </a:xfrm>
            <a:custGeom>
              <a:avLst/>
              <a:gdLst>
                <a:gd name="T0" fmla="*/ 0 w 8"/>
                <a:gd name="T1" fmla="*/ 4 h 6"/>
                <a:gd name="T2" fmla="*/ 5 w 8"/>
                <a:gd name="T3" fmla="*/ 6 h 6"/>
                <a:gd name="T4" fmla="*/ 6 w 8"/>
                <a:gd name="T5" fmla="*/ 6 h 6"/>
                <a:gd name="T6" fmla="*/ 8 w 8"/>
                <a:gd name="T7" fmla="*/ 5 h 6"/>
                <a:gd name="T8" fmla="*/ 8 w 8"/>
                <a:gd name="T9" fmla="*/ 4 h 6"/>
                <a:gd name="T10" fmla="*/ 7 w 8"/>
                <a:gd name="T11" fmla="*/ 2 h 6"/>
                <a:gd name="T12" fmla="*/ 7 w 8"/>
                <a:gd name="T13" fmla="*/ 3 h 6"/>
                <a:gd name="T14" fmla="*/ 7 w 8"/>
                <a:gd name="T15" fmla="*/ 2 h 6"/>
                <a:gd name="T16" fmla="*/ 2 w 8"/>
                <a:gd name="T17" fmla="*/ 0 h 6"/>
                <a:gd name="T18" fmla="*/ 1 w 8"/>
                <a:gd name="T19" fmla="*/ 1 h 6"/>
                <a:gd name="T20" fmla="*/ 7 w 8"/>
                <a:gd name="T21" fmla="*/ 3 h 6"/>
                <a:gd name="T22" fmla="*/ 7 w 8"/>
                <a:gd name="T23" fmla="*/ 3 h 6"/>
                <a:gd name="T24" fmla="*/ 7 w 8"/>
                <a:gd name="T25" fmla="*/ 4 h 6"/>
                <a:gd name="T26" fmla="*/ 7 w 8"/>
                <a:gd name="T27" fmla="*/ 5 h 6"/>
                <a:gd name="T28" fmla="*/ 6 w 8"/>
                <a:gd name="T29" fmla="*/ 5 h 6"/>
                <a:gd name="T30" fmla="*/ 6 w 8"/>
                <a:gd name="T31" fmla="*/ 5 h 6"/>
                <a:gd name="T32" fmla="*/ 0 w 8"/>
                <a:gd name="T33" fmla="*/ 3 h 6"/>
                <a:gd name="T34" fmla="*/ 0 w 8"/>
                <a:gd name="T3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8" y="6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8" y="4"/>
                    <a:pt x="8" y="3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2" name="Oval 1748">
              <a:extLst>
                <a:ext uri="{FF2B5EF4-FFF2-40B4-BE49-F238E27FC236}">
                  <a16:creationId xmlns:a16="http://schemas.microsoft.com/office/drawing/2014/main" id="{AA6FFF01-F42A-4462-9D87-F8E158743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3" y="2249"/>
              <a:ext cx="17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3" name="Freeform 1749">
              <a:extLst>
                <a:ext uri="{FF2B5EF4-FFF2-40B4-BE49-F238E27FC236}">
                  <a16:creationId xmlns:a16="http://schemas.microsoft.com/office/drawing/2014/main" id="{0779B799-0D56-44A9-9F67-BDC026389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249"/>
              <a:ext cx="23" cy="20"/>
            </a:xfrm>
            <a:custGeom>
              <a:avLst/>
              <a:gdLst>
                <a:gd name="T0" fmla="*/ 8 w 9"/>
                <a:gd name="T1" fmla="*/ 4 h 8"/>
                <a:gd name="T2" fmla="*/ 8 w 9"/>
                <a:gd name="T3" fmla="*/ 4 h 8"/>
                <a:gd name="T4" fmla="*/ 4 w 9"/>
                <a:gd name="T5" fmla="*/ 7 h 8"/>
                <a:gd name="T6" fmla="*/ 1 w 9"/>
                <a:gd name="T7" fmla="*/ 4 h 8"/>
                <a:gd name="T8" fmla="*/ 4 w 9"/>
                <a:gd name="T9" fmla="*/ 1 h 8"/>
                <a:gd name="T10" fmla="*/ 8 w 9"/>
                <a:gd name="T11" fmla="*/ 4 h 8"/>
                <a:gd name="T12" fmla="*/ 8 w 9"/>
                <a:gd name="T13" fmla="*/ 4 h 8"/>
                <a:gd name="T14" fmla="*/ 9 w 9"/>
                <a:gd name="T15" fmla="*/ 4 h 8"/>
                <a:gd name="T16" fmla="*/ 4 w 9"/>
                <a:gd name="T17" fmla="*/ 0 h 8"/>
                <a:gd name="T18" fmla="*/ 0 w 9"/>
                <a:gd name="T19" fmla="*/ 4 h 8"/>
                <a:gd name="T20" fmla="*/ 4 w 9"/>
                <a:gd name="T21" fmla="*/ 8 h 8"/>
                <a:gd name="T22" fmla="*/ 9 w 9"/>
                <a:gd name="T23" fmla="*/ 4 h 8"/>
                <a:gd name="T24" fmla="*/ 8 w 9"/>
                <a:gd name="T2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8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7"/>
                    <a:pt x="4" y="7"/>
                  </a:cubicBezTo>
                  <a:cubicBezTo>
                    <a:pt x="2" y="7"/>
                    <a:pt x="1" y="6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6" y="1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" y="8"/>
                    <a:pt x="9" y="6"/>
                    <a:pt x="9" y="4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4" name="Freeform 1750">
              <a:extLst>
                <a:ext uri="{FF2B5EF4-FFF2-40B4-BE49-F238E27FC236}">
                  <a16:creationId xmlns:a16="http://schemas.microsoft.com/office/drawing/2014/main" id="{ED1A4988-E62C-4478-8D4B-953789436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272"/>
              <a:ext cx="40" cy="88"/>
            </a:xfrm>
            <a:custGeom>
              <a:avLst/>
              <a:gdLst>
                <a:gd name="T0" fmla="*/ 0 w 16"/>
                <a:gd name="T1" fmla="*/ 6 h 35"/>
                <a:gd name="T2" fmla="*/ 0 w 16"/>
                <a:gd name="T3" fmla="*/ 15 h 35"/>
                <a:gd name="T4" fmla="*/ 2 w 16"/>
                <a:gd name="T5" fmla="*/ 17 h 35"/>
                <a:gd name="T6" fmla="*/ 4 w 16"/>
                <a:gd name="T7" fmla="*/ 17 h 35"/>
                <a:gd name="T8" fmla="*/ 4 w 16"/>
                <a:gd name="T9" fmla="*/ 19 h 35"/>
                <a:gd name="T10" fmla="*/ 4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9 h 35"/>
                <a:gd name="T18" fmla="*/ 9 w 16"/>
                <a:gd name="T19" fmla="*/ 19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9 h 35"/>
                <a:gd name="T28" fmla="*/ 13 w 16"/>
                <a:gd name="T29" fmla="*/ 17 h 35"/>
                <a:gd name="T30" fmla="*/ 14 w 16"/>
                <a:gd name="T31" fmla="*/ 17 h 35"/>
                <a:gd name="T32" fmla="*/ 16 w 16"/>
                <a:gd name="T33" fmla="*/ 15 h 35"/>
                <a:gd name="T34" fmla="*/ 16 w 16"/>
                <a:gd name="T35" fmla="*/ 6 h 35"/>
                <a:gd name="T36" fmla="*/ 11 w 16"/>
                <a:gd name="T37" fmla="*/ 0 h 35"/>
                <a:gd name="T38" fmla="*/ 6 w 16"/>
                <a:gd name="T39" fmla="*/ 0 h 35"/>
                <a:gd name="T40" fmla="*/ 0 w 16"/>
                <a:gd name="T41" fmla="*/ 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6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6" y="16"/>
                    <a:pt x="16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5" name="Freeform 1751">
              <a:extLst>
                <a:ext uri="{FF2B5EF4-FFF2-40B4-BE49-F238E27FC236}">
                  <a16:creationId xmlns:a16="http://schemas.microsoft.com/office/drawing/2014/main" id="{82DB4B8B-0281-4BB4-B6B1-3FE504289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272"/>
              <a:ext cx="43" cy="91"/>
            </a:xfrm>
            <a:custGeom>
              <a:avLst/>
              <a:gdLst>
                <a:gd name="T0" fmla="*/ 0 w 17"/>
                <a:gd name="T1" fmla="*/ 6 h 36"/>
                <a:gd name="T2" fmla="*/ 0 w 17"/>
                <a:gd name="T3" fmla="*/ 6 h 36"/>
                <a:gd name="T4" fmla="*/ 0 w 17"/>
                <a:gd name="T5" fmla="*/ 15 h 36"/>
                <a:gd name="T6" fmla="*/ 2 w 17"/>
                <a:gd name="T7" fmla="*/ 17 h 36"/>
                <a:gd name="T8" fmla="*/ 3 w 17"/>
                <a:gd name="T9" fmla="*/ 17 h 36"/>
                <a:gd name="T10" fmla="*/ 3 w 17"/>
                <a:gd name="T11" fmla="*/ 19 h 36"/>
                <a:gd name="T12" fmla="*/ 3 w 17"/>
                <a:gd name="T13" fmla="*/ 33 h 36"/>
                <a:gd name="T14" fmla="*/ 5 w 17"/>
                <a:gd name="T15" fmla="*/ 36 h 36"/>
                <a:gd name="T16" fmla="*/ 8 w 17"/>
                <a:gd name="T17" fmla="*/ 33 h 36"/>
                <a:gd name="T18" fmla="*/ 8 w 17"/>
                <a:gd name="T19" fmla="*/ 19 h 36"/>
                <a:gd name="T20" fmla="*/ 9 w 17"/>
                <a:gd name="T21" fmla="*/ 19 h 36"/>
                <a:gd name="T22" fmla="*/ 9 w 17"/>
                <a:gd name="T23" fmla="*/ 33 h 36"/>
                <a:gd name="T24" fmla="*/ 11 w 17"/>
                <a:gd name="T25" fmla="*/ 36 h 36"/>
                <a:gd name="T26" fmla="*/ 14 w 17"/>
                <a:gd name="T27" fmla="*/ 33 h 36"/>
                <a:gd name="T28" fmla="*/ 14 w 17"/>
                <a:gd name="T29" fmla="*/ 19 h 36"/>
                <a:gd name="T30" fmla="*/ 14 w 17"/>
                <a:gd name="T31" fmla="*/ 17 h 36"/>
                <a:gd name="T32" fmla="*/ 14 w 17"/>
                <a:gd name="T33" fmla="*/ 17 h 36"/>
                <a:gd name="T34" fmla="*/ 17 w 17"/>
                <a:gd name="T35" fmla="*/ 15 h 36"/>
                <a:gd name="T36" fmla="*/ 17 w 17"/>
                <a:gd name="T37" fmla="*/ 6 h 36"/>
                <a:gd name="T38" fmla="*/ 11 w 17"/>
                <a:gd name="T39" fmla="*/ 0 h 36"/>
                <a:gd name="T40" fmla="*/ 6 w 17"/>
                <a:gd name="T41" fmla="*/ 0 h 36"/>
                <a:gd name="T42" fmla="*/ 0 w 17"/>
                <a:gd name="T43" fmla="*/ 6 h 36"/>
                <a:gd name="T44" fmla="*/ 0 w 17"/>
                <a:gd name="T45" fmla="*/ 6 h 36"/>
                <a:gd name="T46" fmla="*/ 1 w 17"/>
                <a:gd name="T47" fmla="*/ 6 h 36"/>
                <a:gd name="T48" fmla="*/ 6 w 17"/>
                <a:gd name="T49" fmla="*/ 1 h 36"/>
                <a:gd name="T50" fmla="*/ 11 w 17"/>
                <a:gd name="T51" fmla="*/ 1 h 36"/>
                <a:gd name="T52" fmla="*/ 16 w 17"/>
                <a:gd name="T53" fmla="*/ 6 h 36"/>
                <a:gd name="T54" fmla="*/ 16 w 17"/>
                <a:gd name="T55" fmla="*/ 15 h 36"/>
                <a:gd name="T56" fmla="*/ 14 w 17"/>
                <a:gd name="T57" fmla="*/ 16 h 36"/>
                <a:gd name="T58" fmla="*/ 13 w 17"/>
                <a:gd name="T59" fmla="*/ 16 h 36"/>
                <a:gd name="T60" fmla="*/ 13 w 17"/>
                <a:gd name="T61" fmla="*/ 16 h 36"/>
                <a:gd name="T62" fmla="*/ 13 w 17"/>
                <a:gd name="T63" fmla="*/ 19 h 36"/>
                <a:gd name="T64" fmla="*/ 13 w 17"/>
                <a:gd name="T65" fmla="*/ 33 h 36"/>
                <a:gd name="T66" fmla="*/ 11 w 17"/>
                <a:gd name="T67" fmla="*/ 35 h 36"/>
                <a:gd name="T68" fmla="*/ 10 w 17"/>
                <a:gd name="T69" fmla="*/ 33 h 36"/>
                <a:gd name="T70" fmla="*/ 10 w 17"/>
                <a:gd name="T71" fmla="*/ 18 h 36"/>
                <a:gd name="T72" fmla="*/ 7 w 17"/>
                <a:gd name="T73" fmla="*/ 18 h 36"/>
                <a:gd name="T74" fmla="*/ 7 w 17"/>
                <a:gd name="T75" fmla="*/ 33 h 36"/>
                <a:gd name="T76" fmla="*/ 5 w 17"/>
                <a:gd name="T77" fmla="*/ 35 h 36"/>
                <a:gd name="T78" fmla="*/ 4 w 17"/>
                <a:gd name="T79" fmla="*/ 33 h 36"/>
                <a:gd name="T80" fmla="*/ 4 w 17"/>
                <a:gd name="T81" fmla="*/ 19 h 36"/>
                <a:gd name="T82" fmla="*/ 4 w 17"/>
                <a:gd name="T83" fmla="*/ 16 h 36"/>
                <a:gd name="T84" fmla="*/ 2 w 17"/>
                <a:gd name="T85" fmla="*/ 16 h 36"/>
                <a:gd name="T86" fmla="*/ 1 w 17"/>
                <a:gd name="T87" fmla="*/ 15 h 36"/>
                <a:gd name="T88" fmla="*/ 1 w 17"/>
                <a:gd name="T89" fmla="*/ 6 h 36"/>
                <a:gd name="T90" fmla="*/ 0 w 17"/>
                <a:gd name="T91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" h="3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5"/>
                    <a:pt x="4" y="36"/>
                    <a:pt x="5" y="36"/>
                  </a:cubicBezTo>
                  <a:cubicBezTo>
                    <a:pt x="7" y="36"/>
                    <a:pt x="8" y="35"/>
                    <a:pt x="8" y="3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5"/>
                    <a:pt x="10" y="36"/>
                    <a:pt x="11" y="36"/>
                  </a:cubicBezTo>
                  <a:cubicBezTo>
                    <a:pt x="13" y="36"/>
                    <a:pt x="14" y="35"/>
                    <a:pt x="14" y="33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7"/>
                    <a:pt x="17" y="16"/>
                    <a:pt x="17" y="1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2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4" y="1"/>
                    <a:pt x="16" y="3"/>
                    <a:pt x="16" y="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5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4"/>
                    <a:pt x="12" y="35"/>
                    <a:pt x="11" y="35"/>
                  </a:cubicBezTo>
                  <a:cubicBezTo>
                    <a:pt x="10" y="35"/>
                    <a:pt x="10" y="34"/>
                    <a:pt x="10" y="33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4"/>
                    <a:pt x="6" y="35"/>
                    <a:pt x="5" y="35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1" y="16"/>
                    <a:pt x="1" y="15"/>
                  </a:cubicBezTo>
                  <a:cubicBezTo>
                    <a:pt x="1" y="6"/>
                    <a:pt x="1" y="6"/>
                    <a:pt x="1" y="6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6" name="Rectangle 1752">
              <a:extLst>
                <a:ext uri="{FF2B5EF4-FFF2-40B4-BE49-F238E27FC236}">
                  <a16:creationId xmlns:a16="http://schemas.microsoft.com/office/drawing/2014/main" id="{9CAC36FD-8EAD-49C7-8086-CB6A62866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7" y="2287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7" name="Freeform 1753">
              <a:extLst>
                <a:ext uri="{FF2B5EF4-FFF2-40B4-BE49-F238E27FC236}">
                  <a16:creationId xmlns:a16="http://schemas.microsoft.com/office/drawing/2014/main" id="{A4494A38-E6D7-4D5C-B828-1B988152F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287"/>
              <a:ext cx="3" cy="28"/>
            </a:xfrm>
            <a:custGeom>
              <a:avLst/>
              <a:gdLst>
                <a:gd name="T0" fmla="*/ 3 w 3"/>
                <a:gd name="T1" fmla="*/ 28 h 28"/>
                <a:gd name="T2" fmla="*/ 3 w 3"/>
                <a:gd name="T3" fmla="*/ 0 h 28"/>
                <a:gd name="T4" fmla="*/ 0 w 3"/>
                <a:gd name="T5" fmla="*/ 0 h 28"/>
                <a:gd name="T6" fmla="*/ 0 w 3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3" y="28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8" name="Rectangle 1754">
              <a:extLst>
                <a:ext uri="{FF2B5EF4-FFF2-40B4-BE49-F238E27FC236}">
                  <a16:creationId xmlns:a16="http://schemas.microsoft.com/office/drawing/2014/main" id="{22CDE11C-1486-4554-B9CB-3C6622ED4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3" y="2287"/>
              <a:ext cx="2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9" name="Freeform 1755">
              <a:extLst>
                <a:ext uri="{FF2B5EF4-FFF2-40B4-BE49-F238E27FC236}">
                  <a16:creationId xmlns:a16="http://schemas.microsoft.com/office/drawing/2014/main" id="{DAC10BF4-F3D9-49A2-90FB-9B13BE2C1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2287"/>
              <a:ext cx="2" cy="28"/>
            </a:xfrm>
            <a:custGeom>
              <a:avLst/>
              <a:gdLst>
                <a:gd name="T0" fmla="*/ 2 w 2"/>
                <a:gd name="T1" fmla="*/ 28 h 28"/>
                <a:gd name="T2" fmla="*/ 2 w 2"/>
                <a:gd name="T3" fmla="*/ 0 h 28"/>
                <a:gd name="T4" fmla="*/ 0 w 2"/>
                <a:gd name="T5" fmla="*/ 0 h 28"/>
                <a:gd name="T6" fmla="*/ 0 w 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8">
                  <a:moveTo>
                    <a:pt x="2" y="2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0" name="Freeform 1756">
              <a:extLst>
                <a:ext uri="{FF2B5EF4-FFF2-40B4-BE49-F238E27FC236}">
                  <a16:creationId xmlns:a16="http://schemas.microsoft.com/office/drawing/2014/main" id="{6DF4D00A-8088-436A-A399-BF9B4A5A1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" y="2262"/>
              <a:ext cx="11" cy="7"/>
            </a:xfrm>
            <a:custGeom>
              <a:avLst/>
              <a:gdLst>
                <a:gd name="T0" fmla="*/ 1 w 4"/>
                <a:gd name="T1" fmla="*/ 0 h 3"/>
                <a:gd name="T2" fmla="*/ 0 w 4"/>
                <a:gd name="T3" fmla="*/ 3 h 3"/>
                <a:gd name="T4" fmla="*/ 4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3"/>
                    <a:pt x="3" y="3"/>
                    <a:pt x="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1" name="Freeform 1757">
              <a:extLst>
                <a:ext uri="{FF2B5EF4-FFF2-40B4-BE49-F238E27FC236}">
                  <a16:creationId xmlns:a16="http://schemas.microsoft.com/office/drawing/2014/main" id="{BBDEAF71-7F5A-4754-A760-57417596C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262"/>
              <a:ext cx="13" cy="10"/>
            </a:xfrm>
            <a:custGeom>
              <a:avLst/>
              <a:gdLst>
                <a:gd name="T0" fmla="*/ 1 w 5"/>
                <a:gd name="T1" fmla="*/ 0 h 4"/>
                <a:gd name="T2" fmla="*/ 0 w 5"/>
                <a:gd name="T3" fmla="*/ 2 h 4"/>
                <a:gd name="T4" fmla="*/ 0 w 5"/>
                <a:gd name="T5" fmla="*/ 3 h 4"/>
                <a:gd name="T6" fmla="*/ 0 w 5"/>
                <a:gd name="T7" fmla="*/ 3 h 4"/>
                <a:gd name="T8" fmla="*/ 3 w 5"/>
                <a:gd name="T9" fmla="*/ 4 h 4"/>
                <a:gd name="T10" fmla="*/ 5 w 5"/>
                <a:gd name="T11" fmla="*/ 4 h 4"/>
                <a:gd name="T12" fmla="*/ 5 w 5"/>
                <a:gd name="T13" fmla="*/ 3 h 4"/>
                <a:gd name="T14" fmla="*/ 3 w 5"/>
                <a:gd name="T15" fmla="*/ 3 h 4"/>
                <a:gd name="T16" fmla="*/ 1 w 5"/>
                <a:gd name="T17" fmla="*/ 2 h 4"/>
                <a:gd name="T18" fmla="*/ 1 w 5"/>
                <a:gd name="T19" fmla="*/ 3 h 4"/>
                <a:gd name="T20" fmla="*/ 1 w 5"/>
                <a:gd name="T21" fmla="*/ 3 h 4"/>
                <a:gd name="T22" fmla="*/ 2 w 5"/>
                <a:gd name="T23" fmla="*/ 0 h 4"/>
                <a:gd name="T24" fmla="*/ 1 w 5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4">
                  <a:moveTo>
                    <a:pt x="1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3"/>
                    <a:pt x="3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3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2" name="Freeform 1758">
              <a:extLst>
                <a:ext uri="{FF2B5EF4-FFF2-40B4-BE49-F238E27FC236}">
                  <a16:creationId xmlns:a16="http://schemas.microsoft.com/office/drawing/2014/main" id="{8CD7675F-7360-4FCB-A450-AC33B6ADB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" y="2262"/>
              <a:ext cx="10" cy="7"/>
            </a:xfrm>
            <a:custGeom>
              <a:avLst/>
              <a:gdLst>
                <a:gd name="T0" fmla="*/ 3 w 4"/>
                <a:gd name="T1" fmla="*/ 0 h 3"/>
                <a:gd name="T2" fmla="*/ 4 w 4"/>
                <a:gd name="T3" fmla="*/ 3 h 3"/>
                <a:gd name="T4" fmla="*/ 0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1"/>
                    <a:pt x="3" y="2"/>
                    <a:pt x="4" y="3"/>
                  </a:cubicBezTo>
                  <a:cubicBezTo>
                    <a:pt x="3" y="3"/>
                    <a:pt x="1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3" name="Freeform 1759">
              <a:extLst>
                <a:ext uri="{FF2B5EF4-FFF2-40B4-BE49-F238E27FC236}">
                  <a16:creationId xmlns:a16="http://schemas.microsoft.com/office/drawing/2014/main" id="{43F76285-884B-4B9C-BF93-D66E544A7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" y="2262"/>
              <a:ext cx="10" cy="10"/>
            </a:xfrm>
            <a:custGeom>
              <a:avLst/>
              <a:gdLst>
                <a:gd name="T0" fmla="*/ 2 w 4"/>
                <a:gd name="T1" fmla="*/ 0 h 4"/>
                <a:gd name="T2" fmla="*/ 3 w 4"/>
                <a:gd name="T3" fmla="*/ 3 h 4"/>
                <a:gd name="T4" fmla="*/ 4 w 4"/>
                <a:gd name="T5" fmla="*/ 3 h 4"/>
                <a:gd name="T6" fmla="*/ 3 w 4"/>
                <a:gd name="T7" fmla="*/ 2 h 4"/>
                <a:gd name="T8" fmla="*/ 2 w 4"/>
                <a:gd name="T9" fmla="*/ 3 h 4"/>
                <a:gd name="T10" fmla="*/ 0 w 4"/>
                <a:gd name="T11" fmla="*/ 3 h 4"/>
                <a:gd name="T12" fmla="*/ 0 w 4"/>
                <a:gd name="T13" fmla="*/ 4 h 4"/>
                <a:gd name="T14" fmla="*/ 2 w 4"/>
                <a:gd name="T15" fmla="*/ 4 h 4"/>
                <a:gd name="T16" fmla="*/ 4 w 4"/>
                <a:gd name="T17" fmla="*/ 3 h 4"/>
                <a:gd name="T18" fmla="*/ 4 w 4"/>
                <a:gd name="T19" fmla="*/ 3 h 4"/>
                <a:gd name="T20" fmla="*/ 4 w 4"/>
                <a:gd name="T21" fmla="*/ 2 h 4"/>
                <a:gd name="T22" fmla="*/ 3 w 4"/>
                <a:gd name="T23" fmla="*/ 0 h 4"/>
                <a:gd name="T24" fmla="*/ 2 w 4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2" y="1"/>
                    <a:pt x="3" y="2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4" name="Oval 1760">
              <a:extLst>
                <a:ext uri="{FF2B5EF4-FFF2-40B4-BE49-F238E27FC236}">
                  <a16:creationId xmlns:a16="http://schemas.microsoft.com/office/drawing/2014/main" id="{75870132-63FA-4156-BDFD-42DB8B2F99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3" y="2252"/>
              <a:ext cx="18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5" name="Freeform 1761">
              <a:extLst>
                <a:ext uri="{FF2B5EF4-FFF2-40B4-BE49-F238E27FC236}">
                  <a16:creationId xmlns:a16="http://schemas.microsoft.com/office/drawing/2014/main" id="{A80F86BA-BAC3-4AB8-A2E2-592C97466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" y="2252"/>
              <a:ext cx="21" cy="20"/>
            </a:xfrm>
            <a:custGeom>
              <a:avLst/>
              <a:gdLst>
                <a:gd name="T0" fmla="*/ 8 w 8"/>
                <a:gd name="T1" fmla="*/ 4 h 8"/>
                <a:gd name="T2" fmla="*/ 7 w 8"/>
                <a:gd name="T3" fmla="*/ 4 h 8"/>
                <a:gd name="T4" fmla="*/ 4 w 8"/>
                <a:gd name="T5" fmla="*/ 7 h 8"/>
                <a:gd name="T6" fmla="*/ 1 w 8"/>
                <a:gd name="T7" fmla="*/ 4 h 8"/>
                <a:gd name="T8" fmla="*/ 4 w 8"/>
                <a:gd name="T9" fmla="*/ 1 h 8"/>
                <a:gd name="T10" fmla="*/ 7 w 8"/>
                <a:gd name="T11" fmla="*/ 4 h 8"/>
                <a:gd name="T12" fmla="*/ 8 w 8"/>
                <a:gd name="T13" fmla="*/ 4 h 8"/>
                <a:gd name="T14" fmla="*/ 8 w 8"/>
                <a:gd name="T15" fmla="*/ 4 h 8"/>
                <a:gd name="T16" fmla="*/ 4 w 8"/>
                <a:gd name="T17" fmla="*/ 0 h 8"/>
                <a:gd name="T18" fmla="*/ 0 w 8"/>
                <a:gd name="T19" fmla="*/ 4 h 8"/>
                <a:gd name="T20" fmla="*/ 4 w 8"/>
                <a:gd name="T21" fmla="*/ 8 h 8"/>
                <a:gd name="T22" fmla="*/ 8 w 8"/>
                <a:gd name="T2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6" y="7"/>
                    <a:pt x="4" y="7"/>
                  </a:cubicBezTo>
                  <a:cubicBezTo>
                    <a:pt x="3" y="7"/>
                    <a:pt x="1" y="6"/>
                    <a:pt x="1" y="4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6" y="1"/>
                    <a:pt x="7" y="2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" y="8"/>
                    <a:pt x="8" y="6"/>
                    <a:pt x="8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6" name="Freeform 1762">
              <a:extLst>
                <a:ext uri="{FF2B5EF4-FFF2-40B4-BE49-F238E27FC236}">
                  <a16:creationId xmlns:a16="http://schemas.microsoft.com/office/drawing/2014/main" id="{BE523AB7-66C7-4639-ADC9-8183D9BCF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" y="2274"/>
              <a:ext cx="38" cy="86"/>
            </a:xfrm>
            <a:custGeom>
              <a:avLst/>
              <a:gdLst>
                <a:gd name="T0" fmla="*/ 0 w 15"/>
                <a:gd name="T1" fmla="*/ 5 h 34"/>
                <a:gd name="T2" fmla="*/ 0 w 15"/>
                <a:gd name="T3" fmla="*/ 11 h 34"/>
                <a:gd name="T4" fmla="*/ 2 w 15"/>
                <a:gd name="T5" fmla="*/ 13 h 34"/>
                <a:gd name="T6" fmla="*/ 3 w 15"/>
                <a:gd name="T7" fmla="*/ 13 h 34"/>
                <a:gd name="T8" fmla="*/ 1 w 15"/>
                <a:gd name="T9" fmla="*/ 20 h 34"/>
                <a:gd name="T10" fmla="*/ 3 w 15"/>
                <a:gd name="T11" fmla="*/ 20 h 34"/>
                <a:gd name="T12" fmla="*/ 3 w 15"/>
                <a:gd name="T13" fmla="*/ 33 h 34"/>
                <a:gd name="T14" fmla="*/ 5 w 15"/>
                <a:gd name="T15" fmla="*/ 34 h 34"/>
                <a:gd name="T16" fmla="*/ 7 w 15"/>
                <a:gd name="T17" fmla="*/ 33 h 34"/>
                <a:gd name="T18" fmla="*/ 7 w 15"/>
                <a:gd name="T19" fmla="*/ 20 h 34"/>
                <a:gd name="T20" fmla="*/ 8 w 15"/>
                <a:gd name="T21" fmla="*/ 20 h 34"/>
                <a:gd name="T22" fmla="*/ 8 w 15"/>
                <a:gd name="T23" fmla="*/ 33 h 34"/>
                <a:gd name="T24" fmla="*/ 10 w 15"/>
                <a:gd name="T25" fmla="*/ 34 h 34"/>
                <a:gd name="T26" fmla="*/ 12 w 15"/>
                <a:gd name="T27" fmla="*/ 33 h 34"/>
                <a:gd name="T28" fmla="*/ 12 w 15"/>
                <a:gd name="T29" fmla="*/ 20 h 34"/>
                <a:gd name="T30" fmla="*/ 13 w 15"/>
                <a:gd name="T31" fmla="*/ 20 h 34"/>
                <a:gd name="T32" fmla="*/ 12 w 15"/>
                <a:gd name="T33" fmla="*/ 13 h 34"/>
                <a:gd name="T34" fmla="*/ 13 w 15"/>
                <a:gd name="T35" fmla="*/ 13 h 34"/>
                <a:gd name="T36" fmla="*/ 15 w 15"/>
                <a:gd name="T37" fmla="*/ 11 h 34"/>
                <a:gd name="T38" fmla="*/ 15 w 15"/>
                <a:gd name="T39" fmla="*/ 5 h 34"/>
                <a:gd name="T40" fmla="*/ 10 w 15"/>
                <a:gd name="T41" fmla="*/ 0 h 34"/>
                <a:gd name="T42" fmla="*/ 5 w 15"/>
                <a:gd name="T43" fmla="*/ 0 h 34"/>
                <a:gd name="T44" fmla="*/ 0 w 15"/>
                <a:gd name="T45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34">
                  <a:moveTo>
                    <a:pt x="0" y="5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4" y="34"/>
                    <a:pt x="5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9" y="34"/>
                    <a:pt x="10" y="34"/>
                  </a:cubicBezTo>
                  <a:cubicBezTo>
                    <a:pt x="11" y="34"/>
                    <a:pt x="12" y="33"/>
                    <a:pt x="12" y="33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5" y="12"/>
                    <a:pt x="15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3" y="0"/>
                    <a:pt x="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7" name="Freeform 1763">
              <a:extLst>
                <a:ext uri="{FF2B5EF4-FFF2-40B4-BE49-F238E27FC236}">
                  <a16:creationId xmlns:a16="http://schemas.microsoft.com/office/drawing/2014/main" id="{8C6E1166-4DCD-4946-9D56-4959124A1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272"/>
              <a:ext cx="41" cy="91"/>
            </a:xfrm>
            <a:custGeom>
              <a:avLst/>
              <a:gdLst>
                <a:gd name="T0" fmla="*/ 1 w 16"/>
                <a:gd name="T1" fmla="*/ 6 h 36"/>
                <a:gd name="T2" fmla="*/ 0 w 16"/>
                <a:gd name="T3" fmla="*/ 6 h 36"/>
                <a:gd name="T4" fmla="*/ 0 w 16"/>
                <a:gd name="T5" fmla="*/ 12 h 36"/>
                <a:gd name="T6" fmla="*/ 3 w 16"/>
                <a:gd name="T7" fmla="*/ 14 h 36"/>
                <a:gd name="T8" fmla="*/ 3 w 16"/>
                <a:gd name="T9" fmla="*/ 14 h 36"/>
                <a:gd name="T10" fmla="*/ 2 w 16"/>
                <a:gd name="T11" fmla="*/ 22 h 36"/>
                <a:gd name="T12" fmla="*/ 4 w 16"/>
                <a:gd name="T13" fmla="*/ 22 h 36"/>
                <a:gd name="T14" fmla="*/ 4 w 16"/>
                <a:gd name="T15" fmla="*/ 34 h 36"/>
                <a:gd name="T16" fmla="*/ 6 w 16"/>
                <a:gd name="T17" fmla="*/ 36 h 36"/>
                <a:gd name="T18" fmla="*/ 8 w 16"/>
                <a:gd name="T19" fmla="*/ 34 h 36"/>
                <a:gd name="T20" fmla="*/ 8 w 16"/>
                <a:gd name="T21" fmla="*/ 22 h 36"/>
                <a:gd name="T22" fmla="*/ 9 w 16"/>
                <a:gd name="T23" fmla="*/ 22 h 36"/>
                <a:gd name="T24" fmla="*/ 9 w 16"/>
                <a:gd name="T25" fmla="*/ 34 h 36"/>
                <a:gd name="T26" fmla="*/ 11 w 16"/>
                <a:gd name="T27" fmla="*/ 36 h 36"/>
                <a:gd name="T28" fmla="*/ 13 w 16"/>
                <a:gd name="T29" fmla="*/ 34 h 36"/>
                <a:gd name="T30" fmla="*/ 13 w 16"/>
                <a:gd name="T31" fmla="*/ 22 h 36"/>
                <a:gd name="T32" fmla="*/ 14 w 16"/>
                <a:gd name="T33" fmla="*/ 22 h 36"/>
                <a:gd name="T34" fmla="*/ 15 w 16"/>
                <a:gd name="T35" fmla="*/ 22 h 36"/>
                <a:gd name="T36" fmla="*/ 13 w 16"/>
                <a:gd name="T37" fmla="*/ 14 h 36"/>
                <a:gd name="T38" fmla="*/ 14 w 16"/>
                <a:gd name="T39" fmla="*/ 14 h 36"/>
                <a:gd name="T40" fmla="*/ 16 w 16"/>
                <a:gd name="T41" fmla="*/ 12 h 36"/>
                <a:gd name="T42" fmla="*/ 16 w 16"/>
                <a:gd name="T43" fmla="*/ 6 h 36"/>
                <a:gd name="T44" fmla="*/ 11 w 16"/>
                <a:gd name="T45" fmla="*/ 0 h 36"/>
                <a:gd name="T46" fmla="*/ 6 w 16"/>
                <a:gd name="T47" fmla="*/ 0 h 36"/>
                <a:gd name="T48" fmla="*/ 0 w 16"/>
                <a:gd name="T49" fmla="*/ 6 h 36"/>
                <a:gd name="T50" fmla="*/ 1 w 16"/>
                <a:gd name="T51" fmla="*/ 6 h 36"/>
                <a:gd name="T52" fmla="*/ 1 w 16"/>
                <a:gd name="T53" fmla="*/ 6 h 36"/>
                <a:gd name="T54" fmla="*/ 6 w 16"/>
                <a:gd name="T55" fmla="*/ 1 h 36"/>
                <a:gd name="T56" fmla="*/ 11 w 16"/>
                <a:gd name="T57" fmla="*/ 1 h 36"/>
                <a:gd name="T58" fmla="*/ 15 w 16"/>
                <a:gd name="T59" fmla="*/ 6 h 36"/>
                <a:gd name="T60" fmla="*/ 15 w 16"/>
                <a:gd name="T61" fmla="*/ 12 h 36"/>
                <a:gd name="T62" fmla="*/ 14 w 16"/>
                <a:gd name="T63" fmla="*/ 14 h 36"/>
                <a:gd name="T64" fmla="*/ 13 w 16"/>
                <a:gd name="T65" fmla="*/ 14 h 36"/>
                <a:gd name="T66" fmla="*/ 12 w 16"/>
                <a:gd name="T67" fmla="*/ 14 h 36"/>
                <a:gd name="T68" fmla="*/ 13 w 16"/>
                <a:gd name="T69" fmla="*/ 21 h 36"/>
                <a:gd name="T70" fmla="*/ 13 w 16"/>
                <a:gd name="T71" fmla="*/ 21 h 36"/>
                <a:gd name="T72" fmla="*/ 12 w 16"/>
                <a:gd name="T73" fmla="*/ 21 h 36"/>
                <a:gd name="T74" fmla="*/ 12 w 16"/>
                <a:gd name="T75" fmla="*/ 34 h 36"/>
                <a:gd name="T76" fmla="*/ 11 w 16"/>
                <a:gd name="T77" fmla="*/ 35 h 36"/>
                <a:gd name="T78" fmla="*/ 10 w 16"/>
                <a:gd name="T79" fmla="*/ 34 h 36"/>
                <a:gd name="T80" fmla="*/ 10 w 16"/>
                <a:gd name="T81" fmla="*/ 21 h 36"/>
                <a:gd name="T82" fmla="*/ 7 w 16"/>
                <a:gd name="T83" fmla="*/ 21 h 36"/>
                <a:gd name="T84" fmla="*/ 7 w 16"/>
                <a:gd name="T85" fmla="*/ 34 h 36"/>
                <a:gd name="T86" fmla="*/ 6 w 16"/>
                <a:gd name="T87" fmla="*/ 35 h 36"/>
                <a:gd name="T88" fmla="*/ 5 w 16"/>
                <a:gd name="T89" fmla="*/ 34 h 36"/>
                <a:gd name="T90" fmla="*/ 5 w 16"/>
                <a:gd name="T91" fmla="*/ 21 h 36"/>
                <a:gd name="T92" fmla="*/ 3 w 16"/>
                <a:gd name="T93" fmla="*/ 21 h 36"/>
                <a:gd name="T94" fmla="*/ 4 w 16"/>
                <a:gd name="T95" fmla="*/ 14 h 36"/>
                <a:gd name="T96" fmla="*/ 3 w 16"/>
                <a:gd name="T97" fmla="*/ 14 h 36"/>
                <a:gd name="T98" fmla="*/ 1 w 16"/>
                <a:gd name="T99" fmla="*/ 12 h 36"/>
                <a:gd name="T100" fmla="*/ 1 w 16"/>
                <a:gd name="T101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36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5" y="36"/>
                    <a:pt x="6" y="36"/>
                  </a:cubicBezTo>
                  <a:cubicBezTo>
                    <a:pt x="7" y="36"/>
                    <a:pt x="8" y="35"/>
                    <a:pt x="8" y="3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10" y="36"/>
                    <a:pt x="11" y="36"/>
                  </a:cubicBezTo>
                  <a:cubicBezTo>
                    <a:pt x="12" y="36"/>
                    <a:pt x="13" y="35"/>
                    <a:pt x="13" y="3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5" y="3"/>
                    <a:pt x="15" y="6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5"/>
                    <a:pt x="11" y="35"/>
                  </a:cubicBezTo>
                  <a:cubicBezTo>
                    <a:pt x="10" y="35"/>
                    <a:pt x="10" y="34"/>
                    <a:pt x="10" y="34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5"/>
                    <a:pt x="6" y="35"/>
                  </a:cubicBezTo>
                  <a:cubicBezTo>
                    <a:pt x="5" y="35"/>
                    <a:pt x="5" y="34"/>
                    <a:pt x="5" y="34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8" name="Rectangle 1764">
              <a:extLst>
                <a:ext uri="{FF2B5EF4-FFF2-40B4-BE49-F238E27FC236}">
                  <a16:creationId xmlns:a16="http://schemas.microsoft.com/office/drawing/2014/main" id="{77CD19AF-B262-4C01-83EB-7EE93BDB37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1" y="2287"/>
              <a:ext cx="2" cy="2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9" name="Freeform 1765">
              <a:extLst>
                <a:ext uri="{FF2B5EF4-FFF2-40B4-BE49-F238E27FC236}">
                  <a16:creationId xmlns:a16="http://schemas.microsoft.com/office/drawing/2014/main" id="{CBD0D1E2-8724-4DC0-BF2C-C00934877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2287"/>
              <a:ext cx="2" cy="20"/>
            </a:xfrm>
            <a:custGeom>
              <a:avLst/>
              <a:gdLst>
                <a:gd name="T0" fmla="*/ 2 w 2"/>
                <a:gd name="T1" fmla="*/ 20 h 20"/>
                <a:gd name="T2" fmla="*/ 2 w 2"/>
                <a:gd name="T3" fmla="*/ 0 h 20"/>
                <a:gd name="T4" fmla="*/ 0 w 2"/>
                <a:gd name="T5" fmla="*/ 0 h 20"/>
                <a:gd name="T6" fmla="*/ 0 w 2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0">
                  <a:moveTo>
                    <a:pt x="2" y="2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0" name="Rectangle 1766">
              <a:extLst>
                <a:ext uri="{FF2B5EF4-FFF2-40B4-BE49-F238E27FC236}">
                  <a16:creationId xmlns:a16="http://schemas.microsoft.com/office/drawing/2014/main" id="{82387AC0-BC62-46B2-BA41-5F7226A4C0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8" y="2287"/>
              <a:ext cx="2" cy="2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1" name="Freeform 1767">
              <a:extLst>
                <a:ext uri="{FF2B5EF4-FFF2-40B4-BE49-F238E27FC236}">
                  <a16:creationId xmlns:a16="http://schemas.microsoft.com/office/drawing/2014/main" id="{57572A9C-A8D2-4F6E-BD4E-1759CF87B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287"/>
              <a:ext cx="2" cy="20"/>
            </a:xfrm>
            <a:custGeom>
              <a:avLst/>
              <a:gdLst>
                <a:gd name="T0" fmla="*/ 2 w 2"/>
                <a:gd name="T1" fmla="*/ 20 h 20"/>
                <a:gd name="T2" fmla="*/ 2 w 2"/>
                <a:gd name="T3" fmla="*/ 0 h 20"/>
                <a:gd name="T4" fmla="*/ 0 w 2"/>
                <a:gd name="T5" fmla="*/ 0 h 20"/>
                <a:gd name="T6" fmla="*/ 0 w 2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0">
                  <a:moveTo>
                    <a:pt x="2" y="2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2" name="Freeform 1768">
              <a:extLst>
                <a:ext uri="{FF2B5EF4-FFF2-40B4-BE49-F238E27FC236}">
                  <a16:creationId xmlns:a16="http://schemas.microsoft.com/office/drawing/2014/main" id="{55D657AD-C894-4D25-8830-42644D982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" y="2254"/>
              <a:ext cx="15" cy="8"/>
            </a:xfrm>
            <a:custGeom>
              <a:avLst/>
              <a:gdLst>
                <a:gd name="T0" fmla="*/ 0 w 6"/>
                <a:gd name="T1" fmla="*/ 0 h 3"/>
                <a:gd name="T2" fmla="*/ 6 w 6"/>
                <a:gd name="T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2" y="1"/>
                    <a:pt x="4" y="3"/>
                    <a:pt x="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3" name="Freeform 1769">
              <a:extLst>
                <a:ext uri="{FF2B5EF4-FFF2-40B4-BE49-F238E27FC236}">
                  <a16:creationId xmlns:a16="http://schemas.microsoft.com/office/drawing/2014/main" id="{52B859CE-751D-480C-BAA0-AFB6C93E4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" y="2254"/>
              <a:ext cx="15" cy="8"/>
            </a:xfrm>
            <a:custGeom>
              <a:avLst/>
              <a:gdLst>
                <a:gd name="T0" fmla="*/ 0 w 6"/>
                <a:gd name="T1" fmla="*/ 1 h 3"/>
                <a:gd name="T2" fmla="*/ 6 w 6"/>
                <a:gd name="T3" fmla="*/ 3 h 3"/>
                <a:gd name="T4" fmla="*/ 6 w 6"/>
                <a:gd name="T5" fmla="*/ 3 h 3"/>
                <a:gd name="T6" fmla="*/ 1 w 6"/>
                <a:gd name="T7" fmla="*/ 0 h 3"/>
                <a:gd name="T8" fmla="*/ 0 w 6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1" y="2"/>
                    <a:pt x="4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2"/>
                    <a:pt x="2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4" name="Oval 1770">
              <a:extLst>
                <a:ext uri="{FF2B5EF4-FFF2-40B4-BE49-F238E27FC236}">
                  <a16:creationId xmlns:a16="http://schemas.microsoft.com/office/drawing/2014/main" id="{18043CFA-3156-4CD5-A764-145A62288E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" y="2290"/>
              <a:ext cx="15" cy="1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5" name="Freeform 1771">
              <a:extLst>
                <a:ext uri="{FF2B5EF4-FFF2-40B4-BE49-F238E27FC236}">
                  <a16:creationId xmlns:a16="http://schemas.microsoft.com/office/drawing/2014/main" id="{99A62073-BF32-4436-81C5-1A96B4A07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290"/>
              <a:ext cx="18" cy="17"/>
            </a:xfrm>
            <a:custGeom>
              <a:avLst/>
              <a:gdLst>
                <a:gd name="T0" fmla="*/ 6 w 7"/>
                <a:gd name="T1" fmla="*/ 3 h 7"/>
                <a:gd name="T2" fmla="*/ 6 w 7"/>
                <a:gd name="T3" fmla="*/ 3 h 7"/>
                <a:gd name="T4" fmla="*/ 3 w 7"/>
                <a:gd name="T5" fmla="*/ 6 h 7"/>
                <a:gd name="T6" fmla="*/ 1 w 7"/>
                <a:gd name="T7" fmla="*/ 3 h 7"/>
                <a:gd name="T8" fmla="*/ 3 w 7"/>
                <a:gd name="T9" fmla="*/ 1 h 7"/>
                <a:gd name="T10" fmla="*/ 6 w 7"/>
                <a:gd name="T11" fmla="*/ 3 h 7"/>
                <a:gd name="T12" fmla="*/ 6 w 7"/>
                <a:gd name="T13" fmla="*/ 3 h 7"/>
                <a:gd name="T14" fmla="*/ 7 w 7"/>
                <a:gd name="T15" fmla="*/ 3 h 7"/>
                <a:gd name="T16" fmla="*/ 3 w 7"/>
                <a:gd name="T17" fmla="*/ 0 h 7"/>
                <a:gd name="T18" fmla="*/ 0 w 7"/>
                <a:gd name="T19" fmla="*/ 3 h 7"/>
                <a:gd name="T20" fmla="*/ 3 w 7"/>
                <a:gd name="T21" fmla="*/ 7 h 7"/>
                <a:gd name="T22" fmla="*/ 7 w 7"/>
                <a:gd name="T23" fmla="*/ 3 h 7"/>
                <a:gd name="T24" fmla="*/ 6 w 7"/>
                <a:gd name="T2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2" y="6"/>
                    <a:pt x="1" y="5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6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5" y="7"/>
                    <a:pt x="7" y="5"/>
                    <a:pt x="7" y="3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6" name="Freeform 1772">
              <a:extLst>
                <a:ext uri="{FF2B5EF4-FFF2-40B4-BE49-F238E27FC236}">
                  <a16:creationId xmlns:a16="http://schemas.microsoft.com/office/drawing/2014/main" id="{DC52373D-49DD-4888-916B-639D2965F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2307"/>
              <a:ext cx="30" cy="53"/>
            </a:xfrm>
            <a:custGeom>
              <a:avLst/>
              <a:gdLst>
                <a:gd name="T0" fmla="*/ 0 w 12"/>
                <a:gd name="T1" fmla="*/ 4 h 21"/>
                <a:gd name="T2" fmla="*/ 0 w 12"/>
                <a:gd name="T3" fmla="*/ 8 h 21"/>
                <a:gd name="T4" fmla="*/ 2 w 12"/>
                <a:gd name="T5" fmla="*/ 9 h 21"/>
                <a:gd name="T6" fmla="*/ 3 w 12"/>
                <a:gd name="T7" fmla="*/ 9 h 21"/>
                <a:gd name="T8" fmla="*/ 1 w 12"/>
                <a:gd name="T9" fmla="*/ 13 h 21"/>
                <a:gd name="T10" fmla="*/ 3 w 12"/>
                <a:gd name="T11" fmla="*/ 13 h 21"/>
                <a:gd name="T12" fmla="*/ 3 w 12"/>
                <a:gd name="T13" fmla="*/ 20 h 21"/>
                <a:gd name="T14" fmla="*/ 4 w 12"/>
                <a:gd name="T15" fmla="*/ 21 h 21"/>
                <a:gd name="T16" fmla="*/ 5 w 12"/>
                <a:gd name="T17" fmla="*/ 20 h 21"/>
                <a:gd name="T18" fmla="*/ 5 w 12"/>
                <a:gd name="T19" fmla="*/ 13 h 21"/>
                <a:gd name="T20" fmla="*/ 7 w 12"/>
                <a:gd name="T21" fmla="*/ 13 h 21"/>
                <a:gd name="T22" fmla="*/ 7 w 12"/>
                <a:gd name="T23" fmla="*/ 20 h 21"/>
                <a:gd name="T24" fmla="*/ 8 w 12"/>
                <a:gd name="T25" fmla="*/ 21 h 21"/>
                <a:gd name="T26" fmla="*/ 9 w 12"/>
                <a:gd name="T27" fmla="*/ 20 h 21"/>
                <a:gd name="T28" fmla="*/ 9 w 12"/>
                <a:gd name="T29" fmla="*/ 13 h 21"/>
                <a:gd name="T30" fmla="*/ 10 w 12"/>
                <a:gd name="T31" fmla="*/ 13 h 21"/>
                <a:gd name="T32" fmla="*/ 9 w 12"/>
                <a:gd name="T33" fmla="*/ 9 h 21"/>
                <a:gd name="T34" fmla="*/ 10 w 12"/>
                <a:gd name="T35" fmla="*/ 9 h 21"/>
                <a:gd name="T36" fmla="*/ 12 w 12"/>
                <a:gd name="T37" fmla="*/ 8 h 21"/>
                <a:gd name="T38" fmla="*/ 12 w 12"/>
                <a:gd name="T39" fmla="*/ 4 h 21"/>
                <a:gd name="T40" fmla="*/ 8 w 12"/>
                <a:gd name="T41" fmla="*/ 0 h 21"/>
                <a:gd name="T42" fmla="*/ 4 w 12"/>
                <a:gd name="T43" fmla="*/ 0 h 21"/>
                <a:gd name="T44" fmla="*/ 0 w 12"/>
                <a:gd name="T45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" h="21">
                  <a:moveTo>
                    <a:pt x="0" y="4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3" y="21"/>
                    <a:pt x="4" y="21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9" y="21"/>
                    <a:pt x="9" y="21"/>
                    <a:pt x="9" y="20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2" y="8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7" name="Freeform 1773">
              <a:extLst>
                <a:ext uri="{FF2B5EF4-FFF2-40B4-BE49-F238E27FC236}">
                  <a16:creationId xmlns:a16="http://schemas.microsoft.com/office/drawing/2014/main" id="{80772E35-3CD9-4063-8A3C-36079A325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2307"/>
              <a:ext cx="30" cy="56"/>
            </a:xfrm>
            <a:custGeom>
              <a:avLst/>
              <a:gdLst>
                <a:gd name="T0" fmla="*/ 0 w 12"/>
                <a:gd name="T1" fmla="*/ 4 h 22"/>
                <a:gd name="T2" fmla="*/ 0 w 12"/>
                <a:gd name="T3" fmla="*/ 4 h 22"/>
                <a:gd name="T4" fmla="*/ 0 w 12"/>
                <a:gd name="T5" fmla="*/ 8 h 22"/>
                <a:gd name="T6" fmla="*/ 2 w 12"/>
                <a:gd name="T7" fmla="*/ 10 h 22"/>
                <a:gd name="T8" fmla="*/ 2 w 12"/>
                <a:gd name="T9" fmla="*/ 10 h 22"/>
                <a:gd name="T10" fmla="*/ 1 w 12"/>
                <a:gd name="T11" fmla="*/ 13 h 22"/>
                <a:gd name="T12" fmla="*/ 2 w 12"/>
                <a:gd name="T13" fmla="*/ 13 h 22"/>
                <a:gd name="T14" fmla="*/ 2 w 12"/>
                <a:gd name="T15" fmla="*/ 20 h 22"/>
                <a:gd name="T16" fmla="*/ 4 w 12"/>
                <a:gd name="T17" fmla="*/ 22 h 22"/>
                <a:gd name="T18" fmla="*/ 6 w 12"/>
                <a:gd name="T19" fmla="*/ 20 h 22"/>
                <a:gd name="T20" fmla="*/ 6 w 12"/>
                <a:gd name="T21" fmla="*/ 13 h 22"/>
                <a:gd name="T22" fmla="*/ 6 w 12"/>
                <a:gd name="T23" fmla="*/ 13 h 22"/>
                <a:gd name="T24" fmla="*/ 6 w 12"/>
                <a:gd name="T25" fmla="*/ 20 h 22"/>
                <a:gd name="T26" fmla="*/ 8 w 12"/>
                <a:gd name="T27" fmla="*/ 22 h 22"/>
                <a:gd name="T28" fmla="*/ 10 w 12"/>
                <a:gd name="T29" fmla="*/ 20 h 22"/>
                <a:gd name="T30" fmla="*/ 10 w 12"/>
                <a:gd name="T31" fmla="*/ 13 h 22"/>
                <a:gd name="T32" fmla="*/ 10 w 12"/>
                <a:gd name="T33" fmla="*/ 13 h 22"/>
                <a:gd name="T34" fmla="*/ 11 w 12"/>
                <a:gd name="T35" fmla="*/ 13 h 22"/>
                <a:gd name="T36" fmla="*/ 10 w 12"/>
                <a:gd name="T37" fmla="*/ 10 h 22"/>
                <a:gd name="T38" fmla="*/ 10 w 12"/>
                <a:gd name="T39" fmla="*/ 10 h 22"/>
                <a:gd name="T40" fmla="*/ 12 w 12"/>
                <a:gd name="T41" fmla="*/ 8 h 22"/>
                <a:gd name="T42" fmla="*/ 12 w 12"/>
                <a:gd name="T43" fmla="*/ 4 h 22"/>
                <a:gd name="T44" fmla="*/ 8 w 12"/>
                <a:gd name="T45" fmla="*/ 0 h 22"/>
                <a:gd name="T46" fmla="*/ 4 w 12"/>
                <a:gd name="T47" fmla="*/ 0 h 22"/>
                <a:gd name="T48" fmla="*/ 0 w 12"/>
                <a:gd name="T49" fmla="*/ 4 h 22"/>
                <a:gd name="T50" fmla="*/ 0 w 12"/>
                <a:gd name="T51" fmla="*/ 4 h 22"/>
                <a:gd name="T52" fmla="*/ 1 w 12"/>
                <a:gd name="T53" fmla="*/ 4 h 22"/>
                <a:gd name="T54" fmla="*/ 4 w 12"/>
                <a:gd name="T55" fmla="*/ 1 h 22"/>
                <a:gd name="T56" fmla="*/ 8 w 12"/>
                <a:gd name="T57" fmla="*/ 1 h 22"/>
                <a:gd name="T58" fmla="*/ 11 w 12"/>
                <a:gd name="T59" fmla="*/ 4 h 22"/>
                <a:gd name="T60" fmla="*/ 11 w 12"/>
                <a:gd name="T61" fmla="*/ 8 h 22"/>
                <a:gd name="T62" fmla="*/ 10 w 12"/>
                <a:gd name="T63" fmla="*/ 9 h 22"/>
                <a:gd name="T64" fmla="*/ 9 w 12"/>
                <a:gd name="T65" fmla="*/ 9 h 22"/>
                <a:gd name="T66" fmla="*/ 9 w 12"/>
                <a:gd name="T67" fmla="*/ 9 h 22"/>
                <a:gd name="T68" fmla="*/ 10 w 12"/>
                <a:gd name="T69" fmla="*/ 12 h 22"/>
                <a:gd name="T70" fmla="*/ 9 w 12"/>
                <a:gd name="T71" fmla="*/ 12 h 22"/>
                <a:gd name="T72" fmla="*/ 9 w 12"/>
                <a:gd name="T73" fmla="*/ 12 h 22"/>
                <a:gd name="T74" fmla="*/ 9 w 12"/>
                <a:gd name="T75" fmla="*/ 20 h 22"/>
                <a:gd name="T76" fmla="*/ 8 w 12"/>
                <a:gd name="T77" fmla="*/ 21 h 22"/>
                <a:gd name="T78" fmla="*/ 7 w 12"/>
                <a:gd name="T79" fmla="*/ 20 h 22"/>
                <a:gd name="T80" fmla="*/ 7 w 12"/>
                <a:gd name="T81" fmla="*/ 12 h 22"/>
                <a:gd name="T82" fmla="*/ 5 w 12"/>
                <a:gd name="T83" fmla="*/ 12 h 22"/>
                <a:gd name="T84" fmla="*/ 5 w 12"/>
                <a:gd name="T85" fmla="*/ 12 h 22"/>
                <a:gd name="T86" fmla="*/ 5 w 12"/>
                <a:gd name="T87" fmla="*/ 20 h 22"/>
                <a:gd name="T88" fmla="*/ 4 w 12"/>
                <a:gd name="T89" fmla="*/ 21 h 22"/>
                <a:gd name="T90" fmla="*/ 3 w 12"/>
                <a:gd name="T91" fmla="*/ 20 h 22"/>
                <a:gd name="T92" fmla="*/ 3 w 12"/>
                <a:gd name="T93" fmla="*/ 12 h 22"/>
                <a:gd name="T94" fmla="*/ 2 w 12"/>
                <a:gd name="T95" fmla="*/ 12 h 22"/>
                <a:gd name="T96" fmla="*/ 3 w 12"/>
                <a:gd name="T97" fmla="*/ 9 h 22"/>
                <a:gd name="T98" fmla="*/ 2 w 12"/>
                <a:gd name="T99" fmla="*/ 9 h 22"/>
                <a:gd name="T100" fmla="*/ 1 w 12"/>
                <a:gd name="T101" fmla="*/ 8 h 22"/>
                <a:gd name="T102" fmla="*/ 1 w 12"/>
                <a:gd name="T103" fmla="*/ 4 h 22"/>
                <a:gd name="T104" fmla="*/ 0 w 12"/>
                <a:gd name="T10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" h="22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3" y="22"/>
                    <a:pt x="4" y="22"/>
                  </a:cubicBezTo>
                  <a:cubicBezTo>
                    <a:pt x="5" y="22"/>
                    <a:pt x="6" y="21"/>
                    <a:pt x="6" y="2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7" y="22"/>
                    <a:pt x="8" y="22"/>
                  </a:cubicBezTo>
                  <a:cubicBezTo>
                    <a:pt x="9" y="22"/>
                    <a:pt x="10" y="21"/>
                    <a:pt x="10" y="20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1"/>
                    <a:pt x="11" y="2"/>
                    <a:pt x="11" y="4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8" y="21"/>
                    <a:pt x="8" y="21"/>
                  </a:cubicBezTo>
                  <a:cubicBezTo>
                    <a:pt x="7" y="21"/>
                    <a:pt x="7" y="21"/>
                    <a:pt x="7" y="2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4" y="21"/>
                  </a:cubicBezTo>
                  <a:cubicBezTo>
                    <a:pt x="4" y="21"/>
                    <a:pt x="3" y="21"/>
                    <a:pt x="3" y="2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8" name="Rectangle 1774">
              <a:extLst>
                <a:ext uri="{FF2B5EF4-FFF2-40B4-BE49-F238E27FC236}">
                  <a16:creationId xmlns:a16="http://schemas.microsoft.com/office/drawing/2014/main" id="{BDCA7CE8-0843-4804-A3A8-DEDBCC302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5" y="2317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9" name="Freeform 1775">
              <a:extLst>
                <a:ext uri="{FF2B5EF4-FFF2-40B4-BE49-F238E27FC236}">
                  <a16:creationId xmlns:a16="http://schemas.microsoft.com/office/drawing/2014/main" id="{28128075-75B1-44DE-943C-CFBD2538E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" y="2317"/>
              <a:ext cx="3" cy="13"/>
            </a:xfrm>
            <a:custGeom>
              <a:avLst/>
              <a:gdLst>
                <a:gd name="T0" fmla="*/ 3 w 3"/>
                <a:gd name="T1" fmla="*/ 13 h 13"/>
                <a:gd name="T2" fmla="*/ 3 w 3"/>
                <a:gd name="T3" fmla="*/ 0 h 13"/>
                <a:gd name="T4" fmla="*/ 0 w 3"/>
                <a:gd name="T5" fmla="*/ 0 h 13"/>
                <a:gd name="T6" fmla="*/ 0 w 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0" name="Rectangle 1776">
              <a:extLst>
                <a:ext uri="{FF2B5EF4-FFF2-40B4-BE49-F238E27FC236}">
                  <a16:creationId xmlns:a16="http://schemas.microsoft.com/office/drawing/2014/main" id="{B139085B-5593-43EB-9ECF-04D8EF0F37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" y="2317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1" name="Freeform 1777">
              <a:extLst>
                <a:ext uri="{FF2B5EF4-FFF2-40B4-BE49-F238E27FC236}">
                  <a16:creationId xmlns:a16="http://schemas.microsoft.com/office/drawing/2014/main" id="{64956B93-D287-4579-8A7C-5E94FCF5C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" y="2317"/>
              <a:ext cx="2" cy="13"/>
            </a:xfrm>
            <a:custGeom>
              <a:avLst/>
              <a:gdLst>
                <a:gd name="T0" fmla="*/ 2 w 2"/>
                <a:gd name="T1" fmla="*/ 13 h 13"/>
                <a:gd name="T2" fmla="*/ 2 w 2"/>
                <a:gd name="T3" fmla="*/ 0 h 13"/>
                <a:gd name="T4" fmla="*/ 0 w 2"/>
                <a:gd name="T5" fmla="*/ 0 h 13"/>
                <a:gd name="T6" fmla="*/ 0 w 2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2" y="1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2" name="Freeform 1778">
              <a:extLst>
                <a:ext uri="{FF2B5EF4-FFF2-40B4-BE49-F238E27FC236}">
                  <a16:creationId xmlns:a16="http://schemas.microsoft.com/office/drawing/2014/main" id="{675EE1F3-640F-499E-BB55-842AD45EE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" y="2267"/>
              <a:ext cx="12" cy="15"/>
            </a:xfrm>
            <a:custGeom>
              <a:avLst/>
              <a:gdLst>
                <a:gd name="T0" fmla="*/ 5 w 5"/>
                <a:gd name="T1" fmla="*/ 6 h 6"/>
                <a:gd name="T2" fmla="*/ 5 w 5"/>
                <a:gd name="T3" fmla="*/ 5 h 6"/>
                <a:gd name="T4" fmla="*/ 4 w 5"/>
                <a:gd name="T5" fmla="*/ 2 h 6"/>
                <a:gd name="T6" fmla="*/ 0 w 5"/>
                <a:gd name="T7" fmla="*/ 0 h 6"/>
                <a:gd name="T8" fmla="*/ 0 w 5"/>
                <a:gd name="T9" fmla="*/ 1 h 6"/>
                <a:gd name="T10" fmla="*/ 3 w 5"/>
                <a:gd name="T11" fmla="*/ 3 h 6"/>
                <a:gd name="T12" fmla="*/ 4 w 5"/>
                <a:gd name="T13" fmla="*/ 5 h 6"/>
                <a:gd name="T14" fmla="*/ 4 w 5"/>
                <a:gd name="T15" fmla="*/ 6 h 6"/>
                <a:gd name="T16" fmla="*/ 5 w 5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5" y="6"/>
                    <a:pt x="5" y="6"/>
                    <a:pt x="5" y="5"/>
                  </a:cubicBezTo>
                  <a:cubicBezTo>
                    <a:pt x="5" y="4"/>
                    <a:pt x="5" y="3"/>
                    <a:pt x="4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2"/>
                    <a:pt x="3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3" name="Freeform 1779">
              <a:extLst>
                <a:ext uri="{FF2B5EF4-FFF2-40B4-BE49-F238E27FC236}">
                  <a16:creationId xmlns:a16="http://schemas.microsoft.com/office/drawing/2014/main" id="{2801BCDD-ED06-4051-BE00-013548B7D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" y="2257"/>
              <a:ext cx="23" cy="30"/>
            </a:xfrm>
            <a:custGeom>
              <a:avLst/>
              <a:gdLst>
                <a:gd name="T0" fmla="*/ 8 w 9"/>
                <a:gd name="T1" fmla="*/ 12 h 12"/>
                <a:gd name="T2" fmla="*/ 9 w 9"/>
                <a:gd name="T3" fmla="*/ 9 h 12"/>
                <a:gd name="T4" fmla="*/ 7 w 9"/>
                <a:gd name="T5" fmla="*/ 4 h 12"/>
                <a:gd name="T6" fmla="*/ 0 w 9"/>
                <a:gd name="T7" fmla="*/ 0 h 12"/>
                <a:gd name="T8" fmla="*/ 0 w 9"/>
                <a:gd name="T9" fmla="*/ 1 h 12"/>
                <a:gd name="T10" fmla="*/ 7 w 9"/>
                <a:gd name="T11" fmla="*/ 5 h 12"/>
                <a:gd name="T12" fmla="*/ 8 w 9"/>
                <a:gd name="T13" fmla="*/ 9 h 12"/>
                <a:gd name="T14" fmla="*/ 8 w 9"/>
                <a:gd name="T15" fmla="*/ 11 h 12"/>
                <a:gd name="T16" fmla="*/ 8 w 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8" y="12"/>
                  </a:moveTo>
                  <a:cubicBezTo>
                    <a:pt x="9" y="11"/>
                    <a:pt x="9" y="10"/>
                    <a:pt x="9" y="9"/>
                  </a:cubicBezTo>
                  <a:cubicBezTo>
                    <a:pt x="9" y="7"/>
                    <a:pt x="8" y="6"/>
                    <a:pt x="7" y="4"/>
                  </a:cubicBezTo>
                  <a:cubicBezTo>
                    <a:pt x="6" y="2"/>
                    <a:pt x="3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5" y="3"/>
                    <a:pt x="7" y="5"/>
                  </a:cubicBezTo>
                  <a:cubicBezTo>
                    <a:pt x="7" y="6"/>
                    <a:pt x="8" y="8"/>
                    <a:pt x="8" y="9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4" name="Freeform 1780">
              <a:extLst>
                <a:ext uri="{FF2B5EF4-FFF2-40B4-BE49-F238E27FC236}">
                  <a16:creationId xmlns:a16="http://schemas.microsoft.com/office/drawing/2014/main" id="{6CDD6399-7A25-4CA2-B39D-9D8AF4A41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" y="2247"/>
              <a:ext cx="31" cy="43"/>
            </a:xfrm>
            <a:custGeom>
              <a:avLst/>
              <a:gdLst>
                <a:gd name="T0" fmla="*/ 12 w 12"/>
                <a:gd name="T1" fmla="*/ 17 h 17"/>
                <a:gd name="T2" fmla="*/ 12 w 12"/>
                <a:gd name="T3" fmla="*/ 13 h 17"/>
                <a:gd name="T4" fmla="*/ 10 w 12"/>
                <a:gd name="T5" fmla="*/ 6 h 17"/>
                <a:gd name="T6" fmla="*/ 0 w 12"/>
                <a:gd name="T7" fmla="*/ 0 h 17"/>
                <a:gd name="T8" fmla="*/ 0 w 12"/>
                <a:gd name="T9" fmla="*/ 1 h 17"/>
                <a:gd name="T10" fmla="*/ 9 w 12"/>
                <a:gd name="T11" fmla="*/ 6 h 17"/>
                <a:gd name="T12" fmla="*/ 11 w 12"/>
                <a:gd name="T13" fmla="*/ 13 h 17"/>
                <a:gd name="T14" fmla="*/ 11 w 12"/>
                <a:gd name="T15" fmla="*/ 17 h 17"/>
                <a:gd name="T16" fmla="*/ 12 w 12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7">
                  <a:moveTo>
                    <a:pt x="12" y="17"/>
                  </a:moveTo>
                  <a:cubicBezTo>
                    <a:pt x="12" y="16"/>
                    <a:pt x="12" y="14"/>
                    <a:pt x="12" y="13"/>
                  </a:cubicBezTo>
                  <a:cubicBezTo>
                    <a:pt x="12" y="11"/>
                    <a:pt x="11" y="8"/>
                    <a:pt x="10" y="6"/>
                  </a:cubicBezTo>
                  <a:cubicBezTo>
                    <a:pt x="7" y="2"/>
                    <a:pt x="3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7" y="3"/>
                    <a:pt x="9" y="6"/>
                  </a:cubicBezTo>
                  <a:cubicBezTo>
                    <a:pt x="10" y="8"/>
                    <a:pt x="11" y="11"/>
                    <a:pt x="11" y="13"/>
                  </a:cubicBezTo>
                  <a:cubicBezTo>
                    <a:pt x="11" y="14"/>
                    <a:pt x="11" y="16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5" name="Rectangle 1781">
              <a:extLst>
                <a:ext uri="{FF2B5EF4-FFF2-40B4-BE49-F238E27FC236}">
                  <a16:creationId xmlns:a16="http://schemas.microsoft.com/office/drawing/2014/main" id="{C8CAFC64-83F1-45A5-B47E-8212F380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0" y="2247"/>
              <a:ext cx="61" cy="1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6" name="Freeform 1782">
              <a:extLst>
                <a:ext uri="{FF2B5EF4-FFF2-40B4-BE49-F238E27FC236}">
                  <a16:creationId xmlns:a16="http://schemas.microsoft.com/office/drawing/2014/main" id="{72555C65-73AA-4FB5-86E9-79745757B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2247"/>
              <a:ext cx="66" cy="119"/>
            </a:xfrm>
            <a:custGeom>
              <a:avLst/>
              <a:gdLst>
                <a:gd name="T0" fmla="*/ 63 w 66"/>
                <a:gd name="T1" fmla="*/ 119 h 119"/>
                <a:gd name="T2" fmla="*/ 63 w 66"/>
                <a:gd name="T3" fmla="*/ 119 h 119"/>
                <a:gd name="T4" fmla="*/ 2 w 66"/>
                <a:gd name="T5" fmla="*/ 119 h 119"/>
                <a:gd name="T6" fmla="*/ 2 w 66"/>
                <a:gd name="T7" fmla="*/ 2 h 119"/>
                <a:gd name="T8" fmla="*/ 63 w 66"/>
                <a:gd name="T9" fmla="*/ 2 h 119"/>
                <a:gd name="T10" fmla="*/ 63 w 66"/>
                <a:gd name="T11" fmla="*/ 119 h 119"/>
                <a:gd name="T12" fmla="*/ 63 w 66"/>
                <a:gd name="T13" fmla="*/ 119 h 119"/>
                <a:gd name="T14" fmla="*/ 63 w 66"/>
                <a:gd name="T15" fmla="*/ 119 h 119"/>
                <a:gd name="T16" fmla="*/ 63 w 66"/>
                <a:gd name="T17" fmla="*/ 119 h 119"/>
                <a:gd name="T18" fmla="*/ 66 w 66"/>
                <a:gd name="T19" fmla="*/ 119 h 119"/>
                <a:gd name="T20" fmla="*/ 66 w 66"/>
                <a:gd name="T21" fmla="*/ 0 h 119"/>
                <a:gd name="T22" fmla="*/ 0 w 66"/>
                <a:gd name="T23" fmla="*/ 0 h 119"/>
                <a:gd name="T24" fmla="*/ 0 w 66"/>
                <a:gd name="T25" fmla="*/ 119 h 119"/>
                <a:gd name="T26" fmla="*/ 66 w 66"/>
                <a:gd name="T27" fmla="*/ 119 h 119"/>
                <a:gd name="T28" fmla="*/ 66 w 66"/>
                <a:gd name="T29" fmla="*/ 119 h 119"/>
                <a:gd name="T30" fmla="*/ 63 w 66"/>
                <a:gd name="T3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119">
                  <a:moveTo>
                    <a:pt x="63" y="119"/>
                  </a:moveTo>
                  <a:lnTo>
                    <a:pt x="63" y="119"/>
                  </a:lnTo>
                  <a:lnTo>
                    <a:pt x="2" y="119"/>
                  </a:lnTo>
                  <a:lnTo>
                    <a:pt x="2" y="2"/>
                  </a:lnTo>
                  <a:lnTo>
                    <a:pt x="63" y="2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6" y="119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3" y="11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7" name="Rectangle 1783">
              <a:extLst>
                <a:ext uri="{FF2B5EF4-FFF2-40B4-BE49-F238E27FC236}">
                  <a16:creationId xmlns:a16="http://schemas.microsoft.com/office/drawing/2014/main" id="{768EA5A7-5C57-419F-BDD4-90E108B9B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1" y="2247"/>
              <a:ext cx="63" cy="1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8" name="Freeform 1784">
              <a:extLst>
                <a:ext uri="{FF2B5EF4-FFF2-40B4-BE49-F238E27FC236}">
                  <a16:creationId xmlns:a16="http://schemas.microsoft.com/office/drawing/2014/main" id="{60CFC6DC-CD47-4470-B47C-F5AE91C19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2247"/>
              <a:ext cx="66" cy="119"/>
            </a:xfrm>
            <a:custGeom>
              <a:avLst/>
              <a:gdLst>
                <a:gd name="T0" fmla="*/ 63 w 66"/>
                <a:gd name="T1" fmla="*/ 119 h 119"/>
                <a:gd name="T2" fmla="*/ 63 w 66"/>
                <a:gd name="T3" fmla="*/ 119 h 119"/>
                <a:gd name="T4" fmla="*/ 3 w 66"/>
                <a:gd name="T5" fmla="*/ 119 h 119"/>
                <a:gd name="T6" fmla="*/ 3 w 66"/>
                <a:gd name="T7" fmla="*/ 2 h 119"/>
                <a:gd name="T8" fmla="*/ 63 w 66"/>
                <a:gd name="T9" fmla="*/ 2 h 119"/>
                <a:gd name="T10" fmla="*/ 63 w 66"/>
                <a:gd name="T11" fmla="*/ 119 h 119"/>
                <a:gd name="T12" fmla="*/ 63 w 66"/>
                <a:gd name="T13" fmla="*/ 119 h 119"/>
                <a:gd name="T14" fmla="*/ 63 w 66"/>
                <a:gd name="T15" fmla="*/ 119 h 119"/>
                <a:gd name="T16" fmla="*/ 63 w 66"/>
                <a:gd name="T17" fmla="*/ 119 h 119"/>
                <a:gd name="T18" fmla="*/ 66 w 66"/>
                <a:gd name="T19" fmla="*/ 119 h 119"/>
                <a:gd name="T20" fmla="*/ 66 w 66"/>
                <a:gd name="T21" fmla="*/ 0 h 119"/>
                <a:gd name="T22" fmla="*/ 0 w 66"/>
                <a:gd name="T23" fmla="*/ 0 h 119"/>
                <a:gd name="T24" fmla="*/ 0 w 66"/>
                <a:gd name="T25" fmla="*/ 119 h 119"/>
                <a:gd name="T26" fmla="*/ 66 w 66"/>
                <a:gd name="T27" fmla="*/ 119 h 119"/>
                <a:gd name="T28" fmla="*/ 66 w 66"/>
                <a:gd name="T29" fmla="*/ 119 h 119"/>
                <a:gd name="T30" fmla="*/ 63 w 66"/>
                <a:gd name="T3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119">
                  <a:moveTo>
                    <a:pt x="63" y="119"/>
                  </a:moveTo>
                  <a:lnTo>
                    <a:pt x="63" y="119"/>
                  </a:lnTo>
                  <a:lnTo>
                    <a:pt x="3" y="119"/>
                  </a:lnTo>
                  <a:lnTo>
                    <a:pt x="3" y="2"/>
                  </a:lnTo>
                  <a:lnTo>
                    <a:pt x="63" y="2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6" y="119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3" y="11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9" name="Freeform 1785">
              <a:extLst>
                <a:ext uri="{FF2B5EF4-FFF2-40B4-BE49-F238E27FC236}">
                  <a16:creationId xmlns:a16="http://schemas.microsoft.com/office/drawing/2014/main" id="{4E739965-08CF-42AE-BC83-64BFCAD69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" y="2216"/>
              <a:ext cx="124" cy="26"/>
            </a:xfrm>
            <a:custGeom>
              <a:avLst/>
              <a:gdLst>
                <a:gd name="T0" fmla="*/ 49 w 49"/>
                <a:gd name="T1" fmla="*/ 10 h 10"/>
                <a:gd name="T2" fmla="*/ 24 w 49"/>
                <a:gd name="T3" fmla="*/ 0 h 10"/>
                <a:gd name="T4" fmla="*/ 0 w 49"/>
                <a:gd name="T5" fmla="*/ 10 h 10"/>
                <a:gd name="T6" fmla="*/ 49 w 49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10">
                  <a:moveTo>
                    <a:pt x="49" y="10"/>
                  </a:moveTo>
                  <a:cubicBezTo>
                    <a:pt x="43" y="4"/>
                    <a:pt x="34" y="0"/>
                    <a:pt x="24" y="0"/>
                  </a:cubicBezTo>
                  <a:cubicBezTo>
                    <a:pt x="15" y="0"/>
                    <a:pt x="6" y="4"/>
                    <a:pt x="0" y="10"/>
                  </a:cubicBezTo>
                  <a:lnTo>
                    <a:pt x="49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0" name="Freeform 1786">
              <a:extLst>
                <a:ext uri="{FF2B5EF4-FFF2-40B4-BE49-F238E27FC236}">
                  <a16:creationId xmlns:a16="http://schemas.microsoft.com/office/drawing/2014/main" id="{584842DD-20CB-4F14-9819-F746380F9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2214"/>
              <a:ext cx="129" cy="30"/>
            </a:xfrm>
            <a:custGeom>
              <a:avLst/>
              <a:gdLst>
                <a:gd name="T0" fmla="*/ 50 w 51"/>
                <a:gd name="T1" fmla="*/ 11 h 12"/>
                <a:gd name="T2" fmla="*/ 51 w 51"/>
                <a:gd name="T3" fmla="*/ 11 h 12"/>
                <a:gd name="T4" fmla="*/ 25 w 51"/>
                <a:gd name="T5" fmla="*/ 0 h 12"/>
                <a:gd name="T6" fmla="*/ 0 w 51"/>
                <a:gd name="T7" fmla="*/ 11 h 12"/>
                <a:gd name="T8" fmla="*/ 0 w 51"/>
                <a:gd name="T9" fmla="*/ 11 h 12"/>
                <a:gd name="T10" fmla="*/ 1 w 51"/>
                <a:gd name="T11" fmla="*/ 12 h 12"/>
                <a:gd name="T12" fmla="*/ 50 w 51"/>
                <a:gd name="T13" fmla="*/ 12 h 12"/>
                <a:gd name="T14" fmla="*/ 51 w 51"/>
                <a:gd name="T15" fmla="*/ 11 h 12"/>
                <a:gd name="T16" fmla="*/ 51 w 51"/>
                <a:gd name="T17" fmla="*/ 11 h 12"/>
                <a:gd name="T18" fmla="*/ 50 w 51"/>
                <a:gd name="T19" fmla="*/ 11 h 12"/>
                <a:gd name="T20" fmla="*/ 50 w 51"/>
                <a:gd name="T21" fmla="*/ 11 h 12"/>
                <a:gd name="T22" fmla="*/ 1 w 51"/>
                <a:gd name="T23" fmla="*/ 11 h 12"/>
                <a:gd name="T24" fmla="*/ 1 w 51"/>
                <a:gd name="T25" fmla="*/ 11 h 12"/>
                <a:gd name="T26" fmla="*/ 1 w 51"/>
                <a:gd name="T27" fmla="*/ 11 h 12"/>
                <a:gd name="T28" fmla="*/ 25 w 51"/>
                <a:gd name="T29" fmla="*/ 1 h 12"/>
                <a:gd name="T30" fmla="*/ 50 w 51"/>
                <a:gd name="T31" fmla="*/ 11 h 12"/>
                <a:gd name="T32" fmla="*/ 50 w 51"/>
                <a:gd name="T33" fmla="*/ 11 h 12"/>
                <a:gd name="T34" fmla="*/ 50 w 51"/>
                <a:gd name="T3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12">
                  <a:moveTo>
                    <a:pt x="50" y="11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44" y="4"/>
                    <a:pt x="35" y="0"/>
                    <a:pt x="25" y="0"/>
                  </a:cubicBezTo>
                  <a:cubicBezTo>
                    <a:pt x="16" y="0"/>
                    <a:pt x="7" y="4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7" y="5"/>
                    <a:pt x="16" y="1"/>
                    <a:pt x="25" y="1"/>
                  </a:cubicBezTo>
                  <a:cubicBezTo>
                    <a:pt x="35" y="1"/>
                    <a:pt x="44" y="5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1" name="Freeform 1787">
              <a:extLst>
                <a:ext uri="{FF2B5EF4-FFF2-40B4-BE49-F238E27FC236}">
                  <a16:creationId xmlns:a16="http://schemas.microsoft.com/office/drawing/2014/main" id="{5F02FFB8-CD8B-4BF0-BA53-DE4EF32C0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2249"/>
              <a:ext cx="20" cy="8"/>
            </a:xfrm>
            <a:custGeom>
              <a:avLst/>
              <a:gdLst>
                <a:gd name="T0" fmla="*/ 8 w 8"/>
                <a:gd name="T1" fmla="*/ 2 h 3"/>
                <a:gd name="T2" fmla="*/ 4 w 8"/>
                <a:gd name="T3" fmla="*/ 0 h 3"/>
                <a:gd name="T4" fmla="*/ 0 w 8"/>
                <a:gd name="T5" fmla="*/ 2 h 3"/>
                <a:gd name="T6" fmla="*/ 1 w 8"/>
                <a:gd name="T7" fmla="*/ 3 h 3"/>
                <a:gd name="T8" fmla="*/ 4 w 8"/>
                <a:gd name="T9" fmla="*/ 1 h 3"/>
                <a:gd name="T10" fmla="*/ 7 w 8"/>
                <a:gd name="T11" fmla="*/ 3 h 3"/>
                <a:gd name="T12" fmla="*/ 8 w 8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2" name="Freeform 1788">
              <a:extLst>
                <a:ext uri="{FF2B5EF4-FFF2-40B4-BE49-F238E27FC236}">
                  <a16:creationId xmlns:a16="http://schemas.microsoft.com/office/drawing/2014/main" id="{375D3167-ECE2-481B-A150-CE1D08C01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" y="2239"/>
              <a:ext cx="36" cy="10"/>
            </a:xfrm>
            <a:custGeom>
              <a:avLst/>
              <a:gdLst>
                <a:gd name="T0" fmla="*/ 14 w 14"/>
                <a:gd name="T1" fmla="*/ 4 h 4"/>
                <a:gd name="T2" fmla="*/ 7 w 14"/>
                <a:gd name="T3" fmla="*/ 0 h 4"/>
                <a:gd name="T4" fmla="*/ 0 w 14"/>
                <a:gd name="T5" fmla="*/ 4 h 4"/>
                <a:gd name="T6" fmla="*/ 1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4"/>
                  </a:moveTo>
                  <a:cubicBezTo>
                    <a:pt x="12" y="1"/>
                    <a:pt x="10" y="0"/>
                    <a:pt x="7" y="0"/>
                  </a:cubicBezTo>
                  <a:cubicBezTo>
                    <a:pt x="4" y="0"/>
                    <a:pt x="2" y="1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2"/>
                    <a:pt x="5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4"/>
                    <a:pt x="14" y="4"/>
                    <a:pt x="14" y="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3" name="Freeform 1789">
              <a:extLst>
                <a:ext uri="{FF2B5EF4-FFF2-40B4-BE49-F238E27FC236}">
                  <a16:creationId xmlns:a16="http://schemas.microsoft.com/office/drawing/2014/main" id="{4DEB648D-ADDF-484A-8C8F-CEF35D7D6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" y="2229"/>
              <a:ext cx="50" cy="15"/>
            </a:xfrm>
            <a:custGeom>
              <a:avLst/>
              <a:gdLst>
                <a:gd name="T0" fmla="*/ 20 w 20"/>
                <a:gd name="T1" fmla="*/ 5 h 6"/>
                <a:gd name="T2" fmla="*/ 10 w 20"/>
                <a:gd name="T3" fmla="*/ 0 h 6"/>
                <a:gd name="T4" fmla="*/ 0 w 20"/>
                <a:gd name="T5" fmla="*/ 5 h 6"/>
                <a:gd name="T6" fmla="*/ 1 w 20"/>
                <a:gd name="T7" fmla="*/ 6 h 6"/>
                <a:gd name="T8" fmla="*/ 10 w 20"/>
                <a:gd name="T9" fmla="*/ 1 h 6"/>
                <a:gd name="T10" fmla="*/ 20 w 20"/>
                <a:gd name="T11" fmla="*/ 6 h 6"/>
                <a:gd name="T12" fmla="*/ 2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20" y="5"/>
                  </a:moveTo>
                  <a:cubicBezTo>
                    <a:pt x="18" y="2"/>
                    <a:pt x="14" y="0"/>
                    <a:pt x="10" y="0"/>
                  </a:cubicBezTo>
                  <a:cubicBezTo>
                    <a:pt x="6" y="0"/>
                    <a:pt x="2" y="2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6" y="1"/>
                    <a:pt x="10" y="1"/>
                  </a:cubicBezTo>
                  <a:cubicBezTo>
                    <a:pt x="14" y="1"/>
                    <a:pt x="17" y="3"/>
                    <a:pt x="20" y="6"/>
                  </a:cubicBezTo>
                  <a:cubicBezTo>
                    <a:pt x="20" y="5"/>
                    <a:pt x="20" y="5"/>
                    <a:pt x="20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4" name="Rectangle 1790">
              <a:extLst>
                <a:ext uri="{FF2B5EF4-FFF2-40B4-BE49-F238E27FC236}">
                  <a16:creationId xmlns:a16="http://schemas.microsoft.com/office/drawing/2014/main" id="{C265AB6D-B1D9-4B4A-831A-29B250A16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" y="2282"/>
              <a:ext cx="25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5" name="Rectangle 1791">
              <a:extLst>
                <a:ext uri="{FF2B5EF4-FFF2-40B4-BE49-F238E27FC236}">
                  <a16:creationId xmlns:a16="http://schemas.microsoft.com/office/drawing/2014/main" id="{C887A6FA-8E10-42FD-8FED-CDDEB1A91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2" y="2282"/>
              <a:ext cx="25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6" name="Rectangle 1792">
              <a:extLst>
                <a:ext uri="{FF2B5EF4-FFF2-40B4-BE49-F238E27FC236}">
                  <a16:creationId xmlns:a16="http://schemas.microsoft.com/office/drawing/2014/main" id="{E2D7480B-6911-4FB8-B00F-F869F897A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7" y="2282"/>
              <a:ext cx="26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7" name="Freeform 1793">
              <a:extLst>
                <a:ext uri="{FF2B5EF4-FFF2-40B4-BE49-F238E27FC236}">
                  <a16:creationId xmlns:a16="http://schemas.microsoft.com/office/drawing/2014/main" id="{DEDE465C-DC3B-4F86-8648-54323D76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2201"/>
              <a:ext cx="48" cy="66"/>
            </a:xfrm>
            <a:custGeom>
              <a:avLst/>
              <a:gdLst>
                <a:gd name="T0" fmla="*/ 16 w 19"/>
                <a:gd name="T1" fmla="*/ 26 h 26"/>
                <a:gd name="T2" fmla="*/ 3 w 19"/>
                <a:gd name="T3" fmla="*/ 26 h 26"/>
                <a:gd name="T4" fmla="*/ 0 w 19"/>
                <a:gd name="T5" fmla="*/ 23 h 26"/>
                <a:gd name="T6" fmla="*/ 0 w 19"/>
                <a:gd name="T7" fmla="*/ 3 h 26"/>
                <a:gd name="T8" fmla="*/ 3 w 19"/>
                <a:gd name="T9" fmla="*/ 0 h 26"/>
                <a:gd name="T10" fmla="*/ 16 w 19"/>
                <a:gd name="T11" fmla="*/ 0 h 26"/>
                <a:gd name="T12" fmla="*/ 19 w 19"/>
                <a:gd name="T13" fmla="*/ 3 h 26"/>
                <a:gd name="T14" fmla="*/ 19 w 19"/>
                <a:gd name="T15" fmla="*/ 23 h 26"/>
                <a:gd name="T16" fmla="*/ 16 w 1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6">
                  <a:moveTo>
                    <a:pt x="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8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8" name="Freeform 1794">
              <a:extLst>
                <a:ext uri="{FF2B5EF4-FFF2-40B4-BE49-F238E27FC236}">
                  <a16:creationId xmlns:a16="http://schemas.microsoft.com/office/drawing/2014/main" id="{58E03FBA-0753-4279-96FA-CC875F4D4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2201"/>
              <a:ext cx="48" cy="66"/>
            </a:xfrm>
            <a:custGeom>
              <a:avLst/>
              <a:gdLst>
                <a:gd name="T0" fmla="*/ 16 w 19"/>
                <a:gd name="T1" fmla="*/ 26 h 26"/>
                <a:gd name="T2" fmla="*/ 16 w 19"/>
                <a:gd name="T3" fmla="*/ 25 h 26"/>
                <a:gd name="T4" fmla="*/ 3 w 19"/>
                <a:gd name="T5" fmla="*/ 25 h 26"/>
                <a:gd name="T6" fmla="*/ 1 w 19"/>
                <a:gd name="T7" fmla="*/ 23 h 26"/>
                <a:gd name="T8" fmla="*/ 1 w 19"/>
                <a:gd name="T9" fmla="*/ 3 h 26"/>
                <a:gd name="T10" fmla="*/ 3 w 19"/>
                <a:gd name="T11" fmla="*/ 0 h 26"/>
                <a:gd name="T12" fmla="*/ 16 w 19"/>
                <a:gd name="T13" fmla="*/ 0 h 26"/>
                <a:gd name="T14" fmla="*/ 18 w 19"/>
                <a:gd name="T15" fmla="*/ 3 h 26"/>
                <a:gd name="T16" fmla="*/ 18 w 19"/>
                <a:gd name="T17" fmla="*/ 23 h 26"/>
                <a:gd name="T18" fmla="*/ 16 w 19"/>
                <a:gd name="T19" fmla="*/ 25 h 26"/>
                <a:gd name="T20" fmla="*/ 16 w 19"/>
                <a:gd name="T21" fmla="*/ 26 h 26"/>
                <a:gd name="T22" fmla="*/ 16 w 19"/>
                <a:gd name="T23" fmla="*/ 26 h 26"/>
                <a:gd name="T24" fmla="*/ 19 w 19"/>
                <a:gd name="T25" fmla="*/ 23 h 26"/>
                <a:gd name="T26" fmla="*/ 19 w 19"/>
                <a:gd name="T27" fmla="*/ 3 h 26"/>
                <a:gd name="T28" fmla="*/ 16 w 19"/>
                <a:gd name="T29" fmla="*/ 0 h 26"/>
                <a:gd name="T30" fmla="*/ 3 w 19"/>
                <a:gd name="T31" fmla="*/ 0 h 26"/>
                <a:gd name="T32" fmla="*/ 0 w 19"/>
                <a:gd name="T33" fmla="*/ 3 h 26"/>
                <a:gd name="T34" fmla="*/ 0 w 19"/>
                <a:gd name="T35" fmla="*/ 23 h 26"/>
                <a:gd name="T36" fmla="*/ 3 w 19"/>
                <a:gd name="T37" fmla="*/ 26 h 26"/>
                <a:gd name="T38" fmla="*/ 16 w 19"/>
                <a:gd name="T3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26">
                  <a:moveTo>
                    <a:pt x="16" y="26"/>
                  </a:moveTo>
                  <a:cubicBezTo>
                    <a:pt x="16" y="25"/>
                    <a:pt x="16" y="25"/>
                    <a:pt x="1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1" y="24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2"/>
                    <a:pt x="18" y="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4"/>
                    <a:pt x="17" y="25"/>
                    <a:pt x="16" y="25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8" y="26"/>
                    <a:pt x="19" y="25"/>
                    <a:pt x="19" y="2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18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1" y="26"/>
                    <a:pt x="3" y="26"/>
                  </a:cubicBezTo>
                  <a:cubicBezTo>
                    <a:pt x="16" y="26"/>
                    <a:pt x="16" y="26"/>
                    <a:pt x="16" y="2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9" name="Rectangle 1795">
              <a:extLst>
                <a:ext uri="{FF2B5EF4-FFF2-40B4-BE49-F238E27FC236}">
                  <a16:creationId xmlns:a16="http://schemas.microsoft.com/office/drawing/2014/main" id="{4E010473-EB0A-47F5-9F4F-1C6ED8483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1" y="2267"/>
              <a:ext cx="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0" name="Freeform 1796">
              <a:extLst>
                <a:ext uri="{FF2B5EF4-FFF2-40B4-BE49-F238E27FC236}">
                  <a16:creationId xmlns:a16="http://schemas.microsoft.com/office/drawing/2014/main" id="{ABF1D6C7-670B-4621-BADB-A43765FC0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1" y="2267"/>
              <a:ext cx="8" cy="28"/>
            </a:xfrm>
            <a:custGeom>
              <a:avLst/>
              <a:gdLst>
                <a:gd name="T0" fmla="*/ 8 w 8"/>
                <a:gd name="T1" fmla="*/ 28 h 28"/>
                <a:gd name="T2" fmla="*/ 8 w 8"/>
                <a:gd name="T3" fmla="*/ 0 h 28"/>
                <a:gd name="T4" fmla="*/ 0 w 8"/>
                <a:gd name="T5" fmla="*/ 0 h 28"/>
                <a:gd name="T6" fmla="*/ 0 w 8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8" y="2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1" name="Freeform 1797">
              <a:extLst>
                <a:ext uri="{FF2B5EF4-FFF2-40B4-BE49-F238E27FC236}">
                  <a16:creationId xmlns:a16="http://schemas.microsoft.com/office/drawing/2014/main" id="{2B187344-CDC6-465C-BAF5-386118C6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2267"/>
              <a:ext cx="11" cy="28"/>
            </a:xfrm>
            <a:custGeom>
              <a:avLst/>
              <a:gdLst>
                <a:gd name="T0" fmla="*/ 11 w 11"/>
                <a:gd name="T1" fmla="*/ 28 h 28"/>
                <a:gd name="T2" fmla="*/ 11 w 11"/>
                <a:gd name="T3" fmla="*/ 0 h 28"/>
                <a:gd name="T4" fmla="*/ 0 w 11"/>
                <a:gd name="T5" fmla="*/ 0 h 28"/>
                <a:gd name="T6" fmla="*/ 0 w 11"/>
                <a:gd name="T7" fmla="*/ 28 h 28"/>
                <a:gd name="T8" fmla="*/ 3 w 11"/>
                <a:gd name="T9" fmla="*/ 28 h 28"/>
                <a:gd name="T10" fmla="*/ 3 w 11"/>
                <a:gd name="T11" fmla="*/ 2 h 28"/>
                <a:gd name="T12" fmla="*/ 8 w 11"/>
                <a:gd name="T13" fmla="*/ 2 h 28"/>
                <a:gd name="T14" fmla="*/ 8 w 11"/>
                <a:gd name="T15" fmla="*/ 28 h 28"/>
                <a:gd name="T16" fmla="*/ 11 w 11"/>
                <a:gd name="T17" fmla="*/ 28 h 28"/>
                <a:gd name="T18" fmla="*/ 11 w 11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8">
                  <a:moveTo>
                    <a:pt x="11" y="28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28"/>
                  </a:lnTo>
                  <a:lnTo>
                    <a:pt x="11" y="28"/>
                  </a:lnTo>
                  <a:lnTo>
                    <a:pt x="11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2" name="Freeform 1798">
              <a:extLst>
                <a:ext uri="{FF2B5EF4-FFF2-40B4-BE49-F238E27FC236}">
                  <a16:creationId xmlns:a16="http://schemas.microsoft.com/office/drawing/2014/main" id="{4C472BD1-23E6-49EA-B28E-6AB1963FA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" y="2209"/>
              <a:ext cx="36" cy="43"/>
            </a:xfrm>
            <a:custGeom>
              <a:avLst/>
              <a:gdLst>
                <a:gd name="T0" fmla="*/ 33 w 36"/>
                <a:gd name="T1" fmla="*/ 43 h 43"/>
                <a:gd name="T2" fmla="*/ 33 w 36"/>
                <a:gd name="T3" fmla="*/ 40 h 43"/>
                <a:gd name="T4" fmla="*/ 3 w 36"/>
                <a:gd name="T5" fmla="*/ 40 h 43"/>
                <a:gd name="T6" fmla="*/ 3 w 36"/>
                <a:gd name="T7" fmla="*/ 2 h 43"/>
                <a:gd name="T8" fmla="*/ 33 w 36"/>
                <a:gd name="T9" fmla="*/ 2 h 43"/>
                <a:gd name="T10" fmla="*/ 33 w 36"/>
                <a:gd name="T11" fmla="*/ 43 h 43"/>
                <a:gd name="T12" fmla="*/ 33 w 36"/>
                <a:gd name="T13" fmla="*/ 43 h 43"/>
                <a:gd name="T14" fmla="*/ 33 w 36"/>
                <a:gd name="T15" fmla="*/ 40 h 43"/>
                <a:gd name="T16" fmla="*/ 33 w 36"/>
                <a:gd name="T17" fmla="*/ 43 h 43"/>
                <a:gd name="T18" fmla="*/ 36 w 36"/>
                <a:gd name="T19" fmla="*/ 43 h 43"/>
                <a:gd name="T20" fmla="*/ 36 w 36"/>
                <a:gd name="T21" fmla="*/ 0 h 43"/>
                <a:gd name="T22" fmla="*/ 0 w 36"/>
                <a:gd name="T23" fmla="*/ 0 h 43"/>
                <a:gd name="T24" fmla="*/ 0 w 36"/>
                <a:gd name="T25" fmla="*/ 43 h 43"/>
                <a:gd name="T26" fmla="*/ 36 w 36"/>
                <a:gd name="T27" fmla="*/ 43 h 43"/>
                <a:gd name="T28" fmla="*/ 36 w 36"/>
                <a:gd name="T29" fmla="*/ 43 h 43"/>
                <a:gd name="T30" fmla="*/ 33 w 36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43">
                  <a:moveTo>
                    <a:pt x="33" y="43"/>
                  </a:moveTo>
                  <a:lnTo>
                    <a:pt x="33" y="40"/>
                  </a:lnTo>
                  <a:lnTo>
                    <a:pt x="3" y="40"/>
                  </a:lnTo>
                  <a:lnTo>
                    <a:pt x="3" y="2"/>
                  </a:lnTo>
                  <a:lnTo>
                    <a:pt x="33" y="2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3" name="Rectangle 1799">
              <a:extLst>
                <a:ext uri="{FF2B5EF4-FFF2-40B4-BE49-F238E27FC236}">
                  <a16:creationId xmlns:a16="http://schemas.microsoft.com/office/drawing/2014/main" id="{22F10FD6-B5B0-4DEC-BD6D-AB02E6AAF8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8" y="2242"/>
              <a:ext cx="33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4" name="Freeform 1800">
              <a:extLst>
                <a:ext uri="{FF2B5EF4-FFF2-40B4-BE49-F238E27FC236}">
                  <a16:creationId xmlns:a16="http://schemas.microsoft.com/office/drawing/2014/main" id="{9743503D-14BD-4CC9-97B6-9AD9F3588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" y="2242"/>
              <a:ext cx="33" cy="0"/>
            </a:xfrm>
            <a:custGeom>
              <a:avLst/>
              <a:gdLst>
                <a:gd name="T0" fmla="*/ 0 w 33"/>
                <a:gd name="T1" fmla="*/ 33 w 33"/>
                <a:gd name="T2" fmla="*/ 33 w 33"/>
                <a:gd name="T3" fmla="*/ 0 w 3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3">
                  <a:moveTo>
                    <a:pt x="0" y="0"/>
                  </a:moveTo>
                  <a:lnTo>
                    <a:pt x="33" y="0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5" name="Rectangle 1801">
              <a:extLst>
                <a:ext uri="{FF2B5EF4-FFF2-40B4-BE49-F238E27FC236}">
                  <a16:creationId xmlns:a16="http://schemas.microsoft.com/office/drawing/2014/main" id="{11B67ADF-B645-4B93-A7B3-BA767FCAE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6" y="2244"/>
              <a:ext cx="15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6" name="Freeform 1802">
              <a:extLst>
                <a:ext uri="{FF2B5EF4-FFF2-40B4-BE49-F238E27FC236}">
                  <a16:creationId xmlns:a16="http://schemas.microsoft.com/office/drawing/2014/main" id="{6FD0658A-19A4-4205-8B31-9FF74168E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" y="2244"/>
              <a:ext cx="15" cy="3"/>
            </a:xfrm>
            <a:custGeom>
              <a:avLst/>
              <a:gdLst>
                <a:gd name="T0" fmla="*/ 0 w 15"/>
                <a:gd name="T1" fmla="*/ 3 h 3"/>
                <a:gd name="T2" fmla="*/ 15 w 15"/>
                <a:gd name="T3" fmla="*/ 3 h 3"/>
                <a:gd name="T4" fmla="*/ 15 w 15"/>
                <a:gd name="T5" fmla="*/ 0 h 3"/>
                <a:gd name="T6" fmla="*/ 0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0" y="3"/>
                  </a:move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7" name="Freeform 1803">
              <a:extLst>
                <a:ext uri="{FF2B5EF4-FFF2-40B4-BE49-F238E27FC236}">
                  <a16:creationId xmlns:a16="http://schemas.microsoft.com/office/drawing/2014/main" id="{21163792-0B6E-4509-9FB2-BF7CEBD9C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2201"/>
              <a:ext cx="48" cy="66"/>
            </a:xfrm>
            <a:custGeom>
              <a:avLst/>
              <a:gdLst>
                <a:gd name="T0" fmla="*/ 16 w 19"/>
                <a:gd name="T1" fmla="*/ 26 h 26"/>
                <a:gd name="T2" fmla="*/ 3 w 19"/>
                <a:gd name="T3" fmla="*/ 26 h 26"/>
                <a:gd name="T4" fmla="*/ 0 w 19"/>
                <a:gd name="T5" fmla="*/ 23 h 26"/>
                <a:gd name="T6" fmla="*/ 0 w 19"/>
                <a:gd name="T7" fmla="*/ 3 h 26"/>
                <a:gd name="T8" fmla="*/ 3 w 19"/>
                <a:gd name="T9" fmla="*/ 0 h 26"/>
                <a:gd name="T10" fmla="*/ 16 w 19"/>
                <a:gd name="T11" fmla="*/ 0 h 26"/>
                <a:gd name="T12" fmla="*/ 19 w 19"/>
                <a:gd name="T13" fmla="*/ 3 h 26"/>
                <a:gd name="T14" fmla="*/ 19 w 19"/>
                <a:gd name="T15" fmla="*/ 23 h 26"/>
                <a:gd name="T16" fmla="*/ 16 w 1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6">
                  <a:moveTo>
                    <a:pt x="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5"/>
                    <a:pt x="17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8" name="Freeform 1804">
              <a:extLst>
                <a:ext uri="{FF2B5EF4-FFF2-40B4-BE49-F238E27FC236}">
                  <a16:creationId xmlns:a16="http://schemas.microsoft.com/office/drawing/2014/main" id="{FDFD5D96-F5D8-41AF-B382-599F2AF2C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" y="2201"/>
              <a:ext cx="51" cy="66"/>
            </a:xfrm>
            <a:custGeom>
              <a:avLst/>
              <a:gdLst>
                <a:gd name="T0" fmla="*/ 17 w 20"/>
                <a:gd name="T1" fmla="*/ 26 h 26"/>
                <a:gd name="T2" fmla="*/ 17 w 20"/>
                <a:gd name="T3" fmla="*/ 25 h 26"/>
                <a:gd name="T4" fmla="*/ 4 w 20"/>
                <a:gd name="T5" fmla="*/ 25 h 26"/>
                <a:gd name="T6" fmla="*/ 1 w 20"/>
                <a:gd name="T7" fmla="*/ 23 h 26"/>
                <a:gd name="T8" fmla="*/ 1 w 20"/>
                <a:gd name="T9" fmla="*/ 3 h 26"/>
                <a:gd name="T10" fmla="*/ 4 w 20"/>
                <a:gd name="T11" fmla="*/ 0 h 26"/>
                <a:gd name="T12" fmla="*/ 17 w 20"/>
                <a:gd name="T13" fmla="*/ 0 h 26"/>
                <a:gd name="T14" fmla="*/ 19 w 20"/>
                <a:gd name="T15" fmla="*/ 3 h 26"/>
                <a:gd name="T16" fmla="*/ 19 w 20"/>
                <a:gd name="T17" fmla="*/ 23 h 26"/>
                <a:gd name="T18" fmla="*/ 17 w 20"/>
                <a:gd name="T19" fmla="*/ 25 h 26"/>
                <a:gd name="T20" fmla="*/ 17 w 20"/>
                <a:gd name="T21" fmla="*/ 26 h 26"/>
                <a:gd name="T22" fmla="*/ 17 w 20"/>
                <a:gd name="T23" fmla="*/ 26 h 26"/>
                <a:gd name="T24" fmla="*/ 20 w 20"/>
                <a:gd name="T25" fmla="*/ 23 h 26"/>
                <a:gd name="T26" fmla="*/ 20 w 20"/>
                <a:gd name="T27" fmla="*/ 3 h 26"/>
                <a:gd name="T28" fmla="*/ 17 w 20"/>
                <a:gd name="T29" fmla="*/ 0 h 26"/>
                <a:gd name="T30" fmla="*/ 4 w 20"/>
                <a:gd name="T31" fmla="*/ 0 h 26"/>
                <a:gd name="T32" fmla="*/ 0 w 20"/>
                <a:gd name="T33" fmla="*/ 3 h 26"/>
                <a:gd name="T34" fmla="*/ 0 w 20"/>
                <a:gd name="T35" fmla="*/ 23 h 26"/>
                <a:gd name="T36" fmla="*/ 4 w 20"/>
                <a:gd name="T37" fmla="*/ 26 h 26"/>
                <a:gd name="T38" fmla="*/ 17 w 20"/>
                <a:gd name="T3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6">
                  <a:moveTo>
                    <a:pt x="17" y="26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1" y="24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2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4"/>
                    <a:pt x="18" y="25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20" y="25"/>
                    <a:pt x="20" y="2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2" y="26"/>
                    <a:pt x="4" y="26"/>
                  </a:cubicBezTo>
                  <a:cubicBezTo>
                    <a:pt x="17" y="26"/>
                    <a:pt x="17" y="26"/>
                    <a:pt x="17" y="2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9" name="Rectangle 1805">
              <a:extLst>
                <a:ext uri="{FF2B5EF4-FFF2-40B4-BE49-F238E27FC236}">
                  <a16:creationId xmlns:a16="http://schemas.microsoft.com/office/drawing/2014/main" id="{A3C9F1CC-5F6D-4AE5-A602-73D6BFD120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7" y="2267"/>
              <a:ext cx="7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0" name="Freeform 1806">
              <a:extLst>
                <a:ext uri="{FF2B5EF4-FFF2-40B4-BE49-F238E27FC236}">
                  <a16:creationId xmlns:a16="http://schemas.microsoft.com/office/drawing/2014/main" id="{3F5FD0E8-E02B-48F0-A9C5-A67271F04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7" y="2267"/>
              <a:ext cx="7" cy="28"/>
            </a:xfrm>
            <a:custGeom>
              <a:avLst/>
              <a:gdLst>
                <a:gd name="T0" fmla="*/ 7 w 7"/>
                <a:gd name="T1" fmla="*/ 28 h 28"/>
                <a:gd name="T2" fmla="*/ 7 w 7"/>
                <a:gd name="T3" fmla="*/ 0 h 28"/>
                <a:gd name="T4" fmla="*/ 0 w 7"/>
                <a:gd name="T5" fmla="*/ 0 h 28"/>
                <a:gd name="T6" fmla="*/ 0 w 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8">
                  <a:moveTo>
                    <a:pt x="7" y="28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1" name="Freeform 1807">
              <a:extLst>
                <a:ext uri="{FF2B5EF4-FFF2-40B4-BE49-F238E27FC236}">
                  <a16:creationId xmlns:a16="http://schemas.microsoft.com/office/drawing/2014/main" id="{43C2D85B-77F2-4F1F-A3EF-9A93A1712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7" y="2267"/>
              <a:ext cx="10" cy="28"/>
            </a:xfrm>
            <a:custGeom>
              <a:avLst/>
              <a:gdLst>
                <a:gd name="T0" fmla="*/ 10 w 10"/>
                <a:gd name="T1" fmla="*/ 28 h 28"/>
                <a:gd name="T2" fmla="*/ 10 w 10"/>
                <a:gd name="T3" fmla="*/ 0 h 28"/>
                <a:gd name="T4" fmla="*/ 0 w 10"/>
                <a:gd name="T5" fmla="*/ 0 h 28"/>
                <a:gd name="T6" fmla="*/ 0 w 10"/>
                <a:gd name="T7" fmla="*/ 28 h 28"/>
                <a:gd name="T8" fmla="*/ 2 w 10"/>
                <a:gd name="T9" fmla="*/ 28 h 28"/>
                <a:gd name="T10" fmla="*/ 2 w 10"/>
                <a:gd name="T11" fmla="*/ 2 h 28"/>
                <a:gd name="T12" fmla="*/ 7 w 10"/>
                <a:gd name="T13" fmla="*/ 2 h 28"/>
                <a:gd name="T14" fmla="*/ 7 w 10"/>
                <a:gd name="T15" fmla="*/ 28 h 28"/>
                <a:gd name="T16" fmla="*/ 10 w 10"/>
                <a:gd name="T17" fmla="*/ 28 h 28"/>
                <a:gd name="T18" fmla="*/ 10 w 1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8">
                  <a:moveTo>
                    <a:pt x="10" y="28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"/>
                  </a:lnTo>
                  <a:lnTo>
                    <a:pt x="7" y="2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2" name="Freeform 1808">
              <a:extLst>
                <a:ext uri="{FF2B5EF4-FFF2-40B4-BE49-F238E27FC236}">
                  <a16:creationId xmlns:a16="http://schemas.microsoft.com/office/drawing/2014/main" id="{EC864A28-5579-4333-94FD-F6EF43036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4" y="2209"/>
              <a:ext cx="35" cy="43"/>
            </a:xfrm>
            <a:custGeom>
              <a:avLst/>
              <a:gdLst>
                <a:gd name="T0" fmla="*/ 35 w 35"/>
                <a:gd name="T1" fmla="*/ 43 h 43"/>
                <a:gd name="T2" fmla="*/ 35 w 35"/>
                <a:gd name="T3" fmla="*/ 40 h 43"/>
                <a:gd name="T4" fmla="*/ 2 w 35"/>
                <a:gd name="T5" fmla="*/ 40 h 43"/>
                <a:gd name="T6" fmla="*/ 2 w 35"/>
                <a:gd name="T7" fmla="*/ 2 h 43"/>
                <a:gd name="T8" fmla="*/ 33 w 35"/>
                <a:gd name="T9" fmla="*/ 2 h 43"/>
                <a:gd name="T10" fmla="*/ 33 w 35"/>
                <a:gd name="T11" fmla="*/ 43 h 43"/>
                <a:gd name="T12" fmla="*/ 35 w 35"/>
                <a:gd name="T13" fmla="*/ 43 h 43"/>
                <a:gd name="T14" fmla="*/ 35 w 35"/>
                <a:gd name="T15" fmla="*/ 40 h 43"/>
                <a:gd name="T16" fmla="*/ 35 w 35"/>
                <a:gd name="T17" fmla="*/ 43 h 43"/>
                <a:gd name="T18" fmla="*/ 35 w 35"/>
                <a:gd name="T19" fmla="*/ 43 h 43"/>
                <a:gd name="T20" fmla="*/ 35 w 35"/>
                <a:gd name="T21" fmla="*/ 0 h 43"/>
                <a:gd name="T22" fmla="*/ 0 w 35"/>
                <a:gd name="T23" fmla="*/ 0 h 43"/>
                <a:gd name="T24" fmla="*/ 0 w 35"/>
                <a:gd name="T25" fmla="*/ 43 h 43"/>
                <a:gd name="T26" fmla="*/ 35 w 35"/>
                <a:gd name="T27" fmla="*/ 43 h 43"/>
                <a:gd name="T28" fmla="*/ 35 w 35"/>
                <a:gd name="T29" fmla="*/ 43 h 43"/>
                <a:gd name="T30" fmla="*/ 35 w 35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43">
                  <a:moveTo>
                    <a:pt x="35" y="43"/>
                  </a:moveTo>
                  <a:lnTo>
                    <a:pt x="35" y="40"/>
                  </a:lnTo>
                  <a:lnTo>
                    <a:pt x="2" y="40"/>
                  </a:lnTo>
                  <a:lnTo>
                    <a:pt x="2" y="2"/>
                  </a:lnTo>
                  <a:lnTo>
                    <a:pt x="33" y="2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40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3" name="Rectangle 1809">
              <a:extLst>
                <a:ext uri="{FF2B5EF4-FFF2-40B4-BE49-F238E27FC236}">
                  <a16:creationId xmlns:a16="http://schemas.microsoft.com/office/drawing/2014/main" id="{0EE36B42-9D6C-43CA-B722-8553186A7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6" y="2242"/>
              <a:ext cx="33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4" name="Freeform 1810">
              <a:extLst>
                <a:ext uri="{FF2B5EF4-FFF2-40B4-BE49-F238E27FC236}">
                  <a16:creationId xmlns:a16="http://schemas.microsoft.com/office/drawing/2014/main" id="{4F835078-35E6-4ACE-AE29-42CADD887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6" y="2242"/>
              <a:ext cx="33" cy="0"/>
            </a:xfrm>
            <a:custGeom>
              <a:avLst/>
              <a:gdLst>
                <a:gd name="T0" fmla="*/ 0 w 33"/>
                <a:gd name="T1" fmla="*/ 33 w 33"/>
                <a:gd name="T2" fmla="*/ 33 w 33"/>
                <a:gd name="T3" fmla="*/ 0 w 3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3">
                  <a:moveTo>
                    <a:pt x="0" y="0"/>
                  </a:moveTo>
                  <a:lnTo>
                    <a:pt x="33" y="0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5" name="Rectangle 1811">
              <a:extLst>
                <a:ext uri="{FF2B5EF4-FFF2-40B4-BE49-F238E27FC236}">
                  <a16:creationId xmlns:a16="http://schemas.microsoft.com/office/drawing/2014/main" id="{6F23AB5F-B428-46EA-ADD4-5AE7429DF2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2244"/>
              <a:ext cx="15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6" name="Freeform 1812">
              <a:extLst>
                <a:ext uri="{FF2B5EF4-FFF2-40B4-BE49-F238E27FC236}">
                  <a16:creationId xmlns:a16="http://schemas.microsoft.com/office/drawing/2014/main" id="{96AA7867-9E7E-460C-846B-AC3C347B2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4" y="2244"/>
              <a:ext cx="15" cy="3"/>
            </a:xfrm>
            <a:custGeom>
              <a:avLst/>
              <a:gdLst>
                <a:gd name="T0" fmla="*/ 0 w 15"/>
                <a:gd name="T1" fmla="*/ 3 h 3"/>
                <a:gd name="T2" fmla="*/ 15 w 15"/>
                <a:gd name="T3" fmla="*/ 3 h 3"/>
                <a:gd name="T4" fmla="*/ 15 w 15"/>
                <a:gd name="T5" fmla="*/ 0 h 3"/>
                <a:gd name="T6" fmla="*/ 0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0" y="3"/>
                  </a:move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41" name="Group 2014">
            <a:extLst>
              <a:ext uri="{FF2B5EF4-FFF2-40B4-BE49-F238E27FC236}">
                <a16:creationId xmlns:a16="http://schemas.microsoft.com/office/drawing/2014/main" id="{7B29CD8C-D7A4-46DF-895E-7E88AD5648B8}"/>
              </a:ext>
            </a:extLst>
          </p:cNvPr>
          <p:cNvGrpSpPr>
            <a:grpSpLocks/>
          </p:cNvGrpSpPr>
          <p:nvPr/>
        </p:nvGrpSpPr>
        <p:grpSpPr bwMode="auto">
          <a:xfrm>
            <a:off x="4421442" y="2772210"/>
            <a:ext cx="3189031" cy="1369863"/>
            <a:chOff x="2645" y="1726"/>
            <a:chExt cx="1441" cy="619"/>
          </a:xfrm>
        </p:grpSpPr>
        <p:sp>
          <p:nvSpPr>
            <p:cNvPr id="537" name="Freeform 1814">
              <a:extLst>
                <a:ext uri="{FF2B5EF4-FFF2-40B4-BE49-F238E27FC236}">
                  <a16:creationId xmlns:a16="http://schemas.microsoft.com/office/drawing/2014/main" id="{D05CE958-57F3-422E-8EBE-0452123D7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" y="2201"/>
              <a:ext cx="46" cy="66"/>
            </a:xfrm>
            <a:custGeom>
              <a:avLst/>
              <a:gdLst>
                <a:gd name="T0" fmla="*/ 15 w 18"/>
                <a:gd name="T1" fmla="*/ 26 h 26"/>
                <a:gd name="T2" fmla="*/ 2 w 18"/>
                <a:gd name="T3" fmla="*/ 26 h 26"/>
                <a:gd name="T4" fmla="*/ 0 w 18"/>
                <a:gd name="T5" fmla="*/ 23 h 26"/>
                <a:gd name="T6" fmla="*/ 0 w 18"/>
                <a:gd name="T7" fmla="*/ 3 h 26"/>
                <a:gd name="T8" fmla="*/ 2 w 18"/>
                <a:gd name="T9" fmla="*/ 0 h 26"/>
                <a:gd name="T10" fmla="*/ 15 w 18"/>
                <a:gd name="T11" fmla="*/ 0 h 26"/>
                <a:gd name="T12" fmla="*/ 18 w 18"/>
                <a:gd name="T13" fmla="*/ 3 h 26"/>
                <a:gd name="T14" fmla="*/ 18 w 18"/>
                <a:gd name="T15" fmla="*/ 23 h 26"/>
                <a:gd name="T16" fmla="*/ 15 w 18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6">
                  <a:moveTo>
                    <a:pt x="15" y="26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8" y="1"/>
                    <a:pt x="18" y="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5"/>
                    <a:pt x="17" y="26"/>
                    <a:pt x="15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8" name="Freeform 1815">
              <a:extLst>
                <a:ext uri="{FF2B5EF4-FFF2-40B4-BE49-F238E27FC236}">
                  <a16:creationId xmlns:a16="http://schemas.microsoft.com/office/drawing/2014/main" id="{E59705FE-F871-463C-90C5-F16DDFD76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" y="2201"/>
              <a:ext cx="51" cy="66"/>
            </a:xfrm>
            <a:custGeom>
              <a:avLst/>
              <a:gdLst>
                <a:gd name="T0" fmla="*/ 16 w 20"/>
                <a:gd name="T1" fmla="*/ 26 h 26"/>
                <a:gd name="T2" fmla="*/ 16 w 20"/>
                <a:gd name="T3" fmla="*/ 25 h 26"/>
                <a:gd name="T4" fmla="*/ 3 w 20"/>
                <a:gd name="T5" fmla="*/ 25 h 26"/>
                <a:gd name="T6" fmla="*/ 1 w 20"/>
                <a:gd name="T7" fmla="*/ 23 h 26"/>
                <a:gd name="T8" fmla="*/ 1 w 20"/>
                <a:gd name="T9" fmla="*/ 3 h 26"/>
                <a:gd name="T10" fmla="*/ 3 w 20"/>
                <a:gd name="T11" fmla="*/ 0 h 26"/>
                <a:gd name="T12" fmla="*/ 16 w 20"/>
                <a:gd name="T13" fmla="*/ 0 h 26"/>
                <a:gd name="T14" fmla="*/ 19 w 20"/>
                <a:gd name="T15" fmla="*/ 3 h 26"/>
                <a:gd name="T16" fmla="*/ 19 w 20"/>
                <a:gd name="T17" fmla="*/ 23 h 26"/>
                <a:gd name="T18" fmla="*/ 16 w 20"/>
                <a:gd name="T19" fmla="*/ 25 h 26"/>
                <a:gd name="T20" fmla="*/ 16 w 20"/>
                <a:gd name="T21" fmla="*/ 26 h 26"/>
                <a:gd name="T22" fmla="*/ 16 w 20"/>
                <a:gd name="T23" fmla="*/ 26 h 26"/>
                <a:gd name="T24" fmla="*/ 20 w 20"/>
                <a:gd name="T25" fmla="*/ 23 h 26"/>
                <a:gd name="T26" fmla="*/ 20 w 20"/>
                <a:gd name="T27" fmla="*/ 3 h 26"/>
                <a:gd name="T28" fmla="*/ 16 w 20"/>
                <a:gd name="T29" fmla="*/ 0 h 26"/>
                <a:gd name="T30" fmla="*/ 3 w 20"/>
                <a:gd name="T31" fmla="*/ 0 h 26"/>
                <a:gd name="T32" fmla="*/ 0 w 20"/>
                <a:gd name="T33" fmla="*/ 3 h 26"/>
                <a:gd name="T34" fmla="*/ 0 w 20"/>
                <a:gd name="T35" fmla="*/ 23 h 26"/>
                <a:gd name="T36" fmla="*/ 3 w 20"/>
                <a:gd name="T37" fmla="*/ 26 h 26"/>
                <a:gd name="T38" fmla="*/ 16 w 20"/>
                <a:gd name="T3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6">
                  <a:moveTo>
                    <a:pt x="16" y="26"/>
                  </a:moveTo>
                  <a:cubicBezTo>
                    <a:pt x="16" y="25"/>
                    <a:pt x="16" y="25"/>
                    <a:pt x="1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1" y="24"/>
                    <a:pt x="1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2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4"/>
                    <a:pt x="18" y="25"/>
                    <a:pt x="16" y="25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8" y="26"/>
                    <a:pt x="20" y="25"/>
                    <a:pt x="20" y="2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2" y="26"/>
                    <a:pt x="3" y="26"/>
                  </a:cubicBezTo>
                  <a:cubicBezTo>
                    <a:pt x="16" y="26"/>
                    <a:pt x="16" y="26"/>
                    <a:pt x="16" y="2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9" name="Rectangle 1816">
              <a:extLst>
                <a:ext uri="{FF2B5EF4-FFF2-40B4-BE49-F238E27FC236}">
                  <a16:creationId xmlns:a16="http://schemas.microsoft.com/office/drawing/2014/main" id="{B5EFEFF6-A0A0-42F1-BDB4-8A81B86AE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2267"/>
              <a:ext cx="7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0" name="Freeform 1817">
              <a:extLst>
                <a:ext uri="{FF2B5EF4-FFF2-40B4-BE49-F238E27FC236}">
                  <a16:creationId xmlns:a16="http://schemas.microsoft.com/office/drawing/2014/main" id="{25D52C50-990A-4873-9ADB-A2AE38B4E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2267"/>
              <a:ext cx="7" cy="28"/>
            </a:xfrm>
            <a:custGeom>
              <a:avLst/>
              <a:gdLst>
                <a:gd name="T0" fmla="*/ 7 w 7"/>
                <a:gd name="T1" fmla="*/ 28 h 28"/>
                <a:gd name="T2" fmla="*/ 7 w 7"/>
                <a:gd name="T3" fmla="*/ 0 h 28"/>
                <a:gd name="T4" fmla="*/ 0 w 7"/>
                <a:gd name="T5" fmla="*/ 0 h 28"/>
                <a:gd name="T6" fmla="*/ 0 w 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8">
                  <a:moveTo>
                    <a:pt x="7" y="28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1" name="Freeform 1818">
              <a:extLst>
                <a:ext uri="{FF2B5EF4-FFF2-40B4-BE49-F238E27FC236}">
                  <a16:creationId xmlns:a16="http://schemas.microsoft.com/office/drawing/2014/main" id="{CBEB84FD-5FA6-4B92-9A1D-4AB52FB46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2267"/>
              <a:ext cx="10" cy="28"/>
            </a:xfrm>
            <a:custGeom>
              <a:avLst/>
              <a:gdLst>
                <a:gd name="T0" fmla="*/ 10 w 10"/>
                <a:gd name="T1" fmla="*/ 28 h 28"/>
                <a:gd name="T2" fmla="*/ 10 w 10"/>
                <a:gd name="T3" fmla="*/ 0 h 28"/>
                <a:gd name="T4" fmla="*/ 0 w 10"/>
                <a:gd name="T5" fmla="*/ 0 h 28"/>
                <a:gd name="T6" fmla="*/ 0 w 10"/>
                <a:gd name="T7" fmla="*/ 28 h 28"/>
                <a:gd name="T8" fmla="*/ 0 w 10"/>
                <a:gd name="T9" fmla="*/ 28 h 28"/>
                <a:gd name="T10" fmla="*/ 0 w 10"/>
                <a:gd name="T11" fmla="*/ 2 h 28"/>
                <a:gd name="T12" fmla="*/ 7 w 10"/>
                <a:gd name="T13" fmla="*/ 2 h 28"/>
                <a:gd name="T14" fmla="*/ 7 w 10"/>
                <a:gd name="T15" fmla="*/ 28 h 28"/>
                <a:gd name="T16" fmla="*/ 10 w 10"/>
                <a:gd name="T17" fmla="*/ 28 h 28"/>
                <a:gd name="T18" fmla="*/ 10 w 1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8">
                  <a:moveTo>
                    <a:pt x="10" y="28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"/>
                  </a:lnTo>
                  <a:lnTo>
                    <a:pt x="7" y="2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2" name="Freeform 1819">
              <a:extLst>
                <a:ext uri="{FF2B5EF4-FFF2-40B4-BE49-F238E27FC236}">
                  <a16:creationId xmlns:a16="http://schemas.microsoft.com/office/drawing/2014/main" id="{E7099449-BCF3-438B-8A4C-1057B7591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2209"/>
              <a:ext cx="35" cy="43"/>
            </a:xfrm>
            <a:custGeom>
              <a:avLst/>
              <a:gdLst>
                <a:gd name="T0" fmla="*/ 33 w 35"/>
                <a:gd name="T1" fmla="*/ 43 h 43"/>
                <a:gd name="T2" fmla="*/ 33 w 35"/>
                <a:gd name="T3" fmla="*/ 40 h 43"/>
                <a:gd name="T4" fmla="*/ 3 w 35"/>
                <a:gd name="T5" fmla="*/ 40 h 43"/>
                <a:gd name="T6" fmla="*/ 3 w 35"/>
                <a:gd name="T7" fmla="*/ 2 h 43"/>
                <a:gd name="T8" fmla="*/ 33 w 35"/>
                <a:gd name="T9" fmla="*/ 2 h 43"/>
                <a:gd name="T10" fmla="*/ 33 w 35"/>
                <a:gd name="T11" fmla="*/ 43 h 43"/>
                <a:gd name="T12" fmla="*/ 33 w 35"/>
                <a:gd name="T13" fmla="*/ 43 h 43"/>
                <a:gd name="T14" fmla="*/ 33 w 35"/>
                <a:gd name="T15" fmla="*/ 40 h 43"/>
                <a:gd name="T16" fmla="*/ 33 w 35"/>
                <a:gd name="T17" fmla="*/ 43 h 43"/>
                <a:gd name="T18" fmla="*/ 35 w 35"/>
                <a:gd name="T19" fmla="*/ 43 h 43"/>
                <a:gd name="T20" fmla="*/ 35 w 35"/>
                <a:gd name="T21" fmla="*/ 0 h 43"/>
                <a:gd name="T22" fmla="*/ 0 w 35"/>
                <a:gd name="T23" fmla="*/ 0 h 43"/>
                <a:gd name="T24" fmla="*/ 0 w 35"/>
                <a:gd name="T25" fmla="*/ 43 h 43"/>
                <a:gd name="T26" fmla="*/ 35 w 35"/>
                <a:gd name="T27" fmla="*/ 43 h 43"/>
                <a:gd name="T28" fmla="*/ 35 w 35"/>
                <a:gd name="T29" fmla="*/ 43 h 43"/>
                <a:gd name="T30" fmla="*/ 33 w 35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43">
                  <a:moveTo>
                    <a:pt x="33" y="43"/>
                  </a:moveTo>
                  <a:lnTo>
                    <a:pt x="33" y="40"/>
                  </a:lnTo>
                  <a:lnTo>
                    <a:pt x="3" y="40"/>
                  </a:lnTo>
                  <a:lnTo>
                    <a:pt x="3" y="2"/>
                  </a:lnTo>
                  <a:lnTo>
                    <a:pt x="33" y="2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3" name="Rectangle 1820">
              <a:extLst>
                <a:ext uri="{FF2B5EF4-FFF2-40B4-BE49-F238E27FC236}">
                  <a16:creationId xmlns:a16="http://schemas.microsoft.com/office/drawing/2014/main" id="{46B59F58-A485-4037-8F49-9212BB564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5" y="2242"/>
              <a:ext cx="30" cy="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4" name="Freeform 1821">
              <a:extLst>
                <a:ext uri="{FF2B5EF4-FFF2-40B4-BE49-F238E27FC236}">
                  <a16:creationId xmlns:a16="http://schemas.microsoft.com/office/drawing/2014/main" id="{72160844-4AC7-47E9-BC39-39450A487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" y="2242"/>
              <a:ext cx="30" cy="0"/>
            </a:xfrm>
            <a:custGeom>
              <a:avLst/>
              <a:gdLst>
                <a:gd name="T0" fmla="*/ 0 w 30"/>
                <a:gd name="T1" fmla="*/ 30 w 30"/>
                <a:gd name="T2" fmla="*/ 30 w 30"/>
                <a:gd name="T3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0">
                  <a:moveTo>
                    <a:pt x="0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5" name="Rectangle 1822">
              <a:extLst>
                <a:ext uri="{FF2B5EF4-FFF2-40B4-BE49-F238E27FC236}">
                  <a16:creationId xmlns:a16="http://schemas.microsoft.com/office/drawing/2014/main" id="{98756BBE-F69F-4282-8F97-066488BA2F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" y="2244"/>
              <a:ext cx="17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6" name="Freeform 1823">
              <a:extLst>
                <a:ext uri="{FF2B5EF4-FFF2-40B4-BE49-F238E27FC236}">
                  <a16:creationId xmlns:a16="http://schemas.microsoft.com/office/drawing/2014/main" id="{FD32E8BC-521E-412D-80C5-F06B1B325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2244"/>
              <a:ext cx="17" cy="3"/>
            </a:xfrm>
            <a:custGeom>
              <a:avLst/>
              <a:gdLst>
                <a:gd name="T0" fmla="*/ 0 w 17"/>
                <a:gd name="T1" fmla="*/ 3 h 3"/>
                <a:gd name="T2" fmla="*/ 17 w 17"/>
                <a:gd name="T3" fmla="*/ 3 h 3"/>
                <a:gd name="T4" fmla="*/ 17 w 17"/>
                <a:gd name="T5" fmla="*/ 0 h 3"/>
                <a:gd name="T6" fmla="*/ 0 w 1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">
                  <a:moveTo>
                    <a:pt x="0" y="3"/>
                  </a:moveTo>
                  <a:lnTo>
                    <a:pt x="17" y="3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7" name="Freeform 1824">
              <a:extLst>
                <a:ext uri="{FF2B5EF4-FFF2-40B4-BE49-F238E27FC236}">
                  <a16:creationId xmlns:a16="http://schemas.microsoft.com/office/drawing/2014/main" id="{79137D47-CAE9-47A3-9073-05A201959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1" y="2181"/>
              <a:ext cx="18" cy="5"/>
            </a:xfrm>
            <a:custGeom>
              <a:avLst/>
              <a:gdLst>
                <a:gd name="T0" fmla="*/ 7 w 7"/>
                <a:gd name="T1" fmla="*/ 2 h 2"/>
                <a:gd name="T2" fmla="*/ 4 w 7"/>
                <a:gd name="T3" fmla="*/ 0 h 2"/>
                <a:gd name="T4" fmla="*/ 0 w 7"/>
                <a:gd name="T5" fmla="*/ 2 h 2"/>
                <a:gd name="T6" fmla="*/ 1 w 7"/>
                <a:gd name="T7" fmla="*/ 2 h 2"/>
                <a:gd name="T8" fmla="*/ 4 w 7"/>
                <a:gd name="T9" fmla="*/ 1 h 2"/>
                <a:gd name="T10" fmla="*/ 6 w 7"/>
                <a:gd name="T11" fmla="*/ 2 h 2"/>
                <a:gd name="T12" fmla="*/ 7 w 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cubicBezTo>
                    <a:pt x="6" y="1"/>
                    <a:pt x="5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8" name="Freeform 1825">
              <a:extLst>
                <a:ext uri="{FF2B5EF4-FFF2-40B4-BE49-F238E27FC236}">
                  <a16:creationId xmlns:a16="http://schemas.microsoft.com/office/drawing/2014/main" id="{D1D597D3-73D0-48AE-B746-FC33A2721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4" y="2171"/>
              <a:ext cx="33" cy="10"/>
            </a:xfrm>
            <a:custGeom>
              <a:avLst/>
              <a:gdLst>
                <a:gd name="T0" fmla="*/ 13 w 13"/>
                <a:gd name="T1" fmla="*/ 3 h 4"/>
                <a:gd name="T2" fmla="*/ 7 w 13"/>
                <a:gd name="T3" fmla="*/ 0 h 4"/>
                <a:gd name="T4" fmla="*/ 0 w 13"/>
                <a:gd name="T5" fmla="*/ 3 h 4"/>
                <a:gd name="T6" fmla="*/ 0 w 13"/>
                <a:gd name="T7" fmla="*/ 4 h 4"/>
                <a:gd name="T8" fmla="*/ 7 w 13"/>
                <a:gd name="T9" fmla="*/ 1 h 4"/>
                <a:gd name="T10" fmla="*/ 13 w 13"/>
                <a:gd name="T11" fmla="*/ 4 h 4"/>
                <a:gd name="T12" fmla="*/ 13 w 13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13" y="3"/>
                  </a:moveTo>
                  <a:cubicBezTo>
                    <a:pt x="12" y="1"/>
                    <a:pt x="9" y="0"/>
                    <a:pt x="7" y="0"/>
                  </a:cubicBezTo>
                  <a:cubicBezTo>
                    <a:pt x="4" y="0"/>
                    <a:pt x="1" y="1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4" y="1"/>
                    <a:pt x="7" y="1"/>
                  </a:cubicBezTo>
                  <a:cubicBezTo>
                    <a:pt x="9" y="1"/>
                    <a:pt x="11" y="2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9" name="Freeform 1826">
              <a:extLst>
                <a:ext uri="{FF2B5EF4-FFF2-40B4-BE49-F238E27FC236}">
                  <a16:creationId xmlns:a16="http://schemas.microsoft.com/office/drawing/2014/main" id="{9701D23F-9706-4CDF-A10B-622F2475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" y="2161"/>
              <a:ext cx="53" cy="15"/>
            </a:xfrm>
            <a:custGeom>
              <a:avLst/>
              <a:gdLst>
                <a:gd name="T0" fmla="*/ 21 w 21"/>
                <a:gd name="T1" fmla="*/ 5 h 6"/>
                <a:gd name="T2" fmla="*/ 11 w 21"/>
                <a:gd name="T3" fmla="*/ 0 h 6"/>
                <a:gd name="T4" fmla="*/ 0 w 21"/>
                <a:gd name="T5" fmla="*/ 5 h 6"/>
                <a:gd name="T6" fmla="*/ 1 w 21"/>
                <a:gd name="T7" fmla="*/ 5 h 6"/>
                <a:gd name="T8" fmla="*/ 11 w 21"/>
                <a:gd name="T9" fmla="*/ 1 h 6"/>
                <a:gd name="T10" fmla="*/ 20 w 21"/>
                <a:gd name="T11" fmla="*/ 6 h 6"/>
                <a:gd name="T12" fmla="*/ 21 w 21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6">
                  <a:moveTo>
                    <a:pt x="21" y="5"/>
                  </a:moveTo>
                  <a:cubicBezTo>
                    <a:pt x="18" y="2"/>
                    <a:pt x="15" y="0"/>
                    <a:pt x="11" y="0"/>
                  </a:cubicBezTo>
                  <a:cubicBezTo>
                    <a:pt x="6" y="0"/>
                    <a:pt x="3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3"/>
                    <a:pt x="7" y="1"/>
                    <a:pt x="11" y="1"/>
                  </a:cubicBezTo>
                  <a:cubicBezTo>
                    <a:pt x="14" y="1"/>
                    <a:pt x="18" y="3"/>
                    <a:pt x="20" y="6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0" name="Rectangle 1827">
              <a:extLst>
                <a:ext uri="{FF2B5EF4-FFF2-40B4-BE49-F238E27FC236}">
                  <a16:creationId xmlns:a16="http://schemas.microsoft.com/office/drawing/2014/main" id="{DC5A6289-80B1-4004-8FC1-D9196003F8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1" y="2214"/>
              <a:ext cx="25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1" name="Rectangle 1828">
              <a:extLst>
                <a:ext uri="{FF2B5EF4-FFF2-40B4-BE49-F238E27FC236}">
                  <a16:creationId xmlns:a16="http://schemas.microsoft.com/office/drawing/2014/main" id="{E197EF3D-AF9D-46CE-B34A-C69AAB8B1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9" y="2214"/>
              <a:ext cx="25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2" name="Rectangle 1829">
              <a:extLst>
                <a:ext uri="{FF2B5EF4-FFF2-40B4-BE49-F238E27FC236}">
                  <a16:creationId xmlns:a16="http://schemas.microsoft.com/office/drawing/2014/main" id="{7D4CCDC5-830D-487A-AB08-B0945C5D3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7" y="2214"/>
              <a:ext cx="25" cy="23"/>
            </a:xfrm>
            <a:prstGeom prst="rect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3" name="Oval 1830">
              <a:extLst>
                <a:ext uri="{FF2B5EF4-FFF2-40B4-BE49-F238E27FC236}">
                  <a16:creationId xmlns:a16="http://schemas.microsoft.com/office/drawing/2014/main" id="{033B4F12-FC92-4FAB-B8B7-021F7133C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4" y="2186"/>
              <a:ext cx="20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4" name="Freeform 1831">
              <a:extLst>
                <a:ext uri="{FF2B5EF4-FFF2-40B4-BE49-F238E27FC236}">
                  <a16:creationId xmlns:a16="http://schemas.microsoft.com/office/drawing/2014/main" id="{30953DDA-9221-4E09-8A9E-029EB3509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4" y="2183"/>
              <a:ext cx="20" cy="23"/>
            </a:xfrm>
            <a:custGeom>
              <a:avLst/>
              <a:gdLst>
                <a:gd name="T0" fmla="*/ 8 w 8"/>
                <a:gd name="T1" fmla="*/ 5 h 9"/>
                <a:gd name="T2" fmla="*/ 7 w 8"/>
                <a:gd name="T3" fmla="*/ 5 h 9"/>
                <a:gd name="T4" fmla="*/ 4 w 8"/>
                <a:gd name="T5" fmla="*/ 8 h 9"/>
                <a:gd name="T6" fmla="*/ 1 w 8"/>
                <a:gd name="T7" fmla="*/ 5 h 9"/>
                <a:gd name="T8" fmla="*/ 4 w 8"/>
                <a:gd name="T9" fmla="*/ 1 h 9"/>
                <a:gd name="T10" fmla="*/ 7 w 8"/>
                <a:gd name="T11" fmla="*/ 5 h 9"/>
                <a:gd name="T12" fmla="*/ 8 w 8"/>
                <a:gd name="T13" fmla="*/ 5 h 9"/>
                <a:gd name="T14" fmla="*/ 8 w 8"/>
                <a:gd name="T15" fmla="*/ 5 h 9"/>
                <a:gd name="T16" fmla="*/ 4 w 8"/>
                <a:gd name="T17" fmla="*/ 0 h 9"/>
                <a:gd name="T18" fmla="*/ 0 w 8"/>
                <a:gd name="T19" fmla="*/ 5 h 9"/>
                <a:gd name="T20" fmla="*/ 4 w 8"/>
                <a:gd name="T21" fmla="*/ 9 h 9"/>
                <a:gd name="T22" fmla="*/ 8 w 8"/>
                <a:gd name="T2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2" y="8"/>
                    <a:pt x="1" y="6"/>
                    <a:pt x="1" y="5"/>
                  </a:cubicBezTo>
                  <a:cubicBezTo>
                    <a:pt x="1" y="3"/>
                    <a:pt x="2" y="1"/>
                    <a:pt x="4" y="1"/>
                  </a:cubicBezTo>
                  <a:cubicBezTo>
                    <a:pt x="6" y="1"/>
                    <a:pt x="7" y="3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8" y="7"/>
                    <a:pt x="8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5" name="Freeform 1832">
              <a:extLst>
                <a:ext uri="{FF2B5EF4-FFF2-40B4-BE49-F238E27FC236}">
                  <a16:creationId xmlns:a16="http://schemas.microsoft.com/office/drawing/2014/main" id="{088A69BB-E25B-4AF9-9992-F6F9E5A01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209"/>
              <a:ext cx="40" cy="88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14 h 35"/>
                <a:gd name="T4" fmla="*/ 2 w 16"/>
                <a:gd name="T5" fmla="*/ 16 h 35"/>
                <a:gd name="T6" fmla="*/ 3 w 16"/>
                <a:gd name="T7" fmla="*/ 16 h 35"/>
                <a:gd name="T8" fmla="*/ 3 w 16"/>
                <a:gd name="T9" fmla="*/ 18 h 35"/>
                <a:gd name="T10" fmla="*/ 3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8 h 35"/>
                <a:gd name="T18" fmla="*/ 9 w 16"/>
                <a:gd name="T19" fmla="*/ 18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8 h 35"/>
                <a:gd name="T28" fmla="*/ 13 w 16"/>
                <a:gd name="T29" fmla="*/ 16 h 35"/>
                <a:gd name="T30" fmla="*/ 14 w 16"/>
                <a:gd name="T31" fmla="*/ 16 h 35"/>
                <a:gd name="T32" fmla="*/ 16 w 16"/>
                <a:gd name="T33" fmla="*/ 14 h 35"/>
                <a:gd name="T34" fmla="*/ 16 w 16"/>
                <a:gd name="T35" fmla="*/ 5 h 35"/>
                <a:gd name="T36" fmla="*/ 11 w 16"/>
                <a:gd name="T37" fmla="*/ 0 h 35"/>
                <a:gd name="T38" fmla="*/ 5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6" name="Freeform 1833">
              <a:extLst>
                <a:ext uri="{FF2B5EF4-FFF2-40B4-BE49-F238E27FC236}">
                  <a16:creationId xmlns:a16="http://schemas.microsoft.com/office/drawing/2014/main" id="{F8DFD7C9-B450-4EC8-B4A9-8E523BE1C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206"/>
              <a:ext cx="43" cy="91"/>
            </a:xfrm>
            <a:custGeom>
              <a:avLst/>
              <a:gdLst>
                <a:gd name="T0" fmla="*/ 0 w 17"/>
                <a:gd name="T1" fmla="*/ 6 h 36"/>
                <a:gd name="T2" fmla="*/ 0 w 17"/>
                <a:gd name="T3" fmla="*/ 6 h 36"/>
                <a:gd name="T4" fmla="*/ 0 w 17"/>
                <a:gd name="T5" fmla="*/ 15 h 36"/>
                <a:gd name="T6" fmla="*/ 2 w 17"/>
                <a:gd name="T7" fmla="*/ 18 h 36"/>
                <a:gd name="T8" fmla="*/ 3 w 17"/>
                <a:gd name="T9" fmla="*/ 18 h 36"/>
                <a:gd name="T10" fmla="*/ 3 w 17"/>
                <a:gd name="T11" fmla="*/ 19 h 36"/>
                <a:gd name="T12" fmla="*/ 3 w 17"/>
                <a:gd name="T13" fmla="*/ 34 h 36"/>
                <a:gd name="T14" fmla="*/ 5 w 17"/>
                <a:gd name="T15" fmla="*/ 36 h 36"/>
                <a:gd name="T16" fmla="*/ 7 w 17"/>
                <a:gd name="T17" fmla="*/ 34 h 36"/>
                <a:gd name="T18" fmla="*/ 7 w 17"/>
                <a:gd name="T19" fmla="*/ 20 h 36"/>
                <a:gd name="T20" fmla="*/ 9 w 17"/>
                <a:gd name="T21" fmla="*/ 20 h 36"/>
                <a:gd name="T22" fmla="*/ 9 w 17"/>
                <a:gd name="T23" fmla="*/ 34 h 36"/>
                <a:gd name="T24" fmla="*/ 11 w 17"/>
                <a:gd name="T25" fmla="*/ 36 h 36"/>
                <a:gd name="T26" fmla="*/ 13 w 17"/>
                <a:gd name="T27" fmla="*/ 34 h 36"/>
                <a:gd name="T28" fmla="*/ 13 w 17"/>
                <a:gd name="T29" fmla="*/ 19 h 36"/>
                <a:gd name="T30" fmla="*/ 13 w 17"/>
                <a:gd name="T31" fmla="*/ 18 h 36"/>
                <a:gd name="T32" fmla="*/ 14 w 17"/>
                <a:gd name="T33" fmla="*/ 18 h 36"/>
                <a:gd name="T34" fmla="*/ 17 w 17"/>
                <a:gd name="T35" fmla="*/ 15 h 36"/>
                <a:gd name="T36" fmla="*/ 17 w 17"/>
                <a:gd name="T37" fmla="*/ 6 h 36"/>
                <a:gd name="T38" fmla="*/ 11 w 17"/>
                <a:gd name="T39" fmla="*/ 0 h 36"/>
                <a:gd name="T40" fmla="*/ 5 w 17"/>
                <a:gd name="T41" fmla="*/ 0 h 36"/>
                <a:gd name="T42" fmla="*/ 0 w 17"/>
                <a:gd name="T43" fmla="*/ 6 h 36"/>
                <a:gd name="T44" fmla="*/ 0 w 17"/>
                <a:gd name="T45" fmla="*/ 6 h 36"/>
                <a:gd name="T46" fmla="*/ 1 w 17"/>
                <a:gd name="T47" fmla="*/ 6 h 36"/>
                <a:gd name="T48" fmla="*/ 5 w 17"/>
                <a:gd name="T49" fmla="*/ 1 h 36"/>
                <a:gd name="T50" fmla="*/ 11 w 17"/>
                <a:gd name="T51" fmla="*/ 1 h 36"/>
                <a:gd name="T52" fmla="*/ 16 w 17"/>
                <a:gd name="T53" fmla="*/ 6 h 36"/>
                <a:gd name="T54" fmla="*/ 16 w 17"/>
                <a:gd name="T55" fmla="*/ 15 h 36"/>
                <a:gd name="T56" fmla="*/ 14 w 17"/>
                <a:gd name="T57" fmla="*/ 17 h 36"/>
                <a:gd name="T58" fmla="*/ 13 w 17"/>
                <a:gd name="T59" fmla="*/ 17 h 36"/>
                <a:gd name="T60" fmla="*/ 12 w 17"/>
                <a:gd name="T61" fmla="*/ 17 h 36"/>
                <a:gd name="T62" fmla="*/ 12 w 17"/>
                <a:gd name="T63" fmla="*/ 19 h 36"/>
                <a:gd name="T64" fmla="*/ 12 w 17"/>
                <a:gd name="T65" fmla="*/ 34 h 36"/>
                <a:gd name="T66" fmla="*/ 11 w 17"/>
                <a:gd name="T67" fmla="*/ 35 h 36"/>
                <a:gd name="T68" fmla="*/ 10 w 17"/>
                <a:gd name="T69" fmla="*/ 34 h 36"/>
                <a:gd name="T70" fmla="*/ 10 w 17"/>
                <a:gd name="T71" fmla="*/ 19 h 36"/>
                <a:gd name="T72" fmla="*/ 7 w 17"/>
                <a:gd name="T73" fmla="*/ 19 h 36"/>
                <a:gd name="T74" fmla="*/ 7 w 17"/>
                <a:gd name="T75" fmla="*/ 34 h 36"/>
                <a:gd name="T76" fmla="*/ 5 w 17"/>
                <a:gd name="T77" fmla="*/ 35 h 36"/>
                <a:gd name="T78" fmla="*/ 4 w 17"/>
                <a:gd name="T79" fmla="*/ 34 h 36"/>
                <a:gd name="T80" fmla="*/ 4 w 17"/>
                <a:gd name="T81" fmla="*/ 19 h 36"/>
                <a:gd name="T82" fmla="*/ 4 w 17"/>
                <a:gd name="T83" fmla="*/ 17 h 36"/>
                <a:gd name="T84" fmla="*/ 2 w 17"/>
                <a:gd name="T85" fmla="*/ 17 h 36"/>
                <a:gd name="T86" fmla="*/ 1 w 17"/>
                <a:gd name="T87" fmla="*/ 15 h 36"/>
                <a:gd name="T88" fmla="*/ 1 w 17"/>
                <a:gd name="T89" fmla="*/ 6 h 36"/>
                <a:gd name="T90" fmla="*/ 0 w 17"/>
                <a:gd name="T91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" h="3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4" y="36"/>
                    <a:pt x="5" y="36"/>
                  </a:cubicBezTo>
                  <a:cubicBezTo>
                    <a:pt x="6" y="36"/>
                    <a:pt x="7" y="35"/>
                    <a:pt x="7" y="34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10" y="36"/>
                    <a:pt x="11" y="36"/>
                  </a:cubicBezTo>
                  <a:cubicBezTo>
                    <a:pt x="12" y="36"/>
                    <a:pt x="13" y="35"/>
                    <a:pt x="13" y="34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7" y="17"/>
                    <a:pt x="17" y="1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6" y="3"/>
                    <a:pt x="16" y="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5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5"/>
                    <a:pt x="12" y="35"/>
                    <a:pt x="11" y="35"/>
                  </a:cubicBezTo>
                  <a:cubicBezTo>
                    <a:pt x="10" y="35"/>
                    <a:pt x="10" y="35"/>
                    <a:pt x="10" y="3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6" y="35"/>
                    <a:pt x="5" y="35"/>
                  </a:cubicBezTo>
                  <a:cubicBezTo>
                    <a:pt x="4" y="35"/>
                    <a:pt x="4" y="35"/>
                    <a:pt x="4" y="3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1" y="16"/>
                    <a:pt x="1" y="15"/>
                  </a:cubicBezTo>
                  <a:cubicBezTo>
                    <a:pt x="1" y="6"/>
                    <a:pt x="1" y="6"/>
                    <a:pt x="1" y="6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7" name="Rectangle 1834">
              <a:extLst>
                <a:ext uri="{FF2B5EF4-FFF2-40B4-BE49-F238E27FC236}">
                  <a16:creationId xmlns:a16="http://schemas.microsoft.com/office/drawing/2014/main" id="{1438DE16-5A6D-48CD-A7BF-9BAEEC92D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" y="2221"/>
              <a:ext cx="2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8" name="Freeform 1835">
              <a:extLst>
                <a:ext uri="{FF2B5EF4-FFF2-40B4-BE49-F238E27FC236}">
                  <a16:creationId xmlns:a16="http://schemas.microsoft.com/office/drawing/2014/main" id="{B81B46FF-3C5B-43C6-BA5A-48418785D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" y="2221"/>
              <a:ext cx="2" cy="28"/>
            </a:xfrm>
            <a:custGeom>
              <a:avLst/>
              <a:gdLst>
                <a:gd name="T0" fmla="*/ 2 w 2"/>
                <a:gd name="T1" fmla="*/ 28 h 28"/>
                <a:gd name="T2" fmla="*/ 2 w 2"/>
                <a:gd name="T3" fmla="*/ 0 h 28"/>
                <a:gd name="T4" fmla="*/ 0 w 2"/>
                <a:gd name="T5" fmla="*/ 0 h 28"/>
                <a:gd name="T6" fmla="*/ 0 w 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8">
                  <a:moveTo>
                    <a:pt x="2" y="2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9" name="Rectangle 1836">
              <a:extLst>
                <a:ext uri="{FF2B5EF4-FFF2-40B4-BE49-F238E27FC236}">
                  <a16:creationId xmlns:a16="http://schemas.microsoft.com/office/drawing/2014/main" id="{BA21DC60-BD20-4223-8850-9FD895EE2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4" y="2221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0" name="Freeform 1837">
              <a:extLst>
                <a:ext uri="{FF2B5EF4-FFF2-40B4-BE49-F238E27FC236}">
                  <a16:creationId xmlns:a16="http://schemas.microsoft.com/office/drawing/2014/main" id="{2B640C09-B1D2-4BB8-ABD8-C422C80A7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" y="2221"/>
              <a:ext cx="3" cy="28"/>
            </a:xfrm>
            <a:custGeom>
              <a:avLst/>
              <a:gdLst>
                <a:gd name="T0" fmla="*/ 3 w 3"/>
                <a:gd name="T1" fmla="*/ 28 h 28"/>
                <a:gd name="T2" fmla="*/ 3 w 3"/>
                <a:gd name="T3" fmla="*/ 0 h 28"/>
                <a:gd name="T4" fmla="*/ 0 w 3"/>
                <a:gd name="T5" fmla="*/ 0 h 28"/>
                <a:gd name="T6" fmla="*/ 0 w 3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3" y="28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1" name="Oval 1838">
              <a:extLst>
                <a:ext uri="{FF2B5EF4-FFF2-40B4-BE49-F238E27FC236}">
                  <a16:creationId xmlns:a16="http://schemas.microsoft.com/office/drawing/2014/main" id="{B0C66E96-4CE6-4782-A6D7-E6B23984D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0" y="2221"/>
              <a:ext cx="12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2" name="Freeform 1839">
              <a:extLst>
                <a:ext uri="{FF2B5EF4-FFF2-40B4-BE49-F238E27FC236}">
                  <a16:creationId xmlns:a16="http://schemas.microsoft.com/office/drawing/2014/main" id="{26A981DF-412B-4FB8-A4EA-C4BF79A8B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2221"/>
              <a:ext cx="18" cy="16"/>
            </a:xfrm>
            <a:custGeom>
              <a:avLst/>
              <a:gdLst>
                <a:gd name="T0" fmla="*/ 6 w 7"/>
                <a:gd name="T1" fmla="*/ 3 h 6"/>
                <a:gd name="T2" fmla="*/ 6 w 7"/>
                <a:gd name="T3" fmla="*/ 3 h 6"/>
                <a:gd name="T4" fmla="*/ 4 w 7"/>
                <a:gd name="T5" fmla="*/ 5 h 6"/>
                <a:gd name="T6" fmla="*/ 1 w 7"/>
                <a:gd name="T7" fmla="*/ 3 h 6"/>
                <a:gd name="T8" fmla="*/ 4 w 7"/>
                <a:gd name="T9" fmla="*/ 0 h 6"/>
                <a:gd name="T10" fmla="*/ 6 w 7"/>
                <a:gd name="T11" fmla="*/ 3 h 6"/>
                <a:gd name="T12" fmla="*/ 6 w 7"/>
                <a:gd name="T13" fmla="*/ 3 h 6"/>
                <a:gd name="T14" fmla="*/ 7 w 7"/>
                <a:gd name="T15" fmla="*/ 3 h 6"/>
                <a:gd name="T16" fmla="*/ 4 w 7"/>
                <a:gd name="T17" fmla="*/ 0 h 6"/>
                <a:gd name="T18" fmla="*/ 0 w 7"/>
                <a:gd name="T19" fmla="*/ 3 h 6"/>
                <a:gd name="T20" fmla="*/ 4 w 7"/>
                <a:gd name="T21" fmla="*/ 6 h 6"/>
                <a:gd name="T22" fmla="*/ 7 w 7"/>
                <a:gd name="T23" fmla="*/ 3 h 6"/>
                <a:gd name="T24" fmla="*/ 6 w 7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5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ubicBezTo>
                    <a:pt x="5" y="6"/>
                    <a:pt x="7" y="5"/>
                    <a:pt x="7" y="3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3" name="Freeform 1840">
              <a:extLst>
                <a:ext uri="{FF2B5EF4-FFF2-40B4-BE49-F238E27FC236}">
                  <a16:creationId xmlns:a16="http://schemas.microsoft.com/office/drawing/2014/main" id="{A7A2D3C3-5367-4DBE-8711-8C3AA7E16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239"/>
              <a:ext cx="30" cy="56"/>
            </a:xfrm>
            <a:custGeom>
              <a:avLst/>
              <a:gdLst>
                <a:gd name="T0" fmla="*/ 0 w 12"/>
                <a:gd name="T1" fmla="*/ 4 h 22"/>
                <a:gd name="T2" fmla="*/ 0 w 12"/>
                <a:gd name="T3" fmla="*/ 9 h 22"/>
                <a:gd name="T4" fmla="*/ 1 w 12"/>
                <a:gd name="T5" fmla="*/ 10 h 22"/>
                <a:gd name="T6" fmla="*/ 2 w 12"/>
                <a:gd name="T7" fmla="*/ 10 h 22"/>
                <a:gd name="T8" fmla="*/ 2 w 12"/>
                <a:gd name="T9" fmla="*/ 12 h 22"/>
                <a:gd name="T10" fmla="*/ 2 w 12"/>
                <a:gd name="T11" fmla="*/ 21 h 22"/>
                <a:gd name="T12" fmla="*/ 3 w 12"/>
                <a:gd name="T13" fmla="*/ 22 h 22"/>
                <a:gd name="T14" fmla="*/ 5 w 12"/>
                <a:gd name="T15" fmla="*/ 21 h 22"/>
                <a:gd name="T16" fmla="*/ 5 w 12"/>
                <a:gd name="T17" fmla="*/ 12 h 22"/>
                <a:gd name="T18" fmla="*/ 6 w 12"/>
                <a:gd name="T19" fmla="*/ 12 h 22"/>
                <a:gd name="T20" fmla="*/ 6 w 12"/>
                <a:gd name="T21" fmla="*/ 21 h 22"/>
                <a:gd name="T22" fmla="*/ 8 w 12"/>
                <a:gd name="T23" fmla="*/ 22 h 22"/>
                <a:gd name="T24" fmla="*/ 9 w 12"/>
                <a:gd name="T25" fmla="*/ 21 h 22"/>
                <a:gd name="T26" fmla="*/ 9 w 12"/>
                <a:gd name="T27" fmla="*/ 12 h 22"/>
                <a:gd name="T28" fmla="*/ 9 w 12"/>
                <a:gd name="T29" fmla="*/ 10 h 22"/>
                <a:gd name="T30" fmla="*/ 10 w 12"/>
                <a:gd name="T31" fmla="*/ 10 h 22"/>
                <a:gd name="T32" fmla="*/ 12 w 12"/>
                <a:gd name="T33" fmla="*/ 9 h 22"/>
                <a:gd name="T34" fmla="*/ 12 w 12"/>
                <a:gd name="T35" fmla="*/ 4 h 22"/>
                <a:gd name="T36" fmla="*/ 8 w 12"/>
                <a:gd name="T37" fmla="*/ 0 h 22"/>
                <a:gd name="T38" fmla="*/ 4 w 12"/>
                <a:gd name="T39" fmla="*/ 0 h 22"/>
                <a:gd name="T40" fmla="*/ 0 w 12"/>
                <a:gd name="T4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22">
                  <a:moveTo>
                    <a:pt x="0" y="4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3" y="22"/>
                    <a:pt x="3" y="22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2"/>
                    <a:pt x="8" y="22"/>
                  </a:cubicBezTo>
                  <a:cubicBezTo>
                    <a:pt x="9" y="22"/>
                    <a:pt x="9" y="21"/>
                    <a:pt x="9" y="2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10"/>
                    <a:pt x="12" y="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4" name="Freeform 1841">
              <a:extLst>
                <a:ext uri="{FF2B5EF4-FFF2-40B4-BE49-F238E27FC236}">
                  <a16:creationId xmlns:a16="http://schemas.microsoft.com/office/drawing/2014/main" id="{33E0DD5D-AA20-49A6-82C1-2FCB7A4A8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" y="2237"/>
              <a:ext cx="33" cy="60"/>
            </a:xfrm>
            <a:custGeom>
              <a:avLst/>
              <a:gdLst>
                <a:gd name="T0" fmla="*/ 1 w 13"/>
                <a:gd name="T1" fmla="*/ 5 h 24"/>
                <a:gd name="T2" fmla="*/ 0 w 13"/>
                <a:gd name="T3" fmla="*/ 5 h 24"/>
                <a:gd name="T4" fmla="*/ 0 w 13"/>
                <a:gd name="T5" fmla="*/ 10 h 24"/>
                <a:gd name="T6" fmla="*/ 2 w 13"/>
                <a:gd name="T7" fmla="*/ 12 h 24"/>
                <a:gd name="T8" fmla="*/ 2 w 13"/>
                <a:gd name="T9" fmla="*/ 12 h 24"/>
                <a:gd name="T10" fmla="*/ 2 w 13"/>
                <a:gd name="T11" fmla="*/ 13 h 24"/>
                <a:gd name="T12" fmla="*/ 2 w 13"/>
                <a:gd name="T13" fmla="*/ 22 h 24"/>
                <a:gd name="T14" fmla="*/ 4 w 13"/>
                <a:gd name="T15" fmla="*/ 24 h 24"/>
                <a:gd name="T16" fmla="*/ 6 w 13"/>
                <a:gd name="T17" fmla="*/ 22 h 24"/>
                <a:gd name="T18" fmla="*/ 6 w 13"/>
                <a:gd name="T19" fmla="*/ 13 h 24"/>
                <a:gd name="T20" fmla="*/ 7 w 13"/>
                <a:gd name="T21" fmla="*/ 13 h 24"/>
                <a:gd name="T22" fmla="*/ 7 w 13"/>
                <a:gd name="T23" fmla="*/ 22 h 24"/>
                <a:gd name="T24" fmla="*/ 9 w 13"/>
                <a:gd name="T25" fmla="*/ 24 h 24"/>
                <a:gd name="T26" fmla="*/ 11 w 13"/>
                <a:gd name="T27" fmla="*/ 22 h 24"/>
                <a:gd name="T28" fmla="*/ 11 w 13"/>
                <a:gd name="T29" fmla="*/ 13 h 24"/>
                <a:gd name="T30" fmla="*/ 11 w 13"/>
                <a:gd name="T31" fmla="*/ 12 h 24"/>
                <a:gd name="T32" fmla="*/ 11 w 13"/>
                <a:gd name="T33" fmla="*/ 12 h 24"/>
                <a:gd name="T34" fmla="*/ 13 w 13"/>
                <a:gd name="T35" fmla="*/ 10 h 24"/>
                <a:gd name="T36" fmla="*/ 13 w 13"/>
                <a:gd name="T37" fmla="*/ 5 h 24"/>
                <a:gd name="T38" fmla="*/ 9 w 13"/>
                <a:gd name="T39" fmla="*/ 0 h 24"/>
                <a:gd name="T40" fmla="*/ 5 w 13"/>
                <a:gd name="T41" fmla="*/ 0 h 24"/>
                <a:gd name="T42" fmla="*/ 0 w 13"/>
                <a:gd name="T43" fmla="*/ 5 h 24"/>
                <a:gd name="T44" fmla="*/ 1 w 13"/>
                <a:gd name="T45" fmla="*/ 5 h 24"/>
                <a:gd name="T46" fmla="*/ 1 w 13"/>
                <a:gd name="T47" fmla="*/ 5 h 24"/>
                <a:gd name="T48" fmla="*/ 5 w 13"/>
                <a:gd name="T49" fmla="*/ 1 h 24"/>
                <a:gd name="T50" fmla="*/ 9 w 13"/>
                <a:gd name="T51" fmla="*/ 1 h 24"/>
                <a:gd name="T52" fmla="*/ 12 w 13"/>
                <a:gd name="T53" fmla="*/ 5 h 24"/>
                <a:gd name="T54" fmla="*/ 12 w 13"/>
                <a:gd name="T55" fmla="*/ 10 h 24"/>
                <a:gd name="T56" fmla="*/ 11 w 13"/>
                <a:gd name="T57" fmla="*/ 11 h 24"/>
                <a:gd name="T58" fmla="*/ 10 w 13"/>
                <a:gd name="T59" fmla="*/ 11 h 24"/>
                <a:gd name="T60" fmla="*/ 10 w 13"/>
                <a:gd name="T61" fmla="*/ 11 h 24"/>
                <a:gd name="T62" fmla="*/ 10 w 13"/>
                <a:gd name="T63" fmla="*/ 13 h 24"/>
                <a:gd name="T64" fmla="*/ 10 w 13"/>
                <a:gd name="T65" fmla="*/ 22 h 24"/>
                <a:gd name="T66" fmla="*/ 9 w 13"/>
                <a:gd name="T67" fmla="*/ 23 h 24"/>
                <a:gd name="T68" fmla="*/ 8 w 13"/>
                <a:gd name="T69" fmla="*/ 22 h 24"/>
                <a:gd name="T70" fmla="*/ 8 w 13"/>
                <a:gd name="T71" fmla="*/ 12 h 24"/>
                <a:gd name="T72" fmla="*/ 5 w 13"/>
                <a:gd name="T73" fmla="*/ 12 h 24"/>
                <a:gd name="T74" fmla="*/ 5 w 13"/>
                <a:gd name="T75" fmla="*/ 22 h 24"/>
                <a:gd name="T76" fmla="*/ 4 w 13"/>
                <a:gd name="T77" fmla="*/ 23 h 24"/>
                <a:gd name="T78" fmla="*/ 3 w 13"/>
                <a:gd name="T79" fmla="*/ 22 h 24"/>
                <a:gd name="T80" fmla="*/ 3 w 13"/>
                <a:gd name="T81" fmla="*/ 13 h 24"/>
                <a:gd name="T82" fmla="*/ 3 w 13"/>
                <a:gd name="T83" fmla="*/ 11 h 24"/>
                <a:gd name="T84" fmla="*/ 3 w 13"/>
                <a:gd name="T85" fmla="*/ 11 h 24"/>
                <a:gd name="T86" fmla="*/ 2 w 13"/>
                <a:gd name="T87" fmla="*/ 11 h 24"/>
                <a:gd name="T88" fmla="*/ 1 w 13"/>
                <a:gd name="T89" fmla="*/ 10 h 24"/>
                <a:gd name="T90" fmla="*/ 1 w 13"/>
                <a:gd name="T9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24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3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8" y="24"/>
                    <a:pt x="9" y="24"/>
                  </a:cubicBezTo>
                  <a:cubicBezTo>
                    <a:pt x="10" y="24"/>
                    <a:pt x="11" y="23"/>
                    <a:pt x="11" y="2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2"/>
                    <a:pt x="13" y="11"/>
                    <a:pt x="13" y="1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1" y="1"/>
                    <a:pt x="12" y="3"/>
                    <a:pt x="12" y="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9" y="23"/>
                    <a:pt x="9" y="23"/>
                  </a:cubicBezTo>
                  <a:cubicBezTo>
                    <a:pt x="8" y="23"/>
                    <a:pt x="8" y="22"/>
                    <a:pt x="8" y="2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3"/>
                    <a:pt x="4" y="23"/>
                  </a:cubicBezTo>
                  <a:cubicBezTo>
                    <a:pt x="4" y="23"/>
                    <a:pt x="3" y="22"/>
                    <a:pt x="3" y="2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0"/>
                    <a:pt x="1" y="10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5" name="Rectangle 1842">
              <a:extLst>
                <a:ext uri="{FF2B5EF4-FFF2-40B4-BE49-F238E27FC236}">
                  <a16:creationId xmlns:a16="http://schemas.microsoft.com/office/drawing/2014/main" id="{12903086-2893-4FAA-B474-F7C6E1322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4" y="2249"/>
              <a:ext cx="3" cy="1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6" name="Freeform 1843">
              <a:extLst>
                <a:ext uri="{FF2B5EF4-FFF2-40B4-BE49-F238E27FC236}">
                  <a16:creationId xmlns:a16="http://schemas.microsoft.com/office/drawing/2014/main" id="{B782ACB0-5257-4344-8AA3-CB793D6B7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4" y="2249"/>
              <a:ext cx="3" cy="15"/>
            </a:xfrm>
            <a:custGeom>
              <a:avLst/>
              <a:gdLst>
                <a:gd name="T0" fmla="*/ 3 w 3"/>
                <a:gd name="T1" fmla="*/ 15 h 15"/>
                <a:gd name="T2" fmla="*/ 3 w 3"/>
                <a:gd name="T3" fmla="*/ 0 h 15"/>
                <a:gd name="T4" fmla="*/ 0 w 3"/>
                <a:gd name="T5" fmla="*/ 0 h 15"/>
                <a:gd name="T6" fmla="*/ 0 w 3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5">
                  <a:moveTo>
                    <a:pt x="3" y="15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7" name="Rectangle 1844">
              <a:extLst>
                <a:ext uri="{FF2B5EF4-FFF2-40B4-BE49-F238E27FC236}">
                  <a16:creationId xmlns:a16="http://schemas.microsoft.com/office/drawing/2014/main" id="{4B0423EE-8DAD-47AC-A24F-57E89CD9CC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5" y="2249"/>
              <a:ext cx="2" cy="1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8" name="Freeform 1845">
              <a:extLst>
                <a:ext uri="{FF2B5EF4-FFF2-40B4-BE49-F238E27FC236}">
                  <a16:creationId xmlns:a16="http://schemas.microsoft.com/office/drawing/2014/main" id="{5AC844F7-AD60-4FF8-94F3-C9FF1FE23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2249"/>
              <a:ext cx="2" cy="15"/>
            </a:xfrm>
            <a:custGeom>
              <a:avLst/>
              <a:gdLst>
                <a:gd name="T0" fmla="*/ 2 w 2"/>
                <a:gd name="T1" fmla="*/ 15 h 15"/>
                <a:gd name="T2" fmla="*/ 2 w 2"/>
                <a:gd name="T3" fmla="*/ 0 h 15"/>
                <a:gd name="T4" fmla="*/ 0 w 2"/>
                <a:gd name="T5" fmla="*/ 0 h 15"/>
                <a:gd name="T6" fmla="*/ 0 w 2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5">
                  <a:moveTo>
                    <a:pt x="2" y="15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9" name="Oval 1846">
              <a:extLst>
                <a:ext uri="{FF2B5EF4-FFF2-40B4-BE49-F238E27FC236}">
                  <a16:creationId xmlns:a16="http://schemas.microsoft.com/office/drawing/2014/main" id="{8BA31DAC-304E-415E-91C8-864029453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7" y="2186"/>
              <a:ext cx="21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0" name="Freeform 1847">
              <a:extLst>
                <a:ext uri="{FF2B5EF4-FFF2-40B4-BE49-F238E27FC236}">
                  <a16:creationId xmlns:a16="http://schemas.microsoft.com/office/drawing/2014/main" id="{FBC41BD1-BDC1-46EF-938B-E2ECDA8B4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2183"/>
              <a:ext cx="21" cy="23"/>
            </a:xfrm>
            <a:custGeom>
              <a:avLst/>
              <a:gdLst>
                <a:gd name="T0" fmla="*/ 8 w 8"/>
                <a:gd name="T1" fmla="*/ 5 h 9"/>
                <a:gd name="T2" fmla="*/ 7 w 8"/>
                <a:gd name="T3" fmla="*/ 5 h 9"/>
                <a:gd name="T4" fmla="*/ 4 w 8"/>
                <a:gd name="T5" fmla="*/ 8 h 9"/>
                <a:gd name="T6" fmla="*/ 0 w 8"/>
                <a:gd name="T7" fmla="*/ 5 h 9"/>
                <a:gd name="T8" fmla="*/ 4 w 8"/>
                <a:gd name="T9" fmla="*/ 1 h 9"/>
                <a:gd name="T10" fmla="*/ 7 w 8"/>
                <a:gd name="T11" fmla="*/ 5 h 9"/>
                <a:gd name="T12" fmla="*/ 8 w 8"/>
                <a:gd name="T13" fmla="*/ 5 h 9"/>
                <a:gd name="T14" fmla="*/ 8 w 8"/>
                <a:gd name="T15" fmla="*/ 5 h 9"/>
                <a:gd name="T16" fmla="*/ 4 w 8"/>
                <a:gd name="T17" fmla="*/ 0 h 9"/>
                <a:gd name="T18" fmla="*/ 0 w 8"/>
                <a:gd name="T19" fmla="*/ 5 h 9"/>
                <a:gd name="T20" fmla="*/ 4 w 8"/>
                <a:gd name="T21" fmla="*/ 9 h 9"/>
                <a:gd name="T22" fmla="*/ 8 w 8"/>
                <a:gd name="T2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6" y="1"/>
                    <a:pt x="7" y="3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1" y="0"/>
                    <a:pt x="0" y="2"/>
                    <a:pt x="0" y="5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6" y="9"/>
                    <a:pt x="8" y="7"/>
                    <a:pt x="8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1" name="Freeform 1848">
              <a:extLst>
                <a:ext uri="{FF2B5EF4-FFF2-40B4-BE49-F238E27FC236}">
                  <a16:creationId xmlns:a16="http://schemas.microsoft.com/office/drawing/2014/main" id="{54BB4A6B-0E9E-43AE-B2D6-5C68BA00E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2209"/>
              <a:ext cx="41" cy="88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9 h 35"/>
                <a:gd name="T4" fmla="*/ 2 w 16"/>
                <a:gd name="T5" fmla="*/ 11 h 35"/>
                <a:gd name="T6" fmla="*/ 3 w 16"/>
                <a:gd name="T7" fmla="*/ 11 h 35"/>
                <a:gd name="T8" fmla="*/ 3 w 16"/>
                <a:gd name="T9" fmla="*/ 18 h 35"/>
                <a:gd name="T10" fmla="*/ 3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8 h 35"/>
                <a:gd name="T18" fmla="*/ 9 w 16"/>
                <a:gd name="T19" fmla="*/ 18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8 h 35"/>
                <a:gd name="T28" fmla="*/ 13 w 16"/>
                <a:gd name="T29" fmla="*/ 16 h 35"/>
                <a:gd name="T30" fmla="*/ 14 w 16"/>
                <a:gd name="T31" fmla="*/ 16 h 35"/>
                <a:gd name="T32" fmla="*/ 16 w 16"/>
                <a:gd name="T33" fmla="*/ 14 h 35"/>
                <a:gd name="T34" fmla="*/ 16 w 16"/>
                <a:gd name="T35" fmla="*/ 5 h 35"/>
                <a:gd name="T36" fmla="*/ 10 w 16"/>
                <a:gd name="T37" fmla="*/ 0 h 35"/>
                <a:gd name="T38" fmla="*/ 5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3" y="0"/>
                    <a:pt x="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2" name="Freeform 1849">
              <a:extLst>
                <a:ext uri="{FF2B5EF4-FFF2-40B4-BE49-F238E27FC236}">
                  <a16:creationId xmlns:a16="http://schemas.microsoft.com/office/drawing/2014/main" id="{D525AF9B-E921-4EC8-96F0-5F53859C6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" y="2206"/>
              <a:ext cx="43" cy="91"/>
            </a:xfrm>
            <a:custGeom>
              <a:avLst/>
              <a:gdLst>
                <a:gd name="T0" fmla="*/ 1 w 17"/>
                <a:gd name="T1" fmla="*/ 6 h 36"/>
                <a:gd name="T2" fmla="*/ 0 w 17"/>
                <a:gd name="T3" fmla="*/ 6 h 36"/>
                <a:gd name="T4" fmla="*/ 0 w 17"/>
                <a:gd name="T5" fmla="*/ 10 h 36"/>
                <a:gd name="T6" fmla="*/ 3 w 17"/>
                <a:gd name="T7" fmla="*/ 12 h 36"/>
                <a:gd name="T8" fmla="*/ 4 w 17"/>
                <a:gd name="T9" fmla="*/ 12 h 36"/>
                <a:gd name="T10" fmla="*/ 4 w 17"/>
                <a:gd name="T11" fmla="*/ 19 h 36"/>
                <a:gd name="T12" fmla="*/ 4 w 17"/>
                <a:gd name="T13" fmla="*/ 34 h 36"/>
                <a:gd name="T14" fmla="*/ 6 w 17"/>
                <a:gd name="T15" fmla="*/ 36 h 36"/>
                <a:gd name="T16" fmla="*/ 8 w 17"/>
                <a:gd name="T17" fmla="*/ 34 h 36"/>
                <a:gd name="T18" fmla="*/ 8 w 17"/>
                <a:gd name="T19" fmla="*/ 20 h 36"/>
                <a:gd name="T20" fmla="*/ 9 w 17"/>
                <a:gd name="T21" fmla="*/ 20 h 36"/>
                <a:gd name="T22" fmla="*/ 9 w 17"/>
                <a:gd name="T23" fmla="*/ 34 h 36"/>
                <a:gd name="T24" fmla="*/ 12 w 17"/>
                <a:gd name="T25" fmla="*/ 36 h 36"/>
                <a:gd name="T26" fmla="*/ 14 w 17"/>
                <a:gd name="T27" fmla="*/ 34 h 36"/>
                <a:gd name="T28" fmla="*/ 14 w 17"/>
                <a:gd name="T29" fmla="*/ 19 h 36"/>
                <a:gd name="T30" fmla="*/ 14 w 17"/>
                <a:gd name="T31" fmla="*/ 18 h 36"/>
                <a:gd name="T32" fmla="*/ 15 w 17"/>
                <a:gd name="T33" fmla="*/ 18 h 36"/>
                <a:gd name="T34" fmla="*/ 17 w 17"/>
                <a:gd name="T35" fmla="*/ 15 h 36"/>
                <a:gd name="T36" fmla="*/ 17 w 17"/>
                <a:gd name="T37" fmla="*/ 6 h 36"/>
                <a:gd name="T38" fmla="*/ 11 w 17"/>
                <a:gd name="T39" fmla="*/ 0 h 36"/>
                <a:gd name="T40" fmla="*/ 6 w 17"/>
                <a:gd name="T41" fmla="*/ 0 h 36"/>
                <a:gd name="T42" fmla="*/ 0 w 17"/>
                <a:gd name="T43" fmla="*/ 6 h 36"/>
                <a:gd name="T44" fmla="*/ 1 w 17"/>
                <a:gd name="T45" fmla="*/ 6 h 36"/>
                <a:gd name="T46" fmla="*/ 1 w 17"/>
                <a:gd name="T47" fmla="*/ 6 h 36"/>
                <a:gd name="T48" fmla="*/ 6 w 17"/>
                <a:gd name="T49" fmla="*/ 1 h 36"/>
                <a:gd name="T50" fmla="*/ 11 w 17"/>
                <a:gd name="T51" fmla="*/ 1 h 36"/>
                <a:gd name="T52" fmla="*/ 16 w 17"/>
                <a:gd name="T53" fmla="*/ 6 h 36"/>
                <a:gd name="T54" fmla="*/ 16 w 17"/>
                <a:gd name="T55" fmla="*/ 15 h 36"/>
                <a:gd name="T56" fmla="*/ 15 w 17"/>
                <a:gd name="T57" fmla="*/ 17 h 36"/>
                <a:gd name="T58" fmla="*/ 14 w 17"/>
                <a:gd name="T59" fmla="*/ 17 h 36"/>
                <a:gd name="T60" fmla="*/ 13 w 17"/>
                <a:gd name="T61" fmla="*/ 17 h 36"/>
                <a:gd name="T62" fmla="*/ 13 w 17"/>
                <a:gd name="T63" fmla="*/ 19 h 36"/>
                <a:gd name="T64" fmla="*/ 13 w 17"/>
                <a:gd name="T65" fmla="*/ 34 h 36"/>
                <a:gd name="T66" fmla="*/ 12 w 17"/>
                <a:gd name="T67" fmla="*/ 35 h 36"/>
                <a:gd name="T68" fmla="*/ 10 w 17"/>
                <a:gd name="T69" fmla="*/ 34 h 36"/>
                <a:gd name="T70" fmla="*/ 10 w 17"/>
                <a:gd name="T71" fmla="*/ 19 h 36"/>
                <a:gd name="T72" fmla="*/ 7 w 17"/>
                <a:gd name="T73" fmla="*/ 19 h 36"/>
                <a:gd name="T74" fmla="*/ 7 w 17"/>
                <a:gd name="T75" fmla="*/ 34 h 36"/>
                <a:gd name="T76" fmla="*/ 6 w 17"/>
                <a:gd name="T77" fmla="*/ 35 h 36"/>
                <a:gd name="T78" fmla="*/ 4 w 17"/>
                <a:gd name="T79" fmla="*/ 34 h 36"/>
                <a:gd name="T80" fmla="*/ 4 w 17"/>
                <a:gd name="T81" fmla="*/ 19 h 36"/>
                <a:gd name="T82" fmla="*/ 4 w 17"/>
                <a:gd name="T83" fmla="*/ 11 h 36"/>
                <a:gd name="T84" fmla="*/ 3 w 17"/>
                <a:gd name="T85" fmla="*/ 11 h 36"/>
                <a:gd name="T86" fmla="*/ 1 w 17"/>
                <a:gd name="T87" fmla="*/ 10 h 36"/>
                <a:gd name="T88" fmla="*/ 1 w 17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" h="36">
                  <a:moveTo>
                    <a:pt x="1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5" y="36"/>
                    <a:pt x="6" y="36"/>
                  </a:cubicBezTo>
                  <a:cubicBezTo>
                    <a:pt x="7" y="36"/>
                    <a:pt x="8" y="35"/>
                    <a:pt x="8" y="3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10" y="36"/>
                    <a:pt x="12" y="36"/>
                  </a:cubicBezTo>
                  <a:cubicBezTo>
                    <a:pt x="13" y="36"/>
                    <a:pt x="14" y="35"/>
                    <a:pt x="14" y="34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8"/>
                    <a:pt x="17" y="17"/>
                    <a:pt x="17" y="1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15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4" y="1"/>
                    <a:pt x="16" y="3"/>
                    <a:pt x="16" y="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5"/>
                    <a:pt x="12" y="35"/>
                    <a:pt x="12" y="35"/>
                  </a:cubicBezTo>
                  <a:cubicBezTo>
                    <a:pt x="11" y="35"/>
                    <a:pt x="10" y="35"/>
                    <a:pt x="10" y="3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7" y="35"/>
                    <a:pt x="6" y="35"/>
                  </a:cubicBezTo>
                  <a:cubicBezTo>
                    <a:pt x="5" y="35"/>
                    <a:pt x="4" y="35"/>
                    <a:pt x="4" y="3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3" name="Rectangle 1850">
              <a:extLst>
                <a:ext uri="{FF2B5EF4-FFF2-40B4-BE49-F238E27FC236}">
                  <a16:creationId xmlns:a16="http://schemas.microsoft.com/office/drawing/2014/main" id="{155746C8-8D68-4781-98CB-9F6B790E26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2221"/>
              <a:ext cx="1" cy="16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4" name="Freeform 1851">
              <a:extLst>
                <a:ext uri="{FF2B5EF4-FFF2-40B4-BE49-F238E27FC236}">
                  <a16:creationId xmlns:a16="http://schemas.microsoft.com/office/drawing/2014/main" id="{17163C56-BB88-4AB2-9E5B-D36ECACBC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" y="2221"/>
              <a:ext cx="0" cy="16"/>
            </a:xfrm>
            <a:custGeom>
              <a:avLst/>
              <a:gdLst>
                <a:gd name="T0" fmla="*/ 16 h 16"/>
                <a:gd name="T1" fmla="*/ 0 h 16"/>
                <a:gd name="T2" fmla="*/ 0 h 16"/>
                <a:gd name="T3" fmla="*/ 16 h 1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6">
                  <a:moveTo>
                    <a:pt x="0" y="1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5" name="Rectangle 1852">
              <a:extLst>
                <a:ext uri="{FF2B5EF4-FFF2-40B4-BE49-F238E27FC236}">
                  <a16:creationId xmlns:a16="http://schemas.microsoft.com/office/drawing/2014/main" id="{11CABE40-71F1-4438-ADA1-EAAD23E31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" y="2221"/>
              <a:ext cx="2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6" name="Freeform 1853">
              <a:extLst>
                <a:ext uri="{FF2B5EF4-FFF2-40B4-BE49-F238E27FC236}">
                  <a16:creationId xmlns:a16="http://schemas.microsoft.com/office/drawing/2014/main" id="{9E052EE1-A3B7-4A4B-B3D1-D9240226E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" y="2221"/>
              <a:ext cx="2" cy="28"/>
            </a:xfrm>
            <a:custGeom>
              <a:avLst/>
              <a:gdLst>
                <a:gd name="T0" fmla="*/ 2 w 2"/>
                <a:gd name="T1" fmla="*/ 28 h 28"/>
                <a:gd name="T2" fmla="*/ 2 w 2"/>
                <a:gd name="T3" fmla="*/ 0 h 28"/>
                <a:gd name="T4" fmla="*/ 0 w 2"/>
                <a:gd name="T5" fmla="*/ 0 h 28"/>
                <a:gd name="T6" fmla="*/ 0 w 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8">
                  <a:moveTo>
                    <a:pt x="2" y="2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7" name="Rectangle 1854">
              <a:extLst>
                <a:ext uri="{FF2B5EF4-FFF2-40B4-BE49-F238E27FC236}">
                  <a16:creationId xmlns:a16="http://schemas.microsoft.com/office/drawing/2014/main" id="{19BF9C75-E612-4EF4-A424-FC29695E9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5" y="2226"/>
              <a:ext cx="8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8" name="Freeform 1855">
              <a:extLst>
                <a:ext uri="{FF2B5EF4-FFF2-40B4-BE49-F238E27FC236}">
                  <a16:creationId xmlns:a16="http://schemas.microsoft.com/office/drawing/2014/main" id="{6A0B3335-D7CE-42D2-9AC8-5E69A1BA4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" y="2224"/>
              <a:ext cx="11" cy="15"/>
            </a:xfrm>
            <a:custGeom>
              <a:avLst/>
              <a:gdLst>
                <a:gd name="T0" fmla="*/ 11 w 11"/>
                <a:gd name="T1" fmla="*/ 13 h 15"/>
                <a:gd name="T2" fmla="*/ 11 w 11"/>
                <a:gd name="T3" fmla="*/ 13 h 15"/>
                <a:gd name="T4" fmla="*/ 3 w 11"/>
                <a:gd name="T5" fmla="*/ 13 h 15"/>
                <a:gd name="T6" fmla="*/ 3 w 11"/>
                <a:gd name="T7" fmla="*/ 2 h 15"/>
                <a:gd name="T8" fmla="*/ 8 w 11"/>
                <a:gd name="T9" fmla="*/ 2 h 15"/>
                <a:gd name="T10" fmla="*/ 8 w 11"/>
                <a:gd name="T11" fmla="*/ 13 h 15"/>
                <a:gd name="T12" fmla="*/ 11 w 11"/>
                <a:gd name="T13" fmla="*/ 13 h 15"/>
                <a:gd name="T14" fmla="*/ 11 w 11"/>
                <a:gd name="T15" fmla="*/ 13 h 15"/>
                <a:gd name="T16" fmla="*/ 11 w 11"/>
                <a:gd name="T17" fmla="*/ 13 h 15"/>
                <a:gd name="T18" fmla="*/ 11 w 11"/>
                <a:gd name="T19" fmla="*/ 13 h 15"/>
                <a:gd name="T20" fmla="*/ 11 w 11"/>
                <a:gd name="T21" fmla="*/ 0 h 15"/>
                <a:gd name="T22" fmla="*/ 0 w 11"/>
                <a:gd name="T23" fmla="*/ 0 h 15"/>
                <a:gd name="T24" fmla="*/ 0 w 11"/>
                <a:gd name="T25" fmla="*/ 15 h 15"/>
                <a:gd name="T26" fmla="*/ 11 w 11"/>
                <a:gd name="T27" fmla="*/ 15 h 15"/>
                <a:gd name="T28" fmla="*/ 11 w 11"/>
                <a:gd name="T29" fmla="*/ 13 h 15"/>
                <a:gd name="T30" fmla="*/ 11 w 11"/>
                <a:gd name="T3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5">
                  <a:moveTo>
                    <a:pt x="11" y="13"/>
                  </a:moveTo>
                  <a:lnTo>
                    <a:pt x="11" y="13"/>
                  </a:lnTo>
                  <a:lnTo>
                    <a:pt x="3" y="13"/>
                  </a:lnTo>
                  <a:lnTo>
                    <a:pt x="3" y="2"/>
                  </a:lnTo>
                  <a:lnTo>
                    <a:pt x="8" y="2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9" name="Freeform 1856">
              <a:extLst>
                <a:ext uri="{FF2B5EF4-FFF2-40B4-BE49-F238E27FC236}">
                  <a16:creationId xmlns:a16="http://schemas.microsoft.com/office/drawing/2014/main" id="{6DFB6EF7-2FDF-4B50-9F37-4A5A07D4A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" y="2229"/>
              <a:ext cx="20" cy="13"/>
            </a:xfrm>
            <a:custGeom>
              <a:avLst/>
              <a:gdLst>
                <a:gd name="T0" fmla="*/ 0 w 8"/>
                <a:gd name="T1" fmla="*/ 3 h 5"/>
                <a:gd name="T2" fmla="*/ 5 w 8"/>
                <a:gd name="T3" fmla="*/ 5 h 5"/>
                <a:gd name="T4" fmla="*/ 8 w 8"/>
                <a:gd name="T5" fmla="*/ 4 h 5"/>
                <a:gd name="T6" fmla="*/ 7 w 8"/>
                <a:gd name="T7" fmla="*/ 2 h 5"/>
                <a:gd name="T8" fmla="*/ 2 w 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3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7" y="5"/>
                    <a:pt x="8" y="4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0" name="Freeform 1857">
              <a:extLst>
                <a:ext uri="{FF2B5EF4-FFF2-40B4-BE49-F238E27FC236}">
                  <a16:creationId xmlns:a16="http://schemas.microsoft.com/office/drawing/2014/main" id="{79341BAC-A20C-44FE-8BD0-C7A58916C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" y="2226"/>
              <a:ext cx="20" cy="18"/>
            </a:xfrm>
            <a:custGeom>
              <a:avLst/>
              <a:gdLst>
                <a:gd name="T0" fmla="*/ 0 w 8"/>
                <a:gd name="T1" fmla="*/ 4 h 7"/>
                <a:gd name="T2" fmla="*/ 5 w 8"/>
                <a:gd name="T3" fmla="*/ 6 h 7"/>
                <a:gd name="T4" fmla="*/ 6 w 8"/>
                <a:gd name="T5" fmla="*/ 7 h 7"/>
                <a:gd name="T6" fmla="*/ 8 w 8"/>
                <a:gd name="T7" fmla="*/ 5 h 7"/>
                <a:gd name="T8" fmla="*/ 8 w 8"/>
                <a:gd name="T9" fmla="*/ 5 h 7"/>
                <a:gd name="T10" fmla="*/ 7 w 8"/>
                <a:gd name="T11" fmla="*/ 3 h 7"/>
                <a:gd name="T12" fmla="*/ 7 w 8"/>
                <a:gd name="T13" fmla="*/ 3 h 7"/>
                <a:gd name="T14" fmla="*/ 7 w 8"/>
                <a:gd name="T15" fmla="*/ 3 h 7"/>
                <a:gd name="T16" fmla="*/ 2 w 8"/>
                <a:gd name="T17" fmla="*/ 0 h 7"/>
                <a:gd name="T18" fmla="*/ 1 w 8"/>
                <a:gd name="T19" fmla="*/ 1 h 7"/>
                <a:gd name="T20" fmla="*/ 7 w 8"/>
                <a:gd name="T21" fmla="*/ 3 h 7"/>
                <a:gd name="T22" fmla="*/ 7 w 8"/>
                <a:gd name="T23" fmla="*/ 3 h 7"/>
                <a:gd name="T24" fmla="*/ 7 w 8"/>
                <a:gd name="T25" fmla="*/ 5 h 7"/>
                <a:gd name="T26" fmla="*/ 7 w 8"/>
                <a:gd name="T27" fmla="*/ 5 h 7"/>
                <a:gd name="T28" fmla="*/ 6 w 8"/>
                <a:gd name="T29" fmla="*/ 6 h 7"/>
                <a:gd name="T30" fmla="*/ 6 w 8"/>
                <a:gd name="T31" fmla="*/ 6 h 7"/>
                <a:gd name="T32" fmla="*/ 0 w 8"/>
                <a:gd name="T33" fmla="*/ 3 h 7"/>
                <a:gd name="T34" fmla="*/ 0 w 8"/>
                <a:gd name="T35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7">
                  <a:moveTo>
                    <a:pt x="0" y="4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8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1" name="Rectangle 1858">
              <a:extLst>
                <a:ext uri="{FF2B5EF4-FFF2-40B4-BE49-F238E27FC236}">
                  <a16:creationId xmlns:a16="http://schemas.microsoft.com/office/drawing/2014/main" id="{8D53B919-C4F8-4DFE-A89C-24284CD0C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" y="2280"/>
              <a:ext cx="231" cy="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2" name="Freeform 1859">
              <a:extLst>
                <a:ext uri="{FF2B5EF4-FFF2-40B4-BE49-F238E27FC236}">
                  <a16:creationId xmlns:a16="http://schemas.microsoft.com/office/drawing/2014/main" id="{9009AA22-D673-4F6F-B786-414B6C9F6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3" y="2280"/>
              <a:ext cx="231" cy="58"/>
            </a:xfrm>
            <a:custGeom>
              <a:avLst/>
              <a:gdLst>
                <a:gd name="T0" fmla="*/ 231 w 231"/>
                <a:gd name="T1" fmla="*/ 55 h 58"/>
                <a:gd name="T2" fmla="*/ 231 w 231"/>
                <a:gd name="T3" fmla="*/ 55 h 58"/>
                <a:gd name="T4" fmla="*/ 3 w 231"/>
                <a:gd name="T5" fmla="*/ 55 h 58"/>
                <a:gd name="T6" fmla="*/ 3 w 231"/>
                <a:gd name="T7" fmla="*/ 2 h 58"/>
                <a:gd name="T8" fmla="*/ 228 w 231"/>
                <a:gd name="T9" fmla="*/ 2 h 58"/>
                <a:gd name="T10" fmla="*/ 228 w 231"/>
                <a:gd name="T11" fmla="*/ 55 h 58"/>
                <a:gd name="T12" fmla="*/ 231 w 231"/>
                <a:gd name="T13" fmla="*/ 55 h 58"/>
                <a:gd name="T14" fmla="*/ 231 w 231"/>
                <a:gd name="T15" fmla="*/ 55 h 58"/>
                <a:gd name="T16" fmla="*/ 231 w 231"/>
                <a:gd name="T17" fmla="*/ 55 h 58"/>
                <a:gd name="T18" fmla="*/ 231 w 231"/>
                <a:gd name="T19" fmla="*/ 55 h 58"/>
                <a:gd name="T20" fmla="*/ 231 w 231"/>
                <a:gd name="T21" fmla="*/ 0 h 58"/>
                <a:gd name="T22" fmla="*/ 0 w 231"/>
                <a:gd name="T23" fmla="*/ 0 h 58"/>
                <a:gd name="T24" fmla="*/ 0 w 231"/>
                <a:gd name="T25" fmla="*/ 58 h 58"/>
                <a:gd name="T26" fmla="*/ 231 w 231"/>
                <a:gd name="T27" fmla="*/ 58 h 58"/>
                <a:gd name="T28" fmla="*/ 231 w 231"/>
                <a:gd name="T29" fmla="*/ 55 h 58"/>
                <a:gd name="T30" fmla="*/ 231 w 231"/>
                <a:gd name="T31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1" h="58">
                  <a:moveTo>
                    <a:pt x="231" y="55"/>
                  </a:moveTo>
                  <a:lnTo>
                    <a:pt x="231" y="55"/>
                  </a:lnTo>
                  <a:lnTo>
                    <a:pt x="3" y="55"/>
                  </a:lnTo>
                  <a:lnTo>
                    <a:pt x="3" y="2"/>
                  </a:lnTo>
                  <a:lnTo>
                    <a:pt x="228" y="2"/>
                  </a:lnTo>
                  <a:lnTo>
                    <a:pt x="228" y="55"/>
                  </a:lnTo>
                  <a:lnTo>
                    <a:pt x="231" y="55"/>
                  </a:lnTo>
                  <a:lnTo>
                    <a:pt x="231" y="55"/>
                  </a:lnTo>
                  <a:lnTo>
                    <a:pt x="231" y="55"/>
                  </a:lnTo>
                  <a:lnTo>
                    <a:pt x="231" y="55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231" y="58"/>
                  </a:lnTo>
                  <a:lnTo>
                    <a:pt x="231" y="55"/>
                  </a:lnTo>
                  <a:lnTo>
                    <a:pt x="231" y="5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3" name="Freeform 1860">
              <a:extLst>
                <a:ext uri="{FF2B5EF4-FFF2-40B4-BE49-F238E27FC236}">
                  <a16:creationId xmlns:a16="http://schemas.microsoft.com/office/drawing/2014/main" id="{3CDC3C81-FB05-4A25-8942-6D57286A2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4" name="Freeform 1861">
              <a:extLst>
                <a:ext uri="{FF2B5EF4-FFF2-40B4-BE49-F238E27FC236}">
                  <a16:creationId xmlns:a16="http://schemas.microsoft.com/office/drawing/2014/main" id="{7AC1DE07-EA6E-4438-82D7-8A805FCCD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5" name="Freeform 1862">
              <a:extLst>
                <a:ext uri="{FF2B5EF4-FFF2-40B4-BE49-F238E27FC236}">
                  <a16:creationId xmlns:a16="http://schemas.microsoft.com/office/drawing/2014/main" id="{EA2F9614-1BFA-48CE-8921-E72ECE778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6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6" name="Freeform 1863">
              <a:extLst>
                <a:ext uri="{FF2B5EF4-FFF2-40B4-BE49-F238E27FC236}">
                  <a16:creationId xmlns:a16="http://schemas.microsoft.com/office/drawing/2014/main" id="{3F54F70C-0FB0-4965-9078-833397487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6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7" name="Freeform 1864">
              <a:extLst>
                <a:ext uri="{FF2B5EF4-FFF2-40B4-BE49-F238E27FC236}">
                  <a16:creationId xmlns:a16="http://schemas.microsoft.com/office/drawing/2014/main" id="{0CA85BC5-F57F-45ED-A946-52642DE5F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2335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8" name="Freeform 1865">
              <a:extLst>
                <a:ext uri="{FF2B5EF4-FFF2-40B4-BE49-F238E27FC236}">
                  <a16:creationId xmlns:a16="http://schemas.microsoft.com/office/drawing/2014/main" id="{B5876C8C-015D-4AB4-85E1-B266BFEA7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2335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9" name="Freeform 1866">
              <a:extLst>
                <a:ext uri="{FF2B5EF4-FFF2-40B4-BE49-F238E27FC236}">
                  <a16:creationId xmlns:a16="http://schemas.microsoft.com/office/drawing/2014/main" id="{85242275-DBAD-4C36-851C-5D14173BE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0" name="Freeform 1867">
              <a:extLst>
                <a:ext uri="{FF2B5EF4-FFF2-40B4-BE49-F238E27FC236}">
                  <a16:creationId xmlns:a16="http://schemas.microsoft.com/office/drawing/2014/main" id="{0DA396E0-4E54-4902-94A3-186A46115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1" name="Freeform 1868">
              <a:extLst>
                <a:ext uri="{FF2B5EF4-FFF2-40B4-BE49-F238E27FC236}">
                  <a16:creationId xmlns:a16="http://schemas.microsoft.com/office/drawing/2014/main" id="{4C69BA97-2FB9-4B19-BD1C-7EC415055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" y="2335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2" name="Freeform 1869">
              <a:extLst>
                <a:ext uri="{FF2B5EF4-FFF2-40B4-BE49-F238E27FC236}">
                  <a16:creationId xmlns:a16="http://schemas.microsoft.com/office/drawing/2014/main" id="{3808873E-9373-4630-AB71-1EF79DB4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" y="2335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3" name="Freeform 1870">
              <a:extLst>
                <a:ext uri="{FF2B5EF4-FFF2-40B4-BE49-F238E27FC236}">
                  <a16:creationId xmlns:a16="http://schemas.microsoft.com/office/drawing/2014/main" id="{FA4C063B-2F71-4208-AB09-43117B876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4" name="Freeform 1871">
              <a:extLst>
                <a:ext uri="{FF2B5EF4-FFF2-40B4-BE49-F238E27FC236}">
                  <a16:creationId xmlns:a16="http://schemas.microsoft.com/office/drawing/2014/main" id="{F43CE076-96D5-48BE-8DEC-623A2225D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1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5" name="Freeform 1872">
              <a:extLst>
                <a:ext uri="{FF2B5EF4-FFF2-40B4-BE49-F238E27FC236}">
                  <a16:creationId xmlns:a16="http://schemas.microsoft.com/office/drawing/2014/main" id="{6DE1A076-E3FB-4688-AEF9-24896733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1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6" name="Freeform 1873">
              <a:extLst>
                <a:ext uri="{FF2B5EF4-FFF2-40B4-BE49-F238E27FC236}">
                  <a16:creationId xmlns:a16="http://schemas.microsoft.com/office/drawing/2014/main" id="{045A73CC-762A-4333-ABD5-5508EEB26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1" y="2335"/>
              <a:ext cx="17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0 w 7"/>
                <a:gd name="T7" fmla="*/ 0 h 4"/>
                <a:gd name="T8" fmla="*/ 0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7" name="Freeform 1874">
              <a:extLst>
                <a:ext uri="{FF2B5EF4-FFF2-40B4-BE49-F238E27FC236}">
                  <a16:creationId xmlns:a16="http://schemas.microsoft.com/office/drawing/2014/main" id="{6ABB7A3D-6808-4C0B-9CDD-D4333C53F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" y="2335"/>
              <a:ext cx="16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8" name="Freeform 1875">
              <a:extLst>
                <a:ext uri="{FF2B5EF4-FFF2-40B4-BE49-F238E27FC236}">
                  <a16:creationId xmlns:a16="http://schemas.microsoft.com/office/drawing/2014/main" id="{C4E2E85D-9DD5-4B64-9A7A-858528C0B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0 w 7"/>
                <a:gd name="T7" fmla="*/ 0 h 4"/>
                <a:gd name="T8" fmla="*/ 0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9" name="Freeform 1876">
              <a:extLst>
                <a:ext uri="{FF2B5EF4-FFF2-40B4-BE49-F238E27FC236}">
                  <a16:creationId xmlns:a16="http://schemas.microsoft.com/office/drawing/2014/main" id="{0D7EF463-441D-4753-93E4-23FCFEAE6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0 w 6"/>
                <a:gd name="T3" fmla="*/ 0 h 3"/>
                <a:gd name="T4" fmla="*/ 6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2" y="3"/>
                    <a:pt x="0" y="2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0" name="Freeform 1877">
              <a:extLst>
                <a:ext uri="{FF2B5EF4-FFF2-40B4-BE49-F238E27FC236}">
                  <a16:creationId xmlns:a16="http://schemas.microsoft.com/office/drawing/2014/main" id="{C8CD4F05-0F85-45E9-9C2C-920D2409B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  <a:gd name="T4" fmla="*/ 1 w 6"/>
                <a:gd name="T5" fmla="*/ 0 h 4"/>
                <a:gd name="T6" fmla="*/ 0 w 6"/>
                <a:gd name="T7" fmla="*/ 0 h 4"/>
                <a:gd name="T8" fmla="*/ 0 w 6"/>
                <a:gd name="T9" fmla="*/ 1 h 4"/>
                <a:gd name="T10" fmla="*/ 6 w 6"/>
                <a:gd name="T11" fmla="*/ 1 h 4"/>
                <a:gd name="T12" fmla="*/ 6 w 6"/>
                <a:gd name="T13" fmla="*/ 0 h 4"/>
                <a:gd name="T14" fmla="*/ 6 w 6"/>
                <a:gd name="T15" fmla="*/ 0 h 4"/>
                <a:gd name="T16" fmla="*/ 3 w 6"/>
                <a:gd name="T17" fmla="*/ 3 h 4"/>
                <a:gd name="T18" fmla="*/ 3 w 6"/>
                <a:gd name="T19" fmla="*/ 3 h 4"/>
                <a:gd name="T20" fmla="*/ 3 w 6"/>
                <a:gd name="T21" fmla="*/ 4 h 4"/>
                <a:gd name="T22" fmla="*/ 6 w 6"/>
                <a:gd name="T23" fmla="*/ 0 h 4"/>
                <a:gd name="T24" fmla="*/ 6 w 6"/>
                <a:gd name="T25" fmla="*/ 0 h 4"/>
                <a:gd name="T26" fmla="*/ 0 w 6"/>
                <a:gd name="T27" fmla="*/ 0 h 4"/>
                <a:gd name="T28" fmla="*/ 0 w 6"/>
                <a:gd name="T29" fmla="*/ 0 h 4"/>
                <a:gd name="T30" fmla="*/ 3 w 6"/>
                <a:gd name="T31" fmla="*/ 4 h 4"/>
                <a:gd name="T32" fmla="*/ 3 w 6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1" name="Freeform 1878">
              <a:extLst>
                <a:ext uri="{FF2B5EF4-FFF2-40B4-BE49-F238E27FC236}">
                  <a16:creationId xmlns:a16="http://schemas.microsoft.com/office/drawing/2014/main" id="{13D925F9-6BEF-43E8-A29F-5190027E7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4" y="2335"/>
              <a:ext cx="13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2" name="Freeform 1879">
              <a:extLst>
                <a:ext uri="{FF2B5EF4-FFF2-40B4-BE49-F238E27FC236}">
                  <a16:creationId xmlns:a16="http://schemas.microsoft.com/office/drawing/2014/main" id="{CC404072-B628-4771-AF32-EA1BF673E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2335"/>
              <a:ext cx="17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3" name="Freeform 1880">
              <a:extLst>
                <a:ext uri="{FF2B5EF4-FFF2-40B4-BE49-F238E27FC236}">
                  <a16:creationId xmlns:a16="http://schemas.microsoft.com/office/drawing/2014/main" id="{288BDD6A-4B67-46B0-A036-1B043ED68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9" y="2335"/>
              <a:ext cx="13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4" name="Freeform 1881">
              <a:extLst>
                <a:ext uri="{FF2B5EF4-FFF2-40B4-BE49-F238E27FC236}">
                  <a16:creationId xmlns:a16="http://schemas.microsoft.com/office/drawing/2014/main" id="{A5FDF268-114C-4C72-9B84-221B0D361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5" name="Freeform 1882">
              <a:extLst>
                <a:ext uri="{FF2B5EF4-FFF2-40B4-BE49-F238E27FC236}">
                  <a16:creationId xmlns:a16="http://schemas.microsoft.com/office/drawing/2014/main" id="{6F9D6429-1FB3-4691-B82E-44C5B6928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" y="2335"/>
              <a:ext cx="12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6" name="Freeform 1883">
              <a:extLst>
                <a:ext uri="{FF2B5EF4-FFF2-40B4-BE49-F238E27FC236}">
                  <a16:creationId xmlns:a16="http://schemas.microsoft.com/office/drawing/2014/main" id="{03489423-5D66-44D9-82ED-4C6B5825B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7" name="Freeform 1884">
              <a:extLst>
                <a:ext uri="{FF2B5EF4-FFF2-40B4-BE49-F238E27FC236}">
                  <a16:creationId xmlns:a16="http://schemas.microsoft.com/office/drawing/2014/main" id="{1584A48B-89EC-4C29-B3E9-37AD6EE4F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2335"/>
              <a:ext cx="13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8" name="Freeform 1885">
              <a:extLst>
                <a:ext uri="{FF2B5EF4-FFF2-40B4-BE49-F238E27FC236}">
                  <a16:creationId xmlns:a16="http://schemas.microsoft.com/office/drawing/2014/main" id="{F2C8AB9C-AA3E-413D-B4CB-EBF7129D8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9" name="Freeform 1886">
              <a:extLst>
                <a:ext uri="{FF2B5EF4-FFF2-40B4-BE49-F238E27FC236}">
                  <a16:creationId xmlns:a16="http://schemas.microsoft.com/office/drawing/2014/main" id="{96ACEF2F-8603-440D-9603-9E9F59C42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2335"/>
              <a:ext cx="12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0" name="Freeform 1887">
              <a:extLst>
                <a:ext uri="{FF2B5EF4-FFF2-40B4-BE49-F238E27FC236}">
                  <a16:creationId xmlns:a16="http://schemas.microsoft.com/office/drawing/2014/main" id="{93F006A2-7172-4A4A-A333-F5DDD6AEF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1" name="Freeform 1888">
              <a:extLst>
                <a:ext uri="{FF2B5EF4-FFF2-40B4-BE49-F238E27FC236}">
                  <a16:creationId xmlns:a16="http://schemas.microsoft.com/office/drawing/2014/main" id="{D88A9195-520D-4BC5-9FB2-0357EDCCC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" y="2335"/>
              <a:ext cx="12" cy="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0 h 3"/>
                <a:gd name="T4" fmla="*/ 5 w 5"/>
                <a:gd name="T5" fmla="*/ 0 h 3"/>
                <a:gd name="T6" fmla="*/ 2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2" name="Freeform 1889">
              <a:extLst>
                <a:ext uri="{FF2B5EF4-FFF2-40B4-BE49-F238E27FC236}">
                  <a16:creationId xmlns:a16="http://schemas.microsoft.com/office/drawing/2014/main" id="{D79BE6A8-CE7A-4BB2-A39D-C5246ACFB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335"/>
              <a:ext cx="18" cy="10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1 w 7"/>
                <a:gd name="T5" fmla="*/ 0 h 4"/>
                <a:gd name="T6" fmla="*/ 1 w 7"/>
                <a:gd name="T7" fmla="*/ 0 h 4"/>
                <a:gd name="T8" fmla="*/ 1 w 7"/>
                <a:gd name="T9" fmla="*/ 1 h 4"/>
                <a:gd name="T10" fmla="*/ 6 w 7"/>
                <a:gd name="T11" fmla="*/ 1 h 4"/>
                <a:gd name="T12" fmla="*/ 6 w 7"/>
                <a:gd name="T13" fmla="*/ 0 h 4"/>
                <a:gd name="T14" fmla="*/ 6 w 7"/>
                <a:gd name="T15" fmla="*/ 0 h 4"/>
                <a:gd name="T16" fmla="*/ 3 w 7"/>
                <a:gd name="T17" fmla="*/ 3 h 4"/>
                <a:gd name="T18" fmla="*/ 3 w 7"/>
                <a:gd name="T19" fmla="*/ 3 h 4"/>
                <a:gd name="T20" fmla="*/ 3 w 7"/>
                <a:gd name="T21" fmla="*/ 4 h 4"/>
                <a:gd name="T22" fmla="*/ 7 w 7"/>
                <a:gd name="T23" fmla="*/ 0 h 4"/>
                <a:gd name="T24" fmla="*/ 7 w 7"/>
                <a:gd name="T25" fmla="*/ 0 h 4"/>
                <a:gd name="T26" fmla="*/ 0 w 7"/>
                <a:gd name="T27" fmla="*/ 0 h 4"/>
                <a:gd name="T28" fmla="*/ 0 w 7"/>
                <a:gd name="T29" fmla="*/ 0 h 4"/>
                <a:gd name="T30" fmla="*/ 3 w 7"/>
                <a:gd name="T31" fmla="*/ 4 h 4"/>
                <a:gd name="T32" fmla="*/ 3 w 7"/>
                <a:gd name="T3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3" y="4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3" name="Freeform 1890">
              <a:extLst>
                <a:ext uri="{FF2B5EF4-FFF2-40B4-BE49-F238E27FC236}">
                  <a16:creationId xmlns:a16="http://schemas.microsoft.com/office/drawing/2014/main" id="{7232DB49-0ACC-4865-A32E-C0607BFAC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4" name="Freeform 1891">
              <a:extLst>
                <a:ext uri="{FF2B5EF4-FFF2-40B4-BE49-F238E27FC236}">
                  <a16:creationId xmlns:a16="http://schemas.microsoft.com/office/drawing/2014/main" id="{F8127B63-1C3D-4E74-BCF6-A67EC63FF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2335"/>
              <a:ext cx="17" cy="10"/>
            </a:xfrm>
            <a:custGeom>
              <a:avLst/>
              <a:gdLst>
                <a:gd name="T0" fmla="*/ 4 w 7"/>
                <a:gd name="T1" fmla="*/ 3 h 4"/>
                <a:gd name="T2" fmla="*/ 4 w 7"/>
                <a:gd name="T3" fmla="*/ 4 h 4"/>
                <a:gd name="T4" fmla="*/ 7 w 7"/>
                <a:gd name="T5" fmla="*/ 0 h 4"/>
                <a:gd name="T6" fmla="*/ 7 w 7"/>
                <a:gd name="T7" fmla="*/ 0 h 4"/>
                <a:gd name="T8" fmla="*/ 0 w 7"/>
                <a:gd name="T9" fmla="*/ 0 h 4"/>
                <a:gd name="T10" fmla="*/ 0 w 7"/>
                <a:gd name="T11" fmla="*/ 0 h 4"/>
                <a:gd name="T12" fmla="*/ 4 w 7"/>
                <a:gd name="T13" fmla="*/ 4 h 4"/>
                <a:gd name="T14" fmla="*/ 4 w 7"/>
                <a:gd name="T15" fmla="*/ 3 h 4"/>
                <a:gd name="T16" fmla="*/ 4 w 7"/>
                <a:gd name="T17" fmla="*/ 3 h 4"/>
                <a:gd name="T18" fmla="*/ 1 w 7"/>
                <a:gd name="T19" fmla="*/ 0 h 4"/>
                <a:gd name="T20" fmla="*/ 1 w 7"/>
                <a:gd name="T21" fmla="*/ 0 h 4"/>
                <a:gd name="T22" fmla="*/ 1 w 7"/>
                <a:gd name="T23" fmla="*/ 1 h 4"/>
                <a:gd name="T24" fmla="*/ 7 w 7"/>
                <a:gd name="T25" fmla="*/ 1 h 4"/>
                <a:gd name="T26" fmla="*/ 7 w 7"/>
                <a:gd name="T27" fmla="*/ 0 h 4"/>
                <a:gd name="T28" fmla="*/ 6 w 7"/>
                <a:gd name="T29" fmla="*/ 0 h 4"/>
                <a:gd name="T30" fmla="*/ 4 w 7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7" y="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2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5" name="Freeform 1892">
              <a:extLst>
                <a:ext uri="{FF2B5EF4-FFF2-40B4-BE49-F238E27FC236}">
                  <a16:creationId xmlns:a16="http://schemas.microsoft.com/office/drawing/2014/main" id="{A98FCCD5-B437-4AD3-8C54-0826F2779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5" y="2335"/>
              <a:ext cx="16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6" name="Freeform 1893">
              <a:extLst>
                <a:ext uri="{FF2B5EF4-FFF2-40B4-BE49-F238E27FC236}">
                  <a16:creationId xmlns:a16="http://schemas.microsoft.com/office/drawing/2014/main" id="{7E01A5E5-9A07-4E63-8821-CD5886910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5" y="2335"/>
              <a:ext cx="16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7" name="Freeform 1894">
              <a:extLst>
                <a:ext uri="{FF2B5EF4-FFF2-40B4-BE49-F238E27FC236}">
                  <a16:creationId xmlns:a16="http://schemas.microsoft.com/office/drawing/2014/main" id="{0972FEA0-2F77-42C6-8A96-8BB1C519B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1" y="2335"/>
              <a:ext cx="15" cy="8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4" y="3"/>
                    <a:pt x="6" y="2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8" name="Freeform 1895">
              <a:extLst>
                <a:ext uri="{FF2B5EF4-FFF2-40B4-BE49-F238E27FC236}">
                  <a16:creationId xmlns:a16="http://schemas.microsoft.com/office/drawing/2014/main" id="{EFACF68F-7ABD-4196-B94E-CC3970DFE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1" y="2335"/>
              <a:ext cx="15" cy="10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4 h 4"/>
                <a:gd name="T4" fmla="*/ 6 w 6"/>
                <a:gd name="T5" fmla="*/ 0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3 w 6"/>
                <a:gd name="T13" fmla="*/ 4 h 4"/>
                <a:gd name="T14" fmla="*/ 3 w 6"/>
                <a:gd name="T15" fmla="*/ 3 h 4"/>
                <a:gd name="T16" fmla="*/ 3 w 6"/>
                <a:gd name="T17" fmla="*/ 3 h 4"/>
                <a:gd name="T18" fmla="*/ 0 w 6"/>
                <a:gd name="T19" fmla="*/ 0 h 4"/>
                <a:gd name="T20" fmla="*/ 0 w 6"/>
                <a:gd name="T21" fmla="*/ 0 h 4"/>
                <a:gd name="T22" fmla="*/ 0 w 6"/>
                <a:gd name="T23" fmla="*/ 1 h 4"/>
                <a:gd name="T24" fmla="*/ 6 w 6"/>
                <a:gd name="T25" fmla="*/ 1 h 4"/>
                <a:gd name="T26" fmla="*/ 6 w 6"/>
                <a:gd name="T27" fmla="*/ 0 h 4"/>
                <a:gd name="T28" fmla="*/ 5 w 6"/>
                <a:gd name="T29" fmla="*/ 0 h 4"/>
                <a:gd name="T30" fmla="*/ 3 w 6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4" y="3"/>
                    <a:pt x="3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9" name="Freeform 1896">
              <a:extLst>
                <a:ext uri="{FF2B5EF4-FFF2-40B4-BE49-F238E27FC236}">
                  <a16:creationId xmlns:a16="http://schemas.microsoft.com/office/drawing/2014/main" id="{5AAE7E2D-B53F-4130-AA27-ECD595384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" y="2280"/>
              <a:ext cx="222" cy="55"/>
            </a:xfrm>
            <a:custGeom>
              <a:avLst/>
              <a:gdLst>
                <a:gd name="T0" fmla="*/ 2 w 88"/>
                <a:gd name="T1" fmla="*/ 22 h 22"/>
                <a:gd name="T2" fmla="*/ 88 w 88"/>
                <a:gd name="T3" fmla="*/ 22 h 22"/>
                <a:gd name="T4" fmla="*/ 88 w 88"/>
                <a:gd name="T5" fmla="*/ 0 h 22"/>
                <a:gd name="T6" fmla="*/ 8 w 88"/>
                <a:gd name="T7" fmla="*/ 0 h 22"/>
                <a:gd name="T8" fmla="*/ 3 w 88"/>
                <a:gd name="T9" fmla="*/ 5 h 22"/>
                <a:gd name="T10" fmla="*/ 1 w 88"/>
                <a:gd name="T11" fmla="*/ 21 h 22"/>
                <a:gd name="T12" fmla="*/ 2 w 8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22">
                  <a:moveTo>
                    <a:pt x="2" y="22"/>
                  </a:moveTo>
                  <a:cubicBezTo>
                    <a:pt x="88" y="22"/>
                    <a:pt x="88" y="22"/>
                    <a:pt x="88" y="22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2"/>
                    <a:pt x="3" y="5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1" y="22"/>
                    <a:pt x="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0" name="Freeform 1897">
              <a:extLst>
                <a:ext uri="{FF2B5EF4-FFF2-40B4-BE49-F238E27FC236}">
                  <a16:creationId xmlns:a16="http://schemas.microsoft.com/office/drawing/2014/main" id="{36BE5943-42C3-4F90-BDB3-74A2B8747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" y="2280"/>
              <a:ext cx="225" cy="58"/>
            </a:xfrm>
            <a:custGeom>
              <a:avLst/>
              <a:gdLst>
                <a:gd name="T0" fmla="*/ 2 w 89"/>
                <a:gd name="T1" fmla="*/ 22 h 23"/>
                <a:gd name="T2" fmla="*/ 2 w 89"/>
                <a:gd name="T3" fmla="*/ 23 h 23"/>
                <a:gd name="T4" fmla="*/ 89 w 89"/>
                <a:gd name="T5" fmla="*/ 23 h 23"/>
                <a:gd name="T6" fmla="*/ 89 w 89"/>
                <a:gd name="T7" fmla="*/ 0 h 23"/>
                <a:gd name="T8" fmla="*/ 8 w 89"/>
                <a:gd name="T9" fmla="*/ 0 h 23"/>
                <a:gd name="T10" fmla="*/ 3 w 89"/>
                <a:gd name="T11" fmla="*/ 5 h 23"/>
                <a:gd name="T12" fmla="*/ 3 w 89"/>
                <a:gd name="T13" fmla="*/ 5 h 23"/>
                <a:gd name="T14" fmla="*/ 3 w 89"/>
                <a:gd name="T15" fmla="*/ 5 h 23"/>
                <a:gd name="T16" fmla="*/ 0 w 89"/>
                <a:gd name="T17" fmla="*/ 21 h 23"/>
                <a:gd name="T18" fmla="*/ 0 w 89"/>
                <a:gd name="T19" fmla="*/ 21 h 23"/>
                <a:gd name="T20" fmla="*/ 0 w 89"/>
                <a:gd name="T21" fmla="*/ 21 h 23"/>
                <a:gd name="T22" fmla="*/ 2 w 89"/>
                <a:gd name="T23" fmla="*/ 23 h 23"/>
                <a:gd name="T24" fmla="*/ 2 w 89"/>
                <a:gd name="T25" fmla="*/ 22 h 23"/>
                <a:gd name="T26" fmla="*/ 2 w 89"/>
                <a:gd name="T27" fmla="*/ 22 h 23"/>
                <a:gd name="T28" fmla="*/ 1 w 89"/>
                <a:gd name="T29" fmla="*/ 21 h 23"/>
                <a:gd name="T30" fmla="*/ 1 w 89"/>
                <a:gd name="T31" fmla="*/ 21 h 23"/>
                <a:gd name="T32" fmla="*/ 1 w 89"/>
                <a:gd name="T33" fmla="*/ 21 h 23"/>
                <a:gd name="T34" fmla="*/ 1 w 89"/>
                <a:gd name="T35" fmla="*/ 21 h 23"/>
                <a:gd name="T36" fmla="*/ 4 w 89"/>
                <a:gd name="T37" fmla="*/ 5 h 23"/>
                <a:gd name="T38" fmla="*/ 4 w 89"/>
                <a:gd name="T39" fmla="*/ 5 h 23"/>
                <a:gd name="T40" fmla="*/ 8 w 89"/>
                <a:gd name="T41" fmla="*/ 1 h 23"/>
                <a:gd name="T42" fmla="*/ 88 w 89"/>
                <a:gd name="T43" fmla="*/ 1 h 23"/>
                <a:gd name="T44" fmla="*/ 88 w 89"/>
                <a:gd name="T45" fmla="*/ 22 h 23"/>
                <a:gd name="T46" fmla="*/ 2 w 8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9" h="23">
                  <a:moveTo>
                    <a:pt x="2" y="22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2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3"/>
                    <a:pt x="5" y="1"/>
                    <a:pt x="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2" y="22"/>
                    <a:pt x="2" y="22"/>
                    <a:pt x="2" y="22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1" name="Freeform 1898">
              <a:extLst>
                <a:ext uri="{FF2B5EF4-FFF2-40B4-BE49-F238E27FC236}">
                  <a16:creationId xmlns:a16="http://schemas.microsoft.com/office/drawing/2014/main" id="{DFCFF526-C0AA-41E8-8B00-8CD984954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" y="2290"/>
              <a:ext cx="23" cy="12"/>
            </a:xfrm>
            <a:custGeom>
              <a:avLst/>
              <a:gdLst>
                <a:gd name="T0" fmla="*/ 0 w 23"/>
                <a:gd name="T1" fmla="*/ 2 h 12"/>
                <a:gd name="T2" fmla="*/ 21 w 23"/>
                <a:gd name="T3" fmla="*/ 2 h 12"/>
                <a:gd name="T4" fmla="*/ 16 w 23"/>
                <a:gd name="T5" fmla="*/ 10 h 12"/>
                <a:gd name="T6" fmla="*/ 0 w 23"/>
                <a:gd name="T7" fmla="*/ 10 h 12"/>
                <a:gd name="T8" fmla="*/ 0 w 23"/>
                <a:gd name="T9" fmla="*/ 12 h 12"/>
                <a:gd name="T10" fmla="*/ 18 w 23"/>
                <a:gd name="T11" fmla="*/ 12 h 12"/>
                <a:gd name="T12" fmla="*/ 23 w 23"/>
                <a:gd name="T13" fmla="*/ 0 h 12"/>
                <a:gd name="T14" fmla="*/ 0 w 23"/>
                <a:gd name="T15" fmla="*/ 0 h 12"/>
                <a:gd name="T16" fmla="*/ 0 w 23"/>
                <a:gd name="T17" fmla="*/ 2 h 12"/>
                <a:gd name="T18" fmla="*/ 0 w 23"/>
                <a:gd name="T1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2">
                  <a:moveTo>
                    <a:pt x="0" y="2"/>
                  </a:moveTo>
                  <a:lnTo>
                    <a:pt x="21" y="2"/>
                  </a:lnTo>
                  <a:lnTo>
                    <a:pt x="16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2" name="Freeform 1899">
              <a:extLst>
                <a:ext uri="{FF2B5EF4-FFF2-40B4-BE49-F238E27FC236}">
                  <a16:creationId xmlns:a16="http://schemas.microsoft.com/office/drawing/2014/main" id="{150BBEE2-9D74-4942-99D9-EFA1257FF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4" y="2280"/>
              <a:ext cx="222" cy="55"/>
            </a:xfrm>
            <a:custGeom>
              <a:avLst/>
              <a:gdLst>
                <a:gd name="T0" fmla="*/ 86 w 88"/>
                <a:gd name="T1" fmla="*/ 22 h 22"/>
                <a:gd name="T2" fmla="*/ 0 w 88"/>
                <a:gd name="T3" fmla="*/ 22 h 22"/>
                <a:gd name="T4" fmla="*/ 0 w 88"/>
                <a:gd name="T5" fmla="*/ 0 h 22"/>
                <a:gd name="T6" fmla="*/ 81 w 88"/>
                <a:gd name="T7" fmla="*/ 0 h 22"/>
                <a:gd name="T8" fmla="*/ 85 w 88"/>
                <a:gd name="T9" fmla="*/ 5 h 22"/>
                <a:gd name="T10" fmla="*/ 88 w 88"/>
                <a:gd name="T11" fmla="*/ 21 h 22"/>
                <a:gd name="T12" fmla="*/ 86 w 8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22">
                  <a:moveTo>
                    <a:pt x="86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3" y="0"/>
                    <a:pt x="85" y="2"/>
                    <a:pt x="85" y="5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7" y="22"/>
                    <a:pt x="86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3" name="Freeform 1900">
              <a:extLst>
                <a:ext uri="{FF2B5EF4-FFF2-40B4-BE49-F238E27FC236}">
                  <a16:creationId xmlns:a16="http://schemas.microsoft.com/office/drawing/2014/main" id="{0088FA07-84B6-4AD5-8B37-E4ED8A51D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2280"/>
              <a:ext cx="225" cy="58"/>
            </a:xfrm>
            <a:custGeom>
              <a:avLst/>
              <a:gdLst>
                <a:gd name="T0" fmla="*/ 87 w 89"/>
                <a:gd name="T1" fmla="*/ 22 h 23"/>
                <a:gd name="T2" fmla="*/ 87 w 89"/>
                <a:gd name="T3" fmla="*/ 22 h 23"/>
                <a:gd name="T4" fmla="*/ 1 w 89"/>
                <a:gd name="T5" fmla="*/ 22 h 23"/>
                <a:gd name="T6" fmla="*/ 1 w 89"/>
                <a:gd name="T7" fmla="*/ 1 h 23"/>
                <a:gd name="T8" fmla="*/ 82 w 89"/>
                <a:gd name="T9" fmla="*/ 1 h 23"/>
                <a:gd name="T10" fmla="*/ 86 w 89"/>
                <a:gd name="T11" fmla="*/ 5 h 23"/>
                <a:gd name="T12" fmla="*/ 86 w 89"/>
                <a:gd name="T13" fmla="*/ 5 h 23"/>
                <a:gd name="T14" fmla="*/ 88 w 89"/>
                <a:gd name="T15" fmla="*/ 21 h 23"/>
                <a:gd name="T16" fmla="*/ 89 w 89"/>
                <a:gd name="T17" fmla="*/ 21 h 23"/>
                <a:gd name="T18" fmla="*/ 88 w 89"/>
                <a:gd name="T19" fmla="*/ 21 h 23"/>
                <a:gd name="T20" fmla="*/ 88 w 89"/>
                <a:gd name="T21" fmla="*/ 21 h 23"/>
                <a:gd name="T22" fmla="*/ 87 w 89"/>
                <a:gd name="T23" fmla="*/ 22 h 23"/>
                <a:gd name="T24" fmla="*/ 87 w 89"/>
                <a:gd name="T25" fmla="*/ 22 h 23"/>
                <a:gd name="T26" fmla="*/ 87 w 89"/>
                <a:gd name="T27" fmla="*/ 23 h 23"/>
                <a:gd name="T28" fmla="*/ 89 w 89"/>
                <a:gd name="T29" fmla="*/ 21 h 23"/>
                <a:gd name="T30" fmla="*/ 89 w 89"/>
                <a:gd name="T31" fmla="*/ 21 h 23"/>
                <a:gd name="T32" fmla="*/ 89 w 89"/>
                <a:gd name="T33" fmla="*/ 21 h 23"/>
                <a:gd name="T34" fmla="*/ 87 w 89"/>
                <a:gd name="T35" fmla="*/ 5 h 23"/>
                <a:gd name="T36" fmla="*/ 86 w 89"/>
                <a:gd name="T37" fmla="*/ 5 h 23"/>
                <a:gd name="T38" fmla="*/ 87 w 89"/>
                <a:gd name="T39" fmla="*/ 5 h 23"/>
                <a:gd name="T40" fmla="*/ 82 w 89"/>
                <a:gd name="T41" fmla="*/ 0 h 23"/>
                <a:gd name="T42" fmla="*/ 0 w 89"/>
                <a:gd name="T43" fmla="*/ 0 h 23"/>
                <a:gd name="T44" fmla="*/ 0 w 89"/>
                <a:gd name="T45" fmla="*/ 23 h 23"/>
                <a:gd name="T46" fmla="*/ 87 w 89"/>
                <a:gd name="T47" fmla="*/ 23 h 23"/>
                <a:gd name="T48" fmla="*/ 87 w 89"/>
                <a:gd name="T4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23">
                  <a:moveTo>
                    <a:pt x="87" y="22"/>
                  </a:moveTo>
                  <a:cubicBezTo>
                    <a:pt x="87" y="22"/>
                    <a:pt x="87" y="22"/>
                    <a:pt x="87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4" y="1"/>
                    <a:pt x="86" y="3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8" y="23"/>
                    <a:pt x="89" y="22"/>
                    <a:pt x="89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87" y="2"/>
                    <a:pt x="84" y="0"/>
                    <a:pt x="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87" y="23"/>
                    <a:pt x="87" y="23"/>
                    <a:pt x="87" y="23"/>
                  </a:cubicBezTo>
                  <a:lnTo>
                    <a:pt x="87" y="2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4" name="Freeform 1901">
              <a:extLst>
                <a:ext uri="{FF2B5EF4-FFF2-40B4-BE49-F238E27FC236}">
                  <a16:creationId xmlns:a16="http://schemas.microsoft.com/office/drawing/2014/main" id="{00714C3D-4459-43A7-8A41-36FDC54D4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" y="2290"/>
              <a:ext cx="22" cy="12"/>
            </a:xfrm>
            <a:custGeom>
              <a:avLst/>
              <a:gdLst>
                <a:gd name="T0" fmla="*/ 22 w 22"/>
                <a:gd name="T1" fmla="*/ 0 h 12"/>
                <a:gd name="T2" fmla="*/ 0 w 22"/>
                <a:gd name="T3" fmla="*/ 0 h 12"/>
                <a:gd name="T4" fmla="*/ 5 w 22"/>
                <a:gd name="T5" fmla="*/ 12 h 12"/>
                <a:gd name="T6" fmla="*/ 22 w 22"/>
                <a:gd name="T7" fmla="*/ 12 h 12"/>
                <a:gd name="T8" fmla="*/ 22 w 22"/>
                <a:gd name="T9" fmla="*/ 10 h 12"/>
                <a:gd name="T10" fmla="*/ 7 w 22"/>
                <a:gd name="T11" fmla="*/ 10 h 12"/>
                <a:gd name="T12" fmla="*/ 5 w 22"/>
                <a:gd name="T13" fmla="*/ 2 h 12"/>
                <a:gd name="T14" fmla="*/ 22 w 22"/>
                <a:gd name="T15" fmla="*/ 2 h 12"/>
                <a:gd name="T16" fmla="*/ 22 w 22"/>
                <a:gd name="T17" fmla="*/ 0 h 12"/>
                <a:gd name="T18" fmla="*/ 22 w 2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lnTo>
                    <a:pt x="0" y="0"/>
                  </a:lnTo>
                  <a:lnTo>
                    <a:pt x="5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7" y="10"/>
                  </a:lnTo>
                  <a:lnTo>
                    <a:pt x="5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5" name="Freeform 1902">
              <a:extLst>
                <a:ext uri="{FF2B5EF4-FFF2-40B4-BE49-F238E27FC236}">
                  <a16:creationId xmlns:a16="http://schemas.microsoft.com/office/drawing/2014/main" id="{CD8FBDE3-9696-4C5E-ADC6-C450D1BFE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6" name="Freeform 1903">
              <a:extLst>
                <a:ext uri="{FF2B5EF4-FFF2-40B4-BE49-F238E27FC236}">
                  <a16:creationId xmlns:a16="http://schemas.microsoft.com/office/drawing/2014/main" id="{A3EEFA31-1DAB-4711-931D-2AE5CB9A4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7" name="Freeform 1904">
              <a:extLst>
                <a:ext uri="{FF2B5EF4-FFF2-40B4-BE49-F238E27FC236}">
                  <a16:creationId xmlns:a16="http://schemas.microsoft.com/office/drawing/2014/main" id="{4B1332AD-6B7C-4459-9198-A1A3161E5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4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8" name="Freeform 1905">
              <a:extLst>
                <a:ext uri="{FF2B5EF4-FFF2-40B4-BE49-F238E27FC236}">
                  <a16:creationId xmlns:a16="http://schemas.microsoft.com/office/drawing/2014/main" id="{E233ECC8-C997-48E1-9B82-E1A59D2E0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9" name="Freeform 1906">
              <a:extLst>
                <a:ext uri="{FF2B5EF4-FFF2-40B4-BE49-F238E27FC236}">
                  <a16:creationId xmlns:a16="http://schemas.microsoft.com/office/drawing/2014/main" id="{4F2A3638-DA04-40D4-AEB2-5266CDD42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0" name="Freeform 1907">
              <a:extLst>
                <a:ext uri="{FF2B5EF4-FFF2-40B4-BE49-F238E27FC236}">
                  <a16:creationId xmlns:a16="http://schemas.microsoft.com/office/drawing/2014/main" id="{F75F6BAC-1799-4F6A-86B0-7DBAA17D3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1" name="Freeform 1908">
              <a:extLst>
                <a:ext uri="{FF2B5EF4-FFF2-40B4-BE49-F238E27FC236}">
                  <a16:creationId xmlns:a16="http://schemas.microsoft.com/office/drawing/2014/main" id="{83F9B568-0AB1-4D79-8519-E69BF4EA4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2" name="Freeform 1909">
              <a:extLst>
                <a:ext uri="{FF2B5EF4-FFF2-40B4-BE49-F238E27FC236}">
                  <a16:creationId xmlns:a16="http://schemas.microsoft.com/office/drawing/2014/main" id="{1338F327-38BC-429E-B9EA-649552266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3" name="Freeform 1910">
              <a:extLst>
                <a:ext uri="{FF2B5EF4-FFF2-40B4-BE49-F238E27FC236}">
                  <a16:creationId xmlns:a16="http://schemas.microsoft.com/office/drawing/2014/main" id="{9651FBCD-9068-4CE6-883E-22E4444E2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4" name="Freeform 1911">
              <a:extLst>
                <a:ext uri="{FF2B5EF4-FFF2-40B4-BE49-F238E27FC236}">
                  <a16:creationId xmlns:a16="http://schemas.microsoft.com/office/drawing/2014/main" id="{9D9FDD23-CE97-4EC7-BC19-BDE10FC23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5" name="Freeform 1912">
              <a:extLst>
                <a:ext uri="{FF2B5EF4-FFF2-40B4-BE49-F238E27FC236}">
                  <a16:creationId xmlns:a16="http://schemas.microsoft.com/office/drawing/2014/main" id="{3F87097B-421D-4A02-AA51-449812C2A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6" name="Freeform 1913">
              <a:extLst>
                <a:ext uri="{FF2B5EF4-FFF2-40B4-BE49-F238E27FC236}">
                  <a16:creationId xmlns:a16="http://schemas.microsoft.com/office/drawing/2014/main" id="{ED07814A-F988-489E-A3AA-1F2B73846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7" name="Freeform 1914">
              <a:extLst>
                <a:ext uri="{FF2B5EF4-FFF2-40B4-BE49-F238E27FC236}">
                  <a16:creationId xmlns:a16="http://schemas.microsoft.com/office/drawing/2014/main" id="{6821A561-07EE-4CC2-B2AD-8AF16B14F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8" name="Freeform 1915">
              <a:extLst>
                <a:ext uri="{FF2B5EF4-FFF2-40B4-BE49-F238E27FC236}">
                  <a16:creationId xmlns:a16="http://schemas.microsoft.com/office/drawing/2014/main" id="{8BA5649E-6019-4C4A-BB30-49F5FF34B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9" name="Freeform 1916">
              <a:extLst>
                <a:ext uri="{FF2B5EF4-FFF2-40B4-BE49-F238E27FC236}">
                  <a16:creationId xmlns:a16="http://schemas.microsoft.com/office/drawing/2014/main" id="{C6AE2BFE-DDFE-40B9-85C4-83E3A7D14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0" name="Freeform 1917">
              <a:extLst>
                <a:ext uri="{FF2B5EF4-FFF2-40B4-BE49-F238E27FC236}">
                  <a16:creationId xmlns:a16="http://schemas.microsoft.com/office/drawing/2014/main" id="{BAD6F16E-5C7E-43E4-A68F-BEBEAAA3D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  <a:gd name="T6" fmla="*/ 0 w 11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1" name="Freeform 1918">
              <a:extLst>
                <a:ext uri="{FF2B5EF4-FFF2-40B4-BE49-F238E27FC236}">
                  <a16:creationId xmlns:a16="http://schemas.microsoft.com/office/drawing/2014/main" id="{86BC60AD-12B2-4C64-B01B-1F088A172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2" name="Freeform 1919">
              <a:extLst>
                <a:ext uri="{FF2B5EF4-FFF2-40B4-BE49-F238E27FC236}">
                  <a16:creationId xmlns:a16="http://schemas.microsoft.com/office/drawing/2014/main" id="{26DD13C7-8C81-49E3-A4D1-7046428E7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  <a:gd name="T6" fmla="*/ 11 w 11"/>
                <a:gd name="T7" fmla="*/ 0 h 18"/>
                <a:gd name="T8" fmla="*/ 0 w 11"/>
                <a:gd name="T9" fmla="*/ 0 h 18"/>
                <a:gd name="T10" fmla="*/ 0 w 11"/>
                <a:gd name="T11" fmla="*/ 18 h 18"/>
                <a:gd name="T12" fmla="*/ 0 w 11"/>
                <a:gd name="T13" fmla="*/ 18 h 18"/>
                <a:gd name="T14" fmla="*/ 0 w 11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3" name="Freeform 1920">
              <a:extLst>
                <a:ext uri="{FF2B5EF4-FFF2-40B4-BE49-F238E27FC236}">
                  <a16:creationId xmlns:a16="http://schemas.microsoft.com/office/drawing/2014/main" id="{1859B7CE-9D82-4E9B-8F12-818949AD1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4" name="Freeform 1921">
              <a:extLst>
                <a:ext uri="{FF2B5EF4-FFF2-40B4-BE49-F238E27FC236}">
                  <a16:creationId xmlns:a16="http://schemas.microsoft.com/office/drawing/2014/main" id="{9CFC364A-B782-4C30-9009-A2B412981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5" name="Freeform 1922">
              <a:extLst>
                <a:ext uri="{FF2B5EF4-FFF2-40B4-BE49-F238E27FC236}">
                  <a16:creationId xmlns:a16="http://schemas.microsoft.com/office/drawing/2014/main" id="{9829603C-56A9-44C1-9A66-2CF23B33C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6" name="Freeform 1923">
              <a:extLst>
                <a:ext uri="{FF2B5EF4-FFF2-40B4-BE49-F238E27FC236}">
                  <a16:creationId xmlns:a16="http://schemas.microsoft.com/office/drawing/2014/main" id="{8F8598E6-312C-4E23-B9BD-A5457E185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7" name="Freeform 1924">
              <a:extLst>
                <a:ext uri="{FF2B5EF4-FFF2-40B4-BE49-F238E27FC236}">
                  <a16:creationId xmlns:a16="http://schemas.microsoft.com/office/drawing/2014/main" id="{50AA9AB9-3A91-4054-9896-B3468D743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8" name="Freeform 1925">
              <a:extLst>
                <a:ext uri="{FF2B5EF4-FFF2-40B4-BE49-F238E27FC236}">
                  <a16:creationId xmlns:a16="http://schemas.microsoft.com/office/drawing/2014/main" id="{387F2A00-396F-4367-9A26-51103E8BD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2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9" name="Freeform 1926">
              <a:extLst>
                <a:ext uri="{FF2B5EF4-FFF2-40B4-BE49-F238E27FC236}">
                  <a16:creationId xmlns:a16="http://schemas.microsoft.com/office/drawing/2014/main" id="{249CF8B1-92C9-4F58-B415-7EA7E40E9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0" name="Freeform 1927">
              <a:extLst>
                <a:ext uri="{FF2B5EF4-FFF2-40B4-BE49-F238E27FC236}">
                  <a16:creationId xmlns:a16="http://schemas.microsoft.com/office/drawing/2014/main" id="{DABC8ACC-80EB-4EFC-B434-D03579139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1" name="Freeform 1928">
              <a:extLst>
                <a:ext uri="{FF2B5EF4-FFF2-40B4-BE49-F238E27FC236}">
                  <a16:creationId xmlns:a16="http://schemas.microsoft.com/office/drawing/2014/main" id="{E011319D-48A0-4EEA-B1DE-8DC98B774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2" name="Freeform 1929">
              <a:extLst>
                <a:ext uri="{FF2B5EF4-FFF2-40B4-BE49-F238E27FC236}">
                  <a16:creationId xmlns:a16="http://schemas.microsoft.com/office/drawing/2014/main" id="{0A9EE3AA-D159-48D1-B5C0-0BF9522FF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3" name="Freeform 1930">
              <a:extLst>
                <a:ext uri="{FF2B5EF4-FFF2-40B4-BE49-F238E27FC236}">
                  <a16:creationId xmlns:a16="http://schemas.microsoft.com/office/drawing/2014/main" id="{1D8C9672-FE45-4770-B354-EC1BBA5A4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4" name="Freeform 1931">
              <a:extLst>
                <a:ext uri="{FF2B5EF4-FFF2-40B4-BE49-F238E27FC236}">
                  <a16:creationId xmlns:a16="http://schemas.microsoft.com/office/drawing/2014/main" id="{DB2AA919-EEAC-46BD-A3EB-2A775518A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5" name="Freeform 1932">
              <a:extLst>
                <a:ext uri="{FF2B5EF4-FFF2-40B4-BE49-F238E27FC236}">
                  <a16:creationId xmlns:a16="http://schemas.microsoft.com/office/drawing/2014/main" id="{9C18D480-CF60-4A3D-80C2-D61066983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6" name="Freeform 1933">
              <a:extLst>
                <a:ext uri="{FF2B5EF4-FFF2-40B4-BE49-F238E27FC236}">
                  <a16:creationId xmlns:a16="http://schemas.microsoft.com/office/drawing/2014/main" id="{BED707E3-1737-4346-B97A-0569534CD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7" name="Freeform 1934">
              <a:extLst>
                <a:ext uri="{FF2B5EF4-FFF2-40B4-BE49-F238E27FC236}">
                  <a16:creationId xmlns:a16="http://schemas.microsoft.com/office/drawing/2014/main" id="{980DD791-DF5F-4206-82DF-D33B0B5D5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8" name="Freeform 1935">
              <a:extLst>
                <a:ext uri="{FF2B5EF4-FFF2-40B4-BE49-F238E27FC236}">
                  <a16:creationId xmlns:a16="http://schemas.microsoft.com/office/drawing/2014/main" id="{AFB7B0C6-937E-4DEF-97D1-DBA465A82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9" name="Freeform 1936">
              <a:extLst>
                <a:ext uri="{FF2B5EF4-FFF2-40B4-BE49-F238E27FC236}">
                  <a16:creationId xmlns:a16="http://schemas.microsoft.com/office/drawing/2014/main" id="{6A09017B-7C26-455E-9050-614958CB7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0" name="Freeform 1937">
              <a:extLst>
                <a:ext uri="{FF2B5EF4-FFF2-40B4-BE49-F238E27FC236}">
                  <a16:creationId xmlns:a16="http://schemas.microsoft.com/office/drawing/2014/main" id="{2F23EE6A-03F0-4991-8654-A4DF1B0AB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1" name="Freeform 1938">
              <a:extLst>
                <a:ext uri="{FF2B5EF4-FFF2-40B4-BE49-F238E27FC236}">
                  <a16:creationId xmlns:a16="http://schemas.microsoft.com/office/drawing/2014/main" id="{2F14A5AC-7BCB-4A6B-8D5F-1296D329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2" name="Freeform 1939">
              <a:extLst>
                <a:ext uri="{FF2B5EF4-FFF2-40B4-BE49-F238E27FC236}">
                  <a16:creationId xmlns:a16="http://schemas.microsoft.com/office/drawing/2014/main" id="{45239308-A8F1-424E-9AAC-962253FA8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3" name="Freeform 1940">
              <a:extLst>
                <a:ext uri="{FF2B5EF4-FFF2-40B4-BE49-F238E27FC236}">
                  <a16:creationId xmlns:a16="http://schemas.microsoft.com/office/drawing/2014/main" id="{2DEEB8A6-CB8D-4695-92F5-E1C6AC418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4" name="Freeform 1941">
              <a:extLst>
                <a:ext uri="{FF2B5EF4-FFF2-40B4-BE49-F238E27FC236}">
                  <a16:creationId xmlns:a16="http://schemas.microsoft.com/office/drawing/2014/main" id="{AE45C2FF-FFC8-439A-92A3-391F6F3BC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  <a:gd name="T6" fmla="*/ 0 w 11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5" name="Freeform 1942">
              <a:extLst>
                <a:ext uri="{FF2B5EF4-FFF2-40B4-BE49-F238E27FC236}">
                  <a16:creationId xmlns:a16="http://schemas.microsoft.com/office/drawing/2014/main" id="{A3424F62-8BB8-4E84-A1F2-A51932ABF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6" name="Freeform 1943">
              <a:extLst>
                <a:ext uri="{FF2B5EF4-FFF2-40B4-BE49-F238E27FC236}">
                  <a16:creationId xmlns:a16="http://schemas.microsoft.com/office/drawing/2014/main" id="{30F44586-57F9-496A-B471-6455EB400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2" y="2292"/>
              <a:ext cx="13" cy="18"/>
            </a:xfrm>
            <a:custGeom>
              <a:avLst/>
              <a:gdLst>
                <a:gd name="T0" fmla="*/ 2 w 13"/>
                <a:gd name="T1" fmla="*/ 18 h 18"/>
                <a:gd name="T2" fmla="*/ 2 w 13"/>
                <a:gd name="T3" fmla="*/ 0 h 18"/>
                <a:gd name="T4" fmla="*/ 13 w 13"/>
                <a:gd name="T5" fmla="*/ 0 h 18"/>
                <a:gd name="T6" fmla="*/ 13 w 13"/>
                <a:gd name="T7" fmla="*/ 0 h 18"/>
                <a:gd name="T8" fmla="*/ 0 w 13"/>
                <a:gd name="T9" fmla="*/ 0 h 18"/>
                <a:gd name="T10" fmla="*/ 0 w 13"/>
                <a:gd name="T11" fmla="*/ 18 h 18"/>
                <a:gd name="T12" fmla="*/ 2 w 13"/>
                <a:gd name="T13" fmla="*/ 18 h 18"/>
                <a:gd name="T14" fmla="*/ 2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2" y="18"/>
                  </a:moveTo>
                  <a:lnTo>
                    <a:pt x="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7" name="Freeform 1944">
              <a:extLst>
                <a:ext uri="{FF2B5EF4-FFF2-40B4-BE49-F238E27FC236}">
                  <a16:creationId xmlns:a16="http://schemas.microsoft.com/office/drawing/2014/main" id="{4B6E7713-0741-4838-A650-AF0FF2A35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8" name="Freeform 1945">
              <a:extLst>
                <a:ext uri="{FF2B5EF4-FFF2-40B4-BE49-F238E27FC236}">
                  <a16:creationId xmlns:a16="http://schemas.microsoft.com/office/drawing/2014/main" id="{470EC117-FF88-4BFA-98CD-F8DCAEC88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9" name="Freeform 1946">
              <a:extLst>
                <a:ext uri="{FF2B5EF4-FFF2-40B4-BE49-F238E27FC236}">
                  <a16:creationId xmlns:a16="http://schemas.microsoft.com/office/drawing/2014/main" id="{71B1ADB3-DB87-45D2-A13F-07DEEB9B8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2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0" name="Freeform 1947">
              <a:extLst>
                <a:ext uri="{FF2B5EF4-FFF2-40B4-BE49-F238E27FC236}">
                  <a16:creationId xmlns:a16="http://schemas.microsoft.com/office/drawing/2014/main" id="{BDE1DD85-4EC3-4F80-B952-62A7CC450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1" name="Freeform 1948">
              <a:extLst>
                <a:ext uri="{FF2B5EF4-FFF2-40B4-BE49-F238E27FC236}">
                  <a16:creationId xmlns:a16="http://schemas.microsoft.com/office/drawing/2014/main" id="{241A0096-1F69-42CA-982D-80BB9E96F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2" name="Freeform 1949">
              <a:extLst>
                <a:ext uri="{FF2B5EF4-FFF2-40B4-BE49-F238E27FC236}">
                  <a16:creationId xmlns:a16="http://schemas.microsoft.com/office/drawing/2014/main" id="{C2DE013E-49E4-4B48-AD2B-2B3BD48CE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3" name="Freeform 1950">
              <a:extLst>
                <a:ext uri="{FF2B5EF4-FFF2-40B4-BE49-F238E27FC236}">
                  <a16:creationId xmlns:a16="http://schemas.microsoft.com/office/drawing/2014/main" id="{470D2B8A-2330-4EBD-8025-ACE3552AC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4" name="Freeform 1951">
              <a:extLst>
                <a:ext uri="{FF2B5EF4-FFF2-40B4-BE49-F238E27FC236}">
                  <a16:creationId xmlns:a16="http://schemas.microsoft.com/office/drawing/2014/main" id="{505D925B-611F-4CF9-AB1D-ECC5ED142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5" name="Freeform 1952">
              <a:extLst>
                <a:ext uri="{FF2B5EF4-FFF2-40B4-BE49-F238E27FC236}">
                  <a16:creationId xmlns:a16="http://schemas.microsoft.com/office/drawing/2014/main" id="{400218E6-AD3E-44DE-8DE0-E0C1C68BF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6" name="Freeform 1953">
              <a:extLst>
                <a:ext uri="{FF2B5EF4-FFF2-40B4-BE49-F238E27FC236}">
                  <a16:creationId xmlns:a16="http://schemas.microsoft.com/office/drawing/2014/main" id="{0979A042-894B-4563-8016-29564D13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7" name="Freeform 1954">
              <a:extLst>
                <a:ext uri="{FF2B5EF4-FFF2-40B4-BE49-F238E27FC236}">
                  <a16:creationId xmlns:a16="http://schemas.microsoft.com/office/drawing/2014/main" id="{35FA384E-831F-4098-B08E-535190991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8" name="Freeform 1955">
              <a:extLst>
                <a:ext uri="{FF2B5EF4-FFF2-40B4-BE49-F238E27FC236}">
                  <a16:creationId xmlns:a16="http://schemas.microsoft.com/office/drawing/2014/main" id="{80103C1D-10D4-47C2-83E6-C9BA66225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9" name="Freeform 1956">
              <a:extLst>
                <a:ext uri="{FF2B5EF4-FFF2-40B4-BE49-F238E27FC236}">
                  <a16:creationId xmlns:a16="http://schemas.microsoft.com/office/drawing/2014/main" id="{9D64E4A3-7A42-49BC-9BB8-691E719A9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0" name="Freeform 1957">
              <a:extLst>
                <a:ext uri="{FF2B5EF4-FFF2-40B4-BE49-F238E27FC236}">
                  <a16:creationId xmlns:a16="http://schemas.microsoft.com/office/drawing/2014/main" id="{1009765E-DFCD-4C3B-A554-912FE4EB7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" y="2292"/>
              <a:ext cx="8" cy="18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0 h 18"/>
                <a:gd name="T4" fmla="*/ 8 w 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1" name="Freeform 1958">
              <a:extLst>
                <a:ext uri="{FF2B5EF4-FFF2-40B4-BE49-F238E27FC236}">
                  <a16:creationId xmlns:a16="http://schemas.microsoft.com/office/drawing/2014/main" id="{CE8FA9EF-4B12-4EBB-B7EA-F4A979E09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1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2" name="Freeform 1959">
              <a:extLst>
                <a:ext uri="{FF2B5EF4-FFF2-40B4-BE49-F238E27FC236}">
                  <a16:creationId xmlns:a16="http://schemas.microsoft.com/office/drawing/2014/main" id="{A32FCE11-201D-4520-93A5-F099BA19D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  <a:gd name="T6" fmla="*/ 0 w 11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3" name="Freeform 1960">
              <a:extLst>
                <a:ext uri="{FF2B5EF4-FFF2-40B4-BE49-F238E27FC236}">
                  <a16:creationId xmlns:a16="http://schemas.microsoft.com/office/drawing/2014/main" id="{9F53F456-D18F-4977-82BF-D6D50D58F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2292"/>
              <a:ext cx="11" cy="18"/>
            </a:xfrm>
            <a:custGeom>
              <a:avLst/>
              <a:gdLst>
                <a:gd name="T0" fmla="*/ 0 w 11"/>
                <a:gd name="T1" fmla="*/ 18 h 18"/>
                <a:gd name="T2" fmla="*/ 0 w 11"/>
                <a:gd name="T3" fmla="*/ 0 h 18"/>
                <a:gd name="T4" fmla="*/ 11 w 1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8">
                  <a:moveTo>
                    <a:pt x="0" y="18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4" name="Freeform 1961">
              <a:extLst>
                <a:ext uri="{FF2B5EF4-FFF2-40B4-BE49-F238E27FC236}">
                  <a16:creationId xmlns:a16="http://schemas.microsoft.com/office/drawing/2014/main" id="{3601063E-0603-47E0-ADAD-28F640401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2292"/>
              <a:ext cx="11" cy="18"/>
            </a:xfrm>
            <a:custGeom>
              <a:avLst/>
              <a:gdLst>
                <a:gd name="T0" fmla="*/ 3 w 11"/>
                <a:gd name="T1" fmla="*/ 18 h 18"/>
                <a:gd name="T2" fmla="*/ 3 w 11"/>
                <a:gd name="T3" fmla="*/ 0 h 18"/>
                <a:gd name="T4" fmla="*/ 11 w 11"/>
                <a:gd name="T5" fmla="*/ 0 h 18"/>
                <a:gd name="T6" fmla="*/ 11 w 11"/>
                <a:gd name="T7" fmla="*/ 0 h 18"/>
                <a:gd name="T8" fmla="*/ 0 w 11"/>
                <a:gd name="T9" fmla="*/ 0 h 18"/>
                <a:gd name="T10" fmla="*/ 0 w 11"/>
                <a:gd name="T11" fmla="*/ 18 h 18"/>
                <a:gd name="T12" fmla="*/ 3 w 11"/>
                <a:gd name="T13" fmla="*/ 18 h 18"/>
                <a:gd name="T14" fmla="*/ 3 w 11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8">
                  <a:moveTo>
                    <a:pt x="3" y="18"/>
                  </a:moveTo>
                  <a:lnTo>
                    <a:pt x="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5" name="Freeform 1962">
              <a:extLst>
                <a:ext uri="{FF2B5EF4-FFF2-40B4-BE49-F238E27FC236}">
                  <a16:creationId xmlns:a16="http://schemas.microsoft.com/office/drawing/2014/main" id="{8695FE7C-4CA7-41D9-8CDA-F9D9A9380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6" name="Freeform 1963">
              <a:extLst>
                <a:ext uri="{FF2B5EF4-FFF2-40B4-BE49-F238E27FC236}">
                  <a16:creationId xmlns:a16="http://schemas.microsoft.com/office/drawing/2014/main" id="{1EE1AF44-CDAB-4880-A90D-667D40C6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7" name="Freeform 1964">
              <a:extLst>
                <a:ext uri="{FF2B5EF4-FFF2-40B4-BE49-F238E27FC236}">
                  <a16:creationId xmlns:a16="http://schemas.microsoft.com/office/drawing/2014/main" id="{30F3558A-19EE-4976-800A-8E5408B31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2292"/>
              <a:ext cx="13" cy="18"/>
            </a:xfrm>
            <a:custGeom>
              <a:avLst/>
              <a:gdLst>
                <a:gd name="T0" fmla="*/ 3 w 13"/>
                <a:gd name="T1" fmla="*/ 18 h 18"/>
                <a:gd name="T2" fmla="*/ 3 w 13"/>
                <a:gd name="T3" fmla="*/ 0 h 18"/>
                <a:gd name="T4" fmla="*/ 13 w 13"/>
                <a:gd name="T5" fmla="*/ 0 h 18"/>
                <a:gd name="T6" fmla="*/ 13 w 13"/>
                <a:gd name="T7" fmla="*/ 0 h 18"/>
                <a:gd name="T8" fmla="*/ 0 w 13"/>
                <a:gd name="T9" fmla="*/ 0 h 18"/>
                <a:gd name="T10" fmla="*/ 0 w 13"/>
                <a:gd name="T11" fmla="*/ 18 h 18"/>
                <a:gd name="T12" fmla="*/ 3 w 13"/>
                <a:gd name="T13" fmla="*/ 18 h 18"/>
                <a:gd name="T14" fmla="*/ 3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3" y="18"/>
                  </a:moveTo>
                  <a:lnTo>
                    <a:pt x="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8" name="Freeform 1965">
              <a:extLst>
                <a:ext uri="{FF2B5EF4-FFF2-40B4-BE49-F238E27FC236}">
                  <a16:creationId xmlns:a16="http://schemas.microsoft.com/office/drawing/2014/main" id="{09A162A5-E919-4923-95CE-74807B1CB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9" name="Freeform 1966">
              <a:extLst>
                <a:ext uri="{FF2B5EF4-FFF2-40B4-BE49-F238E27FC236}">
                  <a16:creationId xmlns:a16="http://schemas.microsoft.com/office/drawing/2014/main" id="{AB84D24A-2514-492F-A97D-D93E69591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2292"/>
              <a:ext cx="7" cy="18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0" name="Freeform 1967">
              <a:extLst>
                <a:ext uri="{FF2B5EF4-FFF2-40B4-BE49-F238E27FC236}">
                  <a16:creationId xmlns:a16="http://schemas.microsoft.com/office/drawing/2014/main" id="{286278EC-2ED1-4C0F-87AA-4DF335506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1" name="Freeform 1968">
              <a:extLst>
                <a:ext uri="{FF2B5EF4-FFF2-40B4-BE49-F238E27FC236}">
                  <a16:creationId xmlns:a16="http://schemas.microsoft.com/office/drawing/2014/main" id="{EF7A8969-522B-4B9C-8610-B92028EDF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2" name="Freeform 1969">
              <a:extLst>
                <a:ext uri="{FF2B5EF4-FFF2-40B4-BE49-F238E27FC236}">
                  <a16:creationId xmlns:a16="http://schemas.microsoft.com/office/drawing/2014/main" id="{C87FF1C3-EB09-41A8-8A98-01106F02E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3" name="Freeform 1970">
              <a:extLst>
                <a:ext uri="{FF2B5EF4-FFF2-40B4-BE49-F238E27FC236}">
                  <a16:creationId xmlns:a16="http://schemas.microsoft.com/office/drawing/2014/main" id="{2ED2B220-77CD-490E-B9D0-3B119D0F4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4" name="Freeform 1971">
              <a:extLst>
                <a:ext uri="{FF2B5EF4-FFF2-40B4-BE49-F238E27FC236}">
                  <a16:creationId xmlns:a16="http://schemas.microsoft.com/office/drawing/2014/main" id="{967AFB02-D3BE-4278-BD5D-F2EE17179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5" name="Freeform 1972">
              <a:extLst>
                <a:ext uri="{FF2B5EF4-FFF2-40B4-BE49-F238E27FC236}">
                  <a16:creationId xmlns:a16="http://schemas.microsoft.com/office/drawing/2014/main" id="{771D5106-2CCB-484B-9492-3B8BBB219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6" name="Freeform 1973">
              <a:extLst>
                <a:ext uri="{FF2B5EF4-FFF2-40B4-BE49-F238E27FC236}">
                  <a16:creationId xmlns:a16="http://schemas.microsoft.com/office/drawing/2014/main" id="{70092836-584B-4EA8-8C76-207BED607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292"/>
              <a:ext cx="10" cy="18"/>
            </a:xfrm>
            <a:custGeom>
              <a:avLst/>
              <a:gdLst>
                <a:gd name="T0" fmla="*/ 2 w 10"/>
                <a:gd name="T1" fmla="*/ 18 h 18"/>
                <a:gd name="T2" fmla="*/ 2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2 w 10"/>
                <a:gd name="T13" fmla="*/ 18 h 18"/>
                <a:gd name="T14" fmla="*/ 2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2" y="18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7" name="Freeform 1974">
              <a:extLst>
                <a:ext uri="{FF2B5EF4-FFF2-40B4-BE49-F238E27FC236}">
                  <a16:creationId xmlns:a16="http://schemas.microsoft.com/office/drawing/2014/main" id="{69F3F349-186C-4689-94D4-5755DC59E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  <a:gd name="T6" fmla="*/ 0 w 1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8" name="Freeform 1975">
              <a:extLst>
                <a:ext uri="{FF2B5EF4-FFF2-40B4-BE49-F238E27FC236}">
                  <a16:creationId xmlns:a16="http://schemas.microsoft.com/office/drawing/2014/main" id="{84D7ADF2-B882-4A15-BCC2-CBD1D044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292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0 w 10"/>
                <a:gd name="T3" fmla="*/ 0 h 18"/>
                <a:gd name="T4" fmla="*/ 10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9" name="Freeform 1976">
              <a:extLst>
                <a:ext uri="{FF2B5EF4-FFF2-40B4-BE49-F238E27FC236}">
                  <a16:creationId xmlns:a16="http://schemas.microsoft.com/office/drawing/2014/main" id="{28C1858A-A3B9-486A-8BA0-31A78982C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292"/>
              <a:ext cx="10" cy="18"/>
            </a:xfrm>
            <a:custGeom>
              <a:avLst/>
              <a:gdLst>
                <a:gd name="T0" fmla="*/ 3 w 10"/>
                <a:gd name="T1" fmla="*/ 18 h 18"/>
                <a:gd name="T2" fmla="*/ 3 w 10"/>
                <a:gd name="T3" fmla="*/ 0 h 18"/>
                <a:gd name="T4" fmla="*/ 10 w 10"/>
                <a:gd name="T5" fmla="*/ 0 h 18"/>
                <a:gd name="T6" fmla="*/ 10 w 10"/>
                <a:gd name="T7" fmla="*/ 0 h 18"/>
                <a:gd name="T8" fmla="*/ 0 w 10"/>
                <a:gd name="T9" fmla="*/ 0 h 18"/>
                <a:gd name="T10" fmla="*/ 0 w 10"/>
                <a:gd name="T11" fmla="*/ 18 h 18"/>
                <a:gd name="T12" fmla="*/ 3 w 10"/>
                <a:gd name="T13" fmla="*/ 18 h 18"/>
                <a:gd name="T14" fmla="*/ 3 w 1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lnTo>
                    <a:pt x="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0" name="Freeform 1977">
              <a:extLst>
                <a:ext uri="{FF2B5EF4-FFF2-40B4-BE49-F238E27FC236}">
                  <a16:creationId xmlns:a16="http://schemas.microsoft.com/office/drawing/2014/main" id="{A77B5739-7EC0-4FF9-9F32-3F9CCE240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2" y="2264"/>
              <a:ext cx="20" cy="8"/>
            </a:xfrm>
            <a:custGeom>
              <a:avLst/>
              <a:gdLst>
                <a:gd name="T0" fmla="*/ 8 w 8"/>
                <a:gd name="T1" fmla="*/ 2 h 3"/>
                <a:gd name="T2" fmla="*/ 4 w 8"/>
                <a:gd name="T3" fmla="*/ 0 h 3"/>
                <a:gd name="T4" fmla="*/ 0 w 8"/>
                <a:gd name="T5" fmla="*/ 2 h 3"/>
                <a:gd name="T6" fmla="*/ 1 w 8"/>
                <a:gd name="T7" fmla="*/ 3 h 3"/>
                <a:gd name="T8" fmla="*/ 4 w 8"/>
                <a:gd name="T9" fmla="*/ 1 h 3"/>
                <a:gd name="T10" fmla="*/ 7 w 8"/>
                <a:gd name="T11" fmla="*/ 3 h 3"/>
                <a:gd name="T12" fmla="*/ 8 w 8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6" y="2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1" name="Freeform 1978">
              <a:extLst>
                <a:ext uri="{FF2B5EF4-FFF2-40B4-BE49-F238E27FC236}">
                  <a16:creationId xmlns:a16="http://schemas.microsoft.com/office/drawing/2014/main" id="{613F9A0D-075D-46D7-AAC0-8F90A187B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" y="2254"/>
              <a:ext cx="36" cy="10"/>
            </a:xfrm>
            <a:custGeom>
              <a:avLst/>
              <a:gdLst>
                <a:gd name="T0" fmla="*/ 14 w 14"/>
                <a:gd name="T1" fmla="*/ 4 h 4"/>
                <a:gd name="T2" fmla="*/ 7 w 14"/>
                <a:gd name="T3" fmla="*/ 0 h 4"/>
                <a:gd name="T4" fmla="*/ 0 w 14"/>
                <a:gd name="T5" fmla="*/ 4 h 4"/>
                <a:gd name="T6" fmla="*/ 0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4"/>
                  </a:moveTo>
                  <a:cubicBezTo>
                    <a:pt x="13" y="2"/>
                    <a:pt x="10" y="0"/>
                    <a:pt x="7" y="0"/>
                  </a:cubicBezTo>
                  <a:cubicBezTo>
                    <a:pt x="4" y="0"/>
                    <a:pt x="1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4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4"/>
                    <a:pt x="14" y="4"/>
                    <a:pt x="14" y="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2" name="Freeform 1979">
              <a:extLst>
                <a:ext uri="{FF2B5EF4-FFF2-40B4-BE49-F238E27FC236}">
                  <a16:creationId xmlns:a16="http://schemas.microsoft.com/office/drawing/2014/main" id="{ED134B76-C038-42FF-9EFA-A3846ED09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2244"/>
              <a:ext cx="56" cy="15"/>
            </a:xfrm>
            <a:custGeom>
              <a:avLst/>
              <a:gdLst>
                <a:gd name="T0" fmla="*/ 22 w 22"/>
                <a:gd name="T1" fmla="*/ 5 h 6"/>
                <a:gd name="T2" fmla="*/ 11 w 22"/>
                <a:gd name="T3" fmla="*/ 0 h 6"/>
                <a:gd name="T4" fmla="*/ 0 w 22"/>
                <a:gd name="T5" fmla="*/ 5 h 6"/>
                <a:gd name="T6" fmla="*/ 1 w 22"/>
                <a:gd name="T7" fmla="*/ 6 h 6"/>
                <a:gd name="T8" fmla="*/ 11 w 22"/>
                <a:gd name="T9" fmla="*/ 1 h 6"/>
                <a:gd name="T10" fmla="*/ 21 w 22"/>
                <a:gd name="T11" fmla="*/ 6 h 6"/>
                <a:gd name="T12" fmla="*/ 22 w 22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22" y="5"/>
                  </a:moveTo>
                  <a:cubicBezTo>
                    <a:pt x="19" y="2"/>
                    <a:pt x="15" y="0"/>
                    <a:pt x="11" y="0"/>
                  </a:cubicBezTo>
                  <a:cubicBezTo>
                    <a:pt x="7" y="0"/>
                    <a:pt x="3" y="2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7" y="1"/>
                    <a:pt x="11" y="1"/>
                  </a:cubicBezTo>
                  <a:cubicBezTo>
                    <a:pt x="15" y="1"/>
                    <a:pt x="19" y="3"/>
                    <a:pt x="21" y="6"/>
                  </a:cubicBezTo>
                  <a:cubicBezTo>
                    <a:pt x="22" y="5"/>
                    <a:pt x="22" y="5"/>
                    <a:pt x="22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3" name="Rectangle 1980">
              <a:extLst>
                <a:ext uri="{FF2B5EF4-FFF2-40B4-BE49-F238E27FC236}">
                  <a16:creationId xmlns:a16="http://schemas.microsoft.com/office/drawing/2014/main" id="{EFFFE552-0F1A-4737-BEAA-B48387296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0" y="1799"/>
              <a:ext cx="5" cy="1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4" name="Freeform 1981">
              <a:extLst>
                <a:ext uri="{FF2B5EF4-FFF2-40B4-BE49-F238E27FC236}">
                  <a16:creationId xmlns:a16="http://schemas.microsoft.com/office/drawing/2014/main" id="{8034650D-B0F5-4981-ABDD-5DF9D3084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" y="1796"/>
              <a:ext cx="10" cy="175"/>
            </a:xfrm>
            <a:custGeom>
              <a:avLst/>
              <a:gdLst>
                <a:gd name="T0" fmla="*/ 2 w 10"/>
                <a:gd name="T1" fmla="*/ 172 h 175"/>
                <a:gd name="T2" fmla="*/ 2 w 10"/>
                <a:gd name="T3" fmla="*/ 175 h 175"/>
                <a:gd name="T4" fmla="*/ 10 w 10"/>
                <a:gd name="T5" fmla="*/ 175 h 175"/>
                <a:gd name="T6" fmla="*/ 10 w 10"/>
                <a:gd name="T7" fmla="*/ 0 h 175"/>
                <a:gd name="T8" fmla="*/ 0 w 10"/>
                <a:gd name="T9" fmla="*/ 0 h 175"/>
                <a:gd name="T10" fmla="*/ 0 w 10"/>
                <a:gd name="T11" fmla="*/ 175 h 175"/>
                <a:gd name="T12" fmla="*/ 2 w 10"/>
                <a:gd name="T13" fmla="*/ 175 h 175"/>
                <a:gd name="T14" fmla="*/ 2 w 10"/>
                <a:gd name="T15" fmla="*/ 172 h 175"/>
                <a:gd name="T16" fmla="*/ 2 w 10"/>
                <a:gd name="T17" fmla="*/ 172 h 175"/>
                <a:gd name="T18" fmla="*/ 2 w 10"/>
                <a:gd name="T19" fmla="*/ 3 h 175"/>
                <a:gd name="T20" fmla="*/ 7 w 10"/>
                <a:gd name="T21" fmla="*/ 3 h 175"/>
                <a:gd name="T22" fmla="*/ 7 w 10"/>
                <a:gd name="T23" fmla="*/ 172 h 175"/>
                <a:gd name="T24" fmla="*/ 2 w 10"/>
                <a:gd name="T25" fmla="*/ 172 h 175"/>
                <a:gd name="T26" fmla="*/ 2 w 10"/>
                <a:gd name="T27" fmla="*/ 172 h 175"/>
                <a:gd name="T28" fmla="*/ 2 w 10"/>
                <a:gd name="T29" fmla="*/ 172 h 175"/>
                <a:gd name="T30" fmla="*/ 2 w 10"/>
                <a:gd name="T31" fmla="*/ 17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75">
                  <a:moveTo>
                    <a:pt x="2" y="172"/>
                  </a:moveTo>
                  <a:lnTo>
                    <a:pt x="2" y="175"/>
                  </a:lnTo>
                  <a:lnTo>
                    <a:pt x="10" y="175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75"/>
                  </a:lnTo>
                  <a:lnTo>
                    <a:pt x="2" y="175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3"/>
                  </a:lnTo>
                  <a:lnTo>
                    <a:pt x="7" y="3"/>
                  </a:lnTo>
                  <a:lnTo>
                    <a:pt x="7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5" name="Freeform 1982">
              <a:extLst>
                <a:ext uri="{FF2B5EF4-FFF2-40B4-BE49-F238E27FC236}">
                  <a16:creationId xmlns:a16="http://schemas.microsoft.com/office/drawing/2014/main" id="{87905499-2724-4373-B301-B7880357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" y="1756"/>
              <a:ext cx="33" cy="33"/>
            </a:xfrm>
            <a:custGeom>
              <a:avLst/>
              <a:gdLst>
                <a:gd name="T0" fmla="*/ 9 w 13"/>
                <a:gd name="T1" fmla="*/ 13 h 13"/>
                <a:gd name="T2" fmla="*/ 13 w 13"/>
                <a:gd name="T3" fmla="*/ 7 h 13"/>
                <a:gd name="T4" fmla="*/ 7 w 13"/>
                <a:gd name="T5" fmla="*/ 0 h 13"/>
                <a:gd name="T6" fmla="*/ 0 w 13"/>
                <a:gd name="T7" fmla="*/ 7 h 13"/>
                <a:gd name="T8" fmla="*/ 5 w 13"/>
                <a:gd name="T9" fmla="*/ 13 h 13"/>
                <a:gd name="T10" fmla="*/ 5 w 13"/>
                <a:gd name="T11" fmla="*/ 12 h 13"/>
                <a:gd name="T12" fmla="*/ 1 w 13"/>
                <a:gd name="T13" fmla="*/ 7 h 13"/>
                <a:gd name="T14" fmla="*/ 3 w 13"/>
                <a:gd name="T15" fmla="*/ 3 h 13"/>
                <a:gd name="T16" fmla="*/ 7 w 13"/>
                <a:gd name="T17" fmla="*/ 1 h 13"/>
                <a:gd name="T18" fmla="*/ 11 w 13"/>
                <a:gd name="T19" fmla="*/ 3 h 13"/>
                <a:gd name="T20" fmla="*/ 12 w 13"/>
                <a:gd name="T21" fmla="*/ 7 h 13"/>
                <a:gd name="T22" fmla="*/ 9 w 13"/>
                <a:gd name="T23" fmla="*/ 12 h 13"/>
                <a:gd name="T24" fmla="*/ 9 w 13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9" y="13"/>
                  </a:moveTo>
                  <a:cubicBezTo>
                    <a:pt x="11" y="12"/>
                    <a:pt x="13" y="10"/>
                    <a:pt x="13" y="7"/>
                  </a:cubicBez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2" y="12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3" y="11"/>
                    <a:pt x="1" y="9"/>
                    <a:pt x="1" y="7"/>
                  </a:cubicBezTo>
                  <a:cubicBezTo>
                    <a:pt x="1" y="5"/>
                    <a:pt x="2" y="4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1"/>
                    <a:pt x="10" y="2"/>
                    <a:pt x="11" y="3"/>
                  </a:cubicBezTo>
                  <a:cubicBezTo>
                    <a:pt x="12" y="4"/>
                    <a:pt x="12" y="5"/>
                    <a:pt x="12" y="7"/>
                  </a:cubicBezTo>
                  <a:cubicBezTo>
                    <a:pt x="12" y="9"/>
                    <a:pt x="11" y="11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6" name="Freeform 1983">
              <a:extLst>
                <a:ext uri="{FF2B5EF4-FFF2-40B4-BE49-F238E27FC236}">
                  <a16:creationId xmlns:a16="http://schemas.microsoft.com/office/drawing/2014/main" id="{9A7F8956-17F1-4858-AC07-302DF00A2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1741"/>
              <a:ext cx="61" cy="60"/>
            </a:xfrm>
            <a:custGeom>
              <a:avLst/>
              <a:gdLst>
                <a:gd name="T0" fmla="*/ 15 w 24"/>
                <a:gd name="T1" fmla="*/ 24 h 24"/>
                <a:gd name="T2" fmla="*/ 24 w 24"/>
                <a:gd name="T3" fmla="*/ 13 h 24"/>
                <a:gd name="T4" fmla="*/ 12 w 24"/>
                <a:gd name="T5" fmla="*/ 0 h 24"/>
                <a:gd name="T6" fmla="*/ 0 w 24"/>
                <a:gd name="T7" fmla="*/ 13 h 24"/>
                <a:gd name="T8" fmla="*/ 9 w 24"/>
                <a:gd name="T9" fmla="*/ 24 h 24"/>
                <a:gd name="T10" fmla="*/ 9 w 24"/>
                <a:gd name="T11" fmla="*/ 24 h 24"/>
                <a:gd name="T12" fmla="*/ 1 w 24"/>
                <a:gd name="T13" fmla="*/ 13 h 24"/>
                <a:gd name="T14" fmla="*/ 4 w 24"/>
                <a:gd name="T15" fmla="*/ 5 h 24"/>
                <a:gd name="T16" fmla="*/ 12 w 24"/>
                <a:gd name="T17" fmla="*/ 1 h 24"/>
                <a:gd name="T18" fmla="*/ 20 w 24"/>
                <a:gd name="T19" fmla="*/ 5 h 24"/>
                <a:gd name="T20" fmla="*/ 23 w 24"/>
                <a:gd name="T21" fmla="*/ 13 h 24"/>
                <a:gd name="T22" fmla="*/ 15 w 24"/>
                <a:gd name="T23" fmla="*/ 23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cubicBezTo>
                    <a:pt x="20" y="23"/>
                    <a:pt x="24" y="18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8"/>
                    <a:pt x="3" y="23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4" y="22"/>
                    <a:pt x="1" y="18"/>
                    <a:pt x="1" y="13"/>
                  </a:cubicBezTo>
                  <a:cubicBezTo>
                    <a:pt x="1" y="10"/>
                    <a:pt x="2" y="7"/>
                    <a:pt x="4" y="5"/>
                  </a:cubicBezTo>
                  <a:cubicBezTo>
                    <a:pt x="6" y="3"/>
                    <a:pt x="9" y="1"/>
                    <a:pt x="12" y="1"/>
                  </a:cubicBezTo>
                  <a:cubicBezTo>
                    <a:pt x="15" y="1"/>
                    <a:pt x="18" y="3"/>
                    <a:pt x="20" y="5"/>
                  </a:cubicBezTo>
                  <a:cubicBezTo>
                    <a:pt x="22" y="7"/>
                    <a:pt x="23" y="10"/>
                    <a:pt x="23" y="13"/>
                  </a:cubicBezTo>
                  <a:cubicBezTo>
                    <a:pt x="23" y="18"/>
                    <a:pt x="20" y="22"/>
                    <a:pt x="15" y="23"/>
                  </a:cubicBezTo>
                  <a:cubicBezTo>
                    <a:pt x="15" y="24"/>
                    <a:pt x="15" y="24"/>
                    <a:pt x="15" y="2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7" name="Freeform 1984">
              <a:extLst>
                <a:ext uri="{FF2B5EF4-FFF2-40B4-BE49-F238E27FC236}">
                  <a16:creationId xmlns:a16="http://schemas.microsoft.com/office/drawing/2014/main" id="{E28E5B1F-194A-4DE0-B0D9-CCA1C7AF9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1726"/>
              <a:ext cx="91" cy="91"/>
            </a:xfrm>
            <a:custGeom>
              <a:avLst/>
              <a:gdLst>
                <a:gd name="T0" fmla="*/ 23 w 36"/>
                <a:gd name="T1" fmla="*/ 36 h 36"/>
                <a:gd name="T2" fmla="*/ 36 w 36"/>
                <a:gd name="T3" fmla="*/ 19 h 36"/>
                <a:gd name="T4" fmla="*/ 18 w 36"/>
                <a:gd name="T5" fmla="*/ 0 h 36"/>
                <a:gd name="T6" fmla="*/ 0 w 36"/>
                <a:gd name="T7" fmla="*/ 19 h 36"/>
                <a:gd name="T8" fmla="*/ 13 w 36"/>
                <a:gd name="T9" fmla="*/ 36 h 36"/>
                <a:gd name="T10" fmla="*/ 13 w 36"/>
                <a:gd name="T11" fmla="*/ 35 h 36"/>
                <a:gd name="T12" fmla="*/ 1 w 36"/>
                <a:gd name="T13" fmla="*/ 19 h 36"/>
                <a:gd name="T14" fmla="*/ 6 w 36"/>
                <a:gd name="T15" fmla="*/ 6 h 36"/>
                <a:gd name="T16" fmla="*/ 18 w 36"/>
                <a:gd name="T17" fmla="*/ 1 h 36"/>
                <a:gd name="T18" fmla="*/ 30 w 36"/>
                <a:gd name="T19" fmla="*/ 6 h 36"/>
                <a:gd name="T20" fmla="*/ 35 w 36"/>
                <a:gd name="T21" fmla="*/ 19 h 36"/>
                <a:gd name="T22" fmla="*/ 23 w 36"/>
                <a:gd name="T23" fmla="*/ 35 h 36"/>
                <a:gd name="T24" fmla="*/ 23 w 3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6">
                  <a:moveTo>
                    <a:pt x="23" y="36"/>
                  </a:moveTo>
                  <a:cubicBezTo>
                    <a:pt x="31" y="34"/>
                    <a:pt x="36" y="27"/>
                    <a:pt x="36" y="19"/>
                  </a:cubicBezTo>
                  <a:cubicBezTo>
                    <a:pt x="36" y="9"/>
                    <a:pt x="28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7"/>
                    <a:pt x="5" y="34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6" y="33"/>
                    <a:pt x="1" y="27"/>
                    <a:pt x="1" y="19"/>
                  </a:cubicBezTo>
                  <a:cubicBezTo>
                    <a:pt x="1" y="14"/>
                    <a:pt x="2" y="10"/>
                    <a:pt x="6" y="6"/>
                  </a:cubicBezTo>
                  <a:cubicBezTo>
                    <a:pt x="9" y="3"/>
                    <a:pt x="13" y="1"/>
                    <a:pt x="18" y="1"/>
                  </a:cubicBezTo>
                  <a:cubicBezTo>
                    <a:pt x="23" y="1"/>
                    <a:pt x="27" y="3"/>
                    <a:pt x="30" y="6"/>
                  </a:cubicBezTo>
                  <a:cubicBezTo>
                    <a:pt x="33" y="10"/>
                    <a:pt x="35" y="14"/>
                    <a:pt x="35" y="19"/>
                  </a:cubicBezTo>
                  <a:cubicBezTo>
                    <a:pt x="35" y="26"/>
                    <a:pt x="30" y="33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8" name="Oval 1985">
              <a:extLst>
                <a:ext uri="{FF2B5EF4-FFF2-40B4-BE49-F238E27FC236}">
                  <a16:creationId xmlns:a16="http://schemas.microsoft.com/office/drawing/2014/main" id="{78C8B703-5E88-4C4D-B19D-567E8AA8B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0" y="1769"/>
              <a:ext cx="5" cy="7"/>
            </a:xfrm>
            <a:prstGeom prst="ellipse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9" name="Freeform 1986">
              <a:extLst>
                <a:ext uri="{FF2B5EF4-FFF2-40B4-BE49-F238E27FC236}">
                  <a16:creationId xmlns:a16="http://schemas.microsoft.com/office/drawing/2014/main" id="{8BDBCF3B-698C-4F03-98D9-27166881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" y="2019"/>
              <a:ext cx="194" cy="164"/>
            </a:xfrm>
            <a:custGeom>
              <a:avLst/>
              <a:gdLst>
                <a:gd name="T0" fmla="*/ 0 w 194"/>
                <a:gd name="T1" fmla="*/ 162 h 164"/>
                <a:gd name="T2" fmla="*/ 0 w 194"/>
                <a:gd name="T3" fmla="*/ 0 h 164"/>
                <a:gd name="T4" fmla="*/ 194 w 194"/>
                <a:gd name="T5" fmla="*/ 0 h 164"/>
                <a:gd name="T6" fmla="*/ 194 w 194"/>
                <a:gd name="T7" fmla="*/ 164 h 164"/>
                <a:gd name="T8" fmla="*/ 0 w 194"/>
                <a:gd name="T9" fmla="*/ 16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164">
                  <a:moveTo>
                    <a:pt x="0" y="162"/>
                  </a:moveTo>
                  <a:lnTo>
                    <a:pt x="0" y="0"/>
                  </a:lnTo>
                  <a:lnTo>
                    <a:pt x="194" y="0"/>
                  </a:lnTo>
                  <a:lnTo>
                    <a:pt x="194" y="164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0" name="Freeform 1987">
              <a:extLst>
                <a:ext uri="{FF2B5EF4-FFF2-40B4-BE49-F238E27FC236}">
                  <a16:creationId xmlns:a16="http://schemas.microsoft.com/office/drawing/2014/main" id="{3FEC910C-8B4A-4E6C-A92A-629F616CC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" y="2019"/>
              <a:ext cx="194" cy="164"/>
            </a:xfrm>
            <a:custGeom>
              <a:avLst/>
              <a:gdLst>
                <a:gd name="T0" fmla="*/ 0 w 194"/>
                <a:gd name="T1" fmla="*/ 162 h 164"/>
                <a:gd name="T2" fmla="*/ 0 w 194"/>
                <a:gd name="T3" fmla="*/ 0 h 164"/>
                <a:gd name="T4" fmla="*/ 194 w 194"/>
                <a:gd name="T5" fmla="*/ 0 h 164"/>
                <a:gd name="T6" fmla="*/ 194 w 194"/>
                <a:gd name="T7" fmla="*/ 164 h 164"/>
                <a:gd name="T8" fmla="*/ 0 w 194"/>
                <a:gd name="T9" fmla="*/ 16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164">
                  <a:moveTo>
                    <a:pt x="0" y="162"/>
                  </a:moveTo>
                  <a:lnTo>
                    <a:pt x="0" y="0"/>
                  </a:lnTo>
                  <a:lnTo>
                    <a:pt x="194" y="0"/>
                  </a:lnTo>
                  <a:lnTo>
                    <a:pt x="194" y="164"/>
                  </a:lnTo>
                  <a:lnTo>
                    <a:pt x="0" y="1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1" name="Freeform 1988">
              <a:extLst>
                <a:ext uri="{FF2B5EF4-FFF2-40B4-BE49-F238E27FC236}">
                  <a16:creationId xmlns:a16="http://schemas.microsoft.com/office/drawing/2014/main" id="{EA087181-340F-4A0A-A66B-63992FF37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" y="2016"/>
              <a:ext cx="197" cy="167"/>
            </a:xfrm>
            <a:custGeom>
              <a:avLst/>
              <a:gdLst>
                <a:gd name="T0" fmla="*/ 2 w 197"/>
                <a:gd name="T1" fmla="*/ 165 h 167"/>
                <a:gd name="T2" fmla="*/ 2 w 197"/>
                <a:gd name="T3" fmla="*/ 3 h 167"/>
                <a:gd name="T4" fmla="*/ 194 w 197"/>
                <a:gd name="T5" fmla="*/ 3 h 167"/>
                <a:gd name="T6" fmla="*/ 194 w 197"/>
                <a:gd name="T7" fmla="*/ 167 h 167"/>
                <a:gd name="T8" fmla="*/ 197 w 197"/>
                <a:gd name="T9" fmla="*/ 167 h 167"/>
                <a:gd name="T10" fmla="*/ 197 w 197"/>
                <a:gd name="T11" fmla="*/ 0 h 167"/>
                <a:gd name="T12" fmla="*/ 0 w 197"/>
                <a:gd name="T13" fmla="*/ 0 h 167"/>
                <a:gd name="T14" fmla="*/ 0 w 197"/>
                <a:gd name="T15" fmla="*/ 165 h 167"/>
                <a:gd name="T16" fmla="*/ 2 w 197"/>
                <a:gd name="T17" fmla="*/ 16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167">
                  <a:moveTo>
                    <a:pt x="2" y="165"/>
                  </a:moveTo>
                  <a:lnTo>
                    <a:pt x="2" y="3"/>
                  </a:lnTo>
                  <a:lnTo>
                    <a:pt x="194" y="3"/>
                  </a:lnTo>
                  <a:lnTo>
                    <a:pt x="194" y="167"/>
                  </a:lnTo>
                  <a:lnTo>
                    <a:pt x="197" y="167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165"/>
                  </a:lnTo>
                  <a:lnTo>
                    <a:pt x="2" y="16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2" name="Freeform 1989">
              <a:extLst>
                <a:ext uri="{FF2B5EF4-FFF2-40B4-BE49-F238E27FC236}">
                  <a16:creationId xmlns:a16="http://schemas.microsoft.com/office/drawing/2014/main" id="{C3C8AA02-B93F-4BB3-AE7F-6201403F1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" y="2016"/>
              <a:ext cx="197" cy="167"/>
            </a:xfrm>
            <a:custGeom>
              <a:avLst/>
              <a:gdLst>
                <a:gd name="T0" fmla="*/ 2 w 197"/>
                <a:gd name="T1" fmla="*/ 165 h 167"/>
                <a:gd name="T2" fmla="*/ 2 w 197"/>
                <a:gd name="T3" fmla="*/ 3 h 167"/>
                <a:gd name="T4" fmla="*/ 194 w 197"/>
                <a:gd name="T5" fmla="*/ 3 h 167"/>
                <a:gd name="T6" fmla="*/ 194 w 197"/>
                <a:gd name="T7" fmla="*/ 167 h 167"/>
                <a:gd name="T8" fmla="*/ 197 w 197"/>
                <a:gd name="T9" fmla="*/ 167 h 167"/>
                <a:gd name="T10" fmla="*/ 197 w 197"/>
                <a:gd name="T11" fmla="*/ 0 h 167"/>
                <a:gd name="T12" fmla="*/ 0 w 197"/>
                <a:gd name="T13" fmla="*/ 0 h 167"/>
                <a:gd name="T14" fmla="*/ 0 w 197"/>
                <a:gd name="T15" fmla="*/ 165 h 167"/>
                <a:gd name="T16" fmla="*/ 2 w 197"/>
                <a:gd name="T17" fmla="*/ 16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167">
                  <a:moveTo>
                    <a:pt x="2" y="165"/>
                  </a:moveTo>
                  <a:lnTo>
                    <a:pt x="2" y="3"/>
                  </a:lnTo>
                  <a:lnTo>
                    <a:pt x="194" y="3"/>
                  </a:lnTo>
                  <a:lnTo>
                    <a:pt x="194" y="167"/>
                  </a:lnTo>
                  <a:lnTo>
                    <a:pt x="197" y="167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165"/>
                  </a:lnTo>
                  <a:lnTo>
                    <a:pt x="2" y="1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3" name="Freeform 1990">
              <a:extLst>
                <a:ext uri="{FF2B5EF4-FFF2-40B4-BE49-F238E27FC236}">
                  <a16:creationId xmlns:a16="http://schemas.microsoft.com/office/drawing/2014/main" id="{75D97865-C840-4223-B1E6-BB2E7E32E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9" y="1981"/>
              <a:ext cx="172" cy="38"/>
            </a:xfrm>
            <a:custGeom>
              <a:avLst/>
              <a:gdLst>
                <a:gd name="T0" fmla="*/ 172 w 172"/>
                <a:gd name="T1" fmla="*/ 0 h 38"/>
                <a:gd name="T2" fmla="*/ 0 w 172"/>
                <a:gd name="T3" fmla="*/ 0 h 38"/>
                <a:gd name="T4" fmla="*/ 8 w 172"/>
                <a:gd name="T5" fmla="*/ 38 h 38"/>
                <a:gd name="T6" fmla="*/ 162 w 172"/>
                <a:gd name="T7" fmla="*/ 38 h 38"/>
                <a:gd name="T8" fmla="*/ 172 w 172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38">
                  <a:moveTo>
                    <a:pt x="172" y="0"/>
                  </a:moveTo>
                  <a:lnTo>
                    <a:pt x="0" y="0"/>
                  </a:lnTo>
                  <a:lnTo>
                    <a:pt x="8" y="38"/>
                  </a:lnTo>
                  <a:lnTo>
                    <a:pt x="162" y="38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4" name="Freeform 1991">
              <a:extLst>
                <a:ext uri="{FF2B5EF4-FFF2-40B4-BE49-F238E27FC236}">
                  <a16:creationId xmlns:a16="http://schemas.microsoft.com/office/drawing/2014/main" id="{3745C8AD-5E5D-4AF2-8D82-659A3FB7D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9" y="1981"/>
              <a:ext cx="172" cy="38"/>
            </a:xfrm>
            <a:custGeom>
              <a:avLst/>
              <a:gdLst>
                <a:gd name="T0" fmla="*/ 172 w 172"/>
                <a:gd name="T1" fmla="*/ 0 h 38"/>
                <a:gd name="T2" fmla="*/ 0 w 172"/>
                <a:gd name="T3" fmla="*/ 0 h 38"/>
                <a:gd name="T4" fmla="*/ 8 w 172"/>
                <a:gd name="T5" fmla="*/ 38 h 38"/>
                <a:gd name="T6" fmla="*/ 162 w 172"/>
                <a:gd name="T7" fmla="*/ 38 h 38"/>
                <a:gd name="T8" fmla="*/ 172 w 172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38">
                  <a:moveTo>
                    <a:pt x="172" y="0"/>
                  </a:moveTo>
                  <a:lnTo>
                    <a:pt x="0" y="0"/>
                  </a:lnTo>
                  <a:lnTo>
                    <a:pt x="8" y="38"/>
                  </a:lnTo>
                  <a:lnTo>
                    <a:pt x="162" y="38"/>
                  </a:lnTo>
                  <a:lnTo>
                    <a:pt x="17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5" name="Freeform 1992">
              <a:extLst>
                <a:ext uri="{FF2B5EF4-FFF2-40B4-BE49-F238E27FC236}">
                  <a16:creationId xmlns:a16="http://schemas.microsoft.com/office/drawing/2014/main" id="{CF03BFFB-BF0D-4C42-9AFF-19635A6B1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1979"/>
              <a:ext cx="174" cy="40"/>
            </a:xfrm>
            <a:custGeom>
              <a:avLst/>
              <a:gdLst>
                <a:gd name="T0" fmla="*/ 174 w 174"/>
                <a:gd name="T1" fmla="*/ 2 h 40"/>
                <a:gd name="T2" fmla="*/ 174 w 174"/>
                <a:gd name="T3" fmla="*/ 0 h 40"/>
                <a:gd name="T4" fmla="*/ 0 w 174"/>
                <a:gd name="T5" fmla="*/ 0 h 40"/>
                <a:gd name="T6" fmla="*/ 10 w 174"/>
                <a:gd name="T7" fmla="*/ 40 h 40"/>
                <a:gd name="T8" fmla="*/ 167 w 174"/>
                <a:gd name="T9" fmla="*/ 40 h 40"/>
                <a:gd name="T10" fmla="*/ 174 w 174"/>
                <a:gd name="T11" fmla="*/ 0 h 40"/>
                <a:gd name="T12" fmla="*/ 174 w 174"/>
                <a:gd name="T13" fmla="*/ 0 h 40"/>
                <a:gd name="T14" fmla="*/ 174 w 174"/>
                <a:gd name="T15" fmla="*/ 2 h 40"/>
                <a:gd name="T16" fmla="*/ 172 w 174"/>
                <a:gd name="T17" fmla="*/ 2 h 40"/>
                <a:gd name="T18" fmla="*/ 164 w 174"/>
                <a:gd name="T19" fmla="*/ 37 h 40"/>
                <a:gd name="T20" fmla="*/ 13 w 174"/>
                <a:gd name="T21" fmla="*/ 37 h 40"/>
                <a:gd name="T22" fmla="*/ 2 w 174"/>
                <a:gd name="T23" fmla="*/ 2 h 40"/>
                <a:gd name="T24" fmla="*/ 174 w 174"/>
                <a:gd name="T25" fmla="*/ 2 h 40"/>
                <a:gd name="T26" fmla="*/ 174 w 174"/>
                <a:gd name="T27" fmla="*/ 2 h 40"/>
                <a:gd name="T28" fmla="*/ 172 w 174"/>
                <a:gd name="T29" fmla="*/ 2 h 40"/>
                <a:gd name="T30" fmla="*/ 174 w 174"/>
                <a:gd name="T31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40">
                  <a:moveTo>
                    <a:pt x="174" y="2"/>
                  </a:moveTo>
                  <a:lnTo>
                    <a:pt x="174" y="0"/>
                  </a:lnTo>
                  <a:lnTo>
                    <a:pt x="0" y="0"/>
                  </a:lnTo>
                  <a:lnTo>
                    <a:pt x="10" y="40"/>
                  </a:lnTo>
                  <a:lnTo>
                    <a:pt x="167" y="4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4" y="2"/>
                  </a:lnTo>
                  <a:lnTo>
                    <a:pt x="172" y="2"/>
                  </a:lnTo>
                  <a:lnTo>
                    <a:pt x="164" y="37"/>
                  </a:lnTo>
                  <a:lnTo>
                    <a:pt x="13" y="37"/>
                  </a:lnTo>
                  <a:lnTo>
                    <a:pt x="2" y="2"/>
                  </a:lnTo>
                  <a:lnTo>
                    <a:pt x="174" y="2"/>
                  </a:lnTo>
                  <a:lnTo>
                    <a:pt x="174" y="2"/>
                  </a:lnTo>
                  <a:lnTo>
                    <a:pt x="172" y="2"/>
                  </a:lnTo>
                  <a:lnTo>
                    <a:pt x="174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6" name="Freeform 1993">
              <a:extLst>
                <a:ext uri="{FF2B5EF4-FFF2-40B4-BE49-F238E27FC236}">
                  <a16:creationId xmlns:a16="http://schemas.microsoft.com/office/drawing/2014/main" id="{FD4648D3-3ACD-4169-BCD6-597399AB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1979"/>
              <a:ext cx="174" cy="40"/>
            </a:xfrm>
            <a:custGeom>
              <a:avLst/>
              <a:gdLst>
                <a:gd name="T0" fmla="*/ 174 w 174"/>
                <a:gd name="T1" fmla="*/ 2 h 40"/>
                <a:gd name="T2" fmla="*/ 174 w 174"/>
                <a:gd name="T3" fmla="*/ 0 h 40"/>
                <a:gd name="T4" fmla="*/ 0 w 174"/>
                <a:gd name="T5" fmla="*/ 0 h 40"/>
                <a:gd name="T6" fmla="*/ 10 w 174"/>
                <a:gd name="T7" fmla="*/ 40 h 40"/>
                <a:gd name="T8" fmla="*/ 167 w 174"/>
                <a:gd name="T9" fmla="*/ 40 h 40"/>
                <a:gd name="T10" fmla="*/ 174 w 174"/>
                <a:gd name="T11" fmla="*/ 0 h 40"/>
                <a:gd name="T12" fmla="*/ 174 w 174"/>
                <a:gd name="T13" fmla="*/ 0 h 40"/>
                <a:gd name="T14" fmla="*/ 174 w 174"/>
                <a:gd name="T15" fmla="*/ 2 h 40"/>
                <a:gd name="T16" fmla="*/ 172 w 174"/>
                <a:gd name="T17" fmla="*/ 2 h 40"/>
                <a:gd name="T18" fmla="*/ 164 w 174"/>
                <a:gd name="T19" fmla="*/ 37 h 40"/>
                <a:gd name="T20" fmla="*/ 13 w 174"/>
                <a:gd name="T21" fmla="*/ 37 h 40"/>
                <a:gd name="T22" fmla="*/ 2 w 174"/>
                <a:gd name="T23" fmla="*/ 2 h 40"/>
                <a:gd name="T24" fmla="*/ 174 w 174"/>
                <a:gd name="T25" fmla="*/ 2 h 40"/>
                <a:gd name="T26" fmla="*/ 174 w 174"/>
                <a:gd name="T27" fmla="*/ 2 h 40"/>
                <a:gd name="T28" fmla="*/ 172 w 174"/>
                <a:gd name="T29" fmla="*/ 2 h 40"/>
                <a:gd name="T30" fmla="*/ 174 w 174"/>
                <a:gd name="T31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40">
                  <a:moveTo>
                    <a:pt x="174" y="2"/>
                  </a:moveTo>
                  <a:lnTo>
                    <a:pt x="174" y="0"/>
                  </a:lnTo>
                  <a:lnTo>
                    <a:pt x="0" y="0"/>
                  </a:lnTo>
                  <a:lnTo>
                    <a:pt x="10" y="40"/>
                  </a:lnTo>
                  <a:lnTo>
                    <a:pt x="167" y="4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4" y="2"/>
                  </a:lnTo>
                  <a:lnTo>
                    <a:pt x="172" y="2"/>
                  </a:lnTo>
                  <a:lnTo>
                    <a:pt x="164" y="37"/>
                  </a:lnTo>
                  <a:lnTo>
                    <a:pt x="13" y="37"/>
                  </a:lnTo>
                  <a:lnTo>
                    <a:pt x="2" y="2"/>
                  </a:lnTo>
                  <a:lnTo>
                    <a:pt x="174" y="2"/>
                  </a:lnTo>
                  <a:lnTo>
                    <a:pt x="174" y="2"/>
                  </a:lnTo>
                  <a:lnTo>
                    <a:pt x="172" y="2"/>
                  </a:lnTo>
                  <a:lnTo>
                    <a:pt x="174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7" name="Freeform 1994">
              <a:extLst>
                <a:ext uri="{FF2B5EF4-FFF2-40B4-BE49-F238E27FC236}">
                  <a16:creationId xmlns:a16="http://schemas.microsoft.com/office/drawing/2014/main" id="{3BFB72AB-54EE-4038-9590-A9795E5AE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8" name="Freeform 1995">
              <a:extLst>
                <a:ext uri="{FF2B5EF4-FFF2-40B4-BE49-F238E27FC236}">
                  <a16:creationId xmlns:a16="http://schemas.microsoft.com/office/drawing/2014/main" id="{14D024D2-8EAE-466F-AC0B-1D7DB29D0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9" name="Rectangle 1996">
              <a:extLst>
                <a:ext uri="{FF2B5EF4-FFF2-40B4-BE49-F238E27FC236}">
                  <a16:creationId xmlns:a16="http://schemas.microsoft.com/office/drawing/2014/main" id="{6F022044-D8FB-4820-BD4C-B08A1E5C5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3" y="1981"/>
              <a:ext cx="2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0" name="Rectangle 1997">
              <a:extLst>
                <a:ext uri="{FF2B5EF4-FFF2-40B4-BE49-F238E27FC236}">
                  <a16:creationId xmlns:a16="http://schemas.microsoft.com/office/drawing/2014/main" id="{6AD7C724-D6F4-47EA-B1B0-4379562962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3" y="1981"/>
              <a:ext cx="2" cy="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1" name="Freeform 1998">
              <a:extLst>
                <a:ext uri="{FF2B5EF4-FFF2-40B4-BE49-F238E27FC236}">
                  <a16:creationId xmlns:a16="http://schemas.microsoft.com/office/drawing/2014/main" id="{D2923883-7220-4099-B2C3-47740881E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2" name="Freeform 1999">
              <a:extLst>
                <a:ext uri="{FF2B5EF4-FFF2-40B4-BE49-F238E27FC236}">
                  <a16:creationId xmlns:a16="http://schemas.microsoft.com/office/drawing/2014/main" id="{ED842BEA-8B05-4D59-BDCA-6D4AAB516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3" name="Rectangle 2000">
              <a:extLst>
                <a:ext uri="{FF2B5EF4-FFF2-40B4-BE49-F238E27FC236}">
                  <a16:creationId xmlns:a16="http://schemas.microsoft.com/office/drawing/2014/main" id="{5B65D9DA-1356-4246-9353-DC160EF45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8" y="1981"/>
              <a:ext cx="2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4" name="Rectangle 2001">
              <a:extLst>
                <a:ext uri="{FF2B5EF4-FFF2-40B4-BE49-F238E27FC236}">
                  <a16:creationId xmlns:a16="http://schemas.microsoft.com/office/drawing/2014/main" id="{637D49CF-430D-47BE-81B7-E74E4B725B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8" y="1981"/>
              <a:ext cx="2" cy="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5" name="Freeform 2002">
              <a:extLst>
                <a:ext uri="{FF2B5EF4-FFF2-40B4-BE49-F238E27FC236}">
                  <a16:creationId xmlns:a16="http://schemas.microsoft.com/office/drawing/2014/main" id="{A4CA15BA-A2E2-43AA-8F98-47ACCC026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6" name="Line 2003">
              <a:extLst>
                <a:ext uri="{FF2B5EF4-FFF2-40B4-BE49-F238E27FC236}">
                  <a16:creationId xmlns:a16="http://schemas.microsoft.com/office/drawing/2014/main" id="{B8EDBAF0-76E3-449F-9C05-51A62FADCB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2" y="1981"/>
              <a:ext cx="0" cy="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7" name="Rectangle 2004">
              <a:extLst>
                <a:ext uri="{FF2B5EF4-FFF2-40B4-BE49-F238E27FC236}">
                  <a16:creationId xmlns:a16="http://schemas.microsoft.com/office/drawing/2014/main" id="{E1C93D80-F174-4BA3-8423-BAD7273AE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2" y="1981"/>
              <a:ext cx="3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8" name="Freeform 2005">
              <a:extLst>
                <a:ext uri="{FF2B5EF4-FFF2-40B4-BE49-F238E27FC236}">
                  <a16:creationId xmlns:a16="http://schemas.microsoft.com/office/drawing/2014/main" id="{8CFA64EC-A2A3-407D-957D-80715E95A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981"/>
              <a:ext cx="3" cy="35"/>
            </a:xfrm>
            <a:custGeom>
              <a:avLst/>
              <a:gdLst>
                <a:gd name="T0" fmla="*/ 0 w 3"/>
                <a:gd name="T1" fmla="*/ 0 h 35"/>
                <a:gd name="T2" fmla="*/ 0 w 3"/>
                <a:gd name="T3" fmla="*/ 35 h 35"/>
                <a:gd name="T4" fmla="*/ 3 w 3"/>
                <a:gd name="T5" fmla="*/ 35 h 35"/>
                <a:gd name="T6" fmla="*/ 3 w 3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5">
                  <a:moveTo>
                    <a:pt x="0" y="0"/>
                  </a:moveTo>
                  <a:lnTo>
                    <a:pt x="0" y="35"/>
                  </a:lnTo>
                  <a:lnTo>
                    <a:pt x="3" y="35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9" name="Freeform 2006">
              <a:extLst>
                <a:ext uri="{FF2B5EF4-FFF2-40B4-BE49-F238E27FC236}">
                  <a16:creationId xmlns:a16="http://schemas.microsoft.com/office/drawing/2014/main" id="{84675EEA-2CDE-4BF7-93E9-FC175E7EA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0" name="Line 2007">
              <a:extLst>
                <a:ext uri="{FF2B5EF4-FFF2-40B4-BE49-F238E27FC236}">
                  <a16:creationId xmlns:a16="http://schemas.microsoft.com/office/drawing/2014/main" id="{9A6A8795-206C-4F7D-A0E7-98A9955EE6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1" y="1981"/>
              <a:ext cx="0" cy="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1" name="Rectangle 2008">
              <a:extLst>
                <a:ext uri="{FF2B5EF4-FFF2-40B4-BE49-F238E27FC236}">
                  <a16:creationId xmlns:a16="http://schemas.microsoft.com/office/drawing/2014/main" id="{85883B43-D6B6-4CC0-8F2B-B2F5793C0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1" y="1981"/>
              <a:ext cx="1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2" name="Freeform 2009">
              <a:extLst>
                <a:ext uri="{FF2B5EF4-FFF2-40B4-BE49-F238E27FC236}">
                  <a16:creationId xmlns:a16="http://schemas.microsoft.com/office/drawing/2014/main" id="{3651E84E-3946-4531-8B5B-BBC6B3359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35 h 35"/>
                <a:gd name="T3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3" name="Freeform 2010">
              <a:extLst>
                <a:ext uri="{FF2B5EF4-FFF2-40B4-BE49-F238E27FC236}">
                  <a16:creationId xmlns:a16="http://schemas.microsoft.com/office/drawing/2014/main" id="{B414EA50-38CF-4AB5-96DB-1A7A9605A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" y="1981"/>
              <a:ext cx="0" cy="35"/>
            </a:xfrm>
            <a:custGeom>
              <a:avLst/>
              <a:gdLst>
                <a:gd name="T0" fmla="*/ 0 h 35"/>
                <a:gd name="T1" fmla="*/ 35 h 35"/>
                <a:gd name="T2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4" name="Line 2011">
              <a:extLst>
                <a:ext uri="{FF2B5EF4-FFF2-40B4-BE49-F238E27FC236}">
                  <a16:creationId xmlns:a16="http://schemas.microsoft.com/office/drawing/2014/main" id="{DA7732D8-A5FF-4EF2-979A-E799E321DB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36" y="1981"/>
              <a:ext cx="0" cy="3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5" name="Rectangle 2012">
              <a:extLst>
                <a:ext uri="{FF2B5EF4-FFF2-40B4-BE49-F238E27FC236}">
                  <a16:creationId xmlns:a16="http://schemas.microsoft.com/office/drawing/2014/main" id="{31252BCA-2ABF-4890-80EE-7E56A88EA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6" y="1981"/>
              <a:ext cx="2" cy="3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6" name="Freeform 2013">
              <a:extLst>
                <a:ext uri="{FF2B5EF4-FFF2-40B4-BE49-F238E27FC236}">
                  <a16:creationId xmlns:a16="http://schemas.microsoft.com/office/drawing/2014/main" id="{6B88D45B-1514-4DA9-A37D-3BFAB07A2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" y="1981"/>
              <a:ext cx="2" cy="35"/>
            </a:xfrm>
            <a:custGeom>
              <a:avLst/>
              <a:gdLst>
                <a:gd name="T0" fmla="*/ 0 w 2"/>
                <a:gd name="T1" fmla="*/ 0 h 35"/>
                <a:gd name="T2" fmla="*/ 0 w 2"/>
                <a:gd name="T3" fmla="*/ 35 h 35"/>
                <a:gd name="T4" fmla="*/ 2 w 2"/>
                <a:gd name="T5" fmla="*/ 35 h 35"/>
                <a:gd name="T6" fmla="*/ 2 w 2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5">
                  <a:moveTo>
                    <a:pt x="0" y="0"/>
                  </a:moveTo>
                  <a:lnTo>
                    <a:pt x="0" y="35"/>
                  </a:lnTo>
                  <a:lnTo>
                    <a:pt x="2" y="35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42" name="Group 2215">
            <a:extLst>
              <a:ext uri="{FF2B5EF4-FFF2-40B4-BE49-F238E27FC236}">
                <a16:creationId xmlns:a16="http://schemas.microsoft.com/office/drawing/2014/main" id="{009478F9-5BA5-4F0C-AB47-545825DF1AE7}"/>
              </a:ext>
            </a:extLst>
          </p:cNvPr>
          <p:cNvGrpSpPr>
            <a:grpSpLocks/>
          </p:cNvGrpSpPr>
          <p:nvPr/>
        </p:nvGrpSpPr>
        <p:grpSpPr bwMode="auto">
          <a:xfrm>
            <a:off x="515334" y="2794458"/>
            <a:ext cx="7929325" cy="1695213"/>
            <a:chOff x="880" y="1736"/>
            <a:chExt cx="3583" cy="766"/>
          </a:xfrm>
        </p:grpSpPr>
        <p:sp>
          <p:nvSpPr>
            <p:cNvPr id="337" name="Rectangle 2015">
              <a:extLst>
                <a:ext uri="{FF2B5EF4-FFF2-40B4-BE49-F238E27FC236}">
                  <a16:creationId xmlns:a16="http://schemas.microsoft.com/office/drawing/2014/main" id="{9B8F1178-22A4-49AA-BF3A-0636AAEC0E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7" y="1968"/>
              <a:ext cx="194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8" name="Freeform 2016">
              <a:extLst>
                <a:ext uri="{FF2B5EF4-FFF2-40B4-BE49-F238E27FC236}">
                  <a16:creationId xmlns:a16="http://schemas.microsoft.com/office/drawing/2014/main" id="{BEAA07F2-691B-4C76-9A62-D000A06AD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" y="1968"/>
              <a:ext cx="197" cy="13"/>
            </a:xfrm>
            <a:custGeom>
              <a:avLst/>
              <a:gdLst>
                <a:gd name="T0" fmla="*/ 194 w 197"/>
                <a:gd name="T1" fmla="*/ 13 h 13"/>
                <a:gd name="T2" fmla="*/ 194 w 197"/>
                <a:gd name="T3" fmla="*/ 11 h 13"/>
                <a:gd name="T4" fmla="*/ 2 w 197"/>
                <a:gd name="T5" fmla="*/ 11 h 13"/>
                <a:gd name="T6" fmla="*/ 2 w 197"/>
                <a:gd name="T7" fmla="*/ 3 h 13"/>
                <a:gd name="T8" fmla="*/ 194 w 197"/>
                <a:gd name="T9" fmla="*/ 3 h 13"/>
                <a:gd name="T10" fmla="*/ 194 w 197"/>
                <a:gd name="T11" fmla="*/ 13 h 13"/>
                <a:gd name="T12" fmla="*/ 194 w 197"/>
                <a:gd name="T13" fmla="*/ 13 h 13"/>
                <a:gd name="T14" fmla="*/ 194 w 197"/>
                <a:gd name="T15" fmla="*/ 11 h 13"/>
                <a:gd name="T16" fmla="*/ 194 w 197"/>
                <a:gd name="T17" fmla="*/ 13 h 13"/>
                <a:gd name="T18" fmla="*/ 197 w 197"/>
                <a:gd name="T19" fmla="*/ 13 h 13"/>
                <a:gd name="T20" fmla="*/ 197 w 197"/>
                <a:gd name="T21" fmla="*/ 0 h 13"/>
                <a:gd name="T22" fmla="*/ 0 w 197"/>
                <a:gd name="T23" fmla="*/ 0 h 13"/>
                <a:gd name="T24" fmla="*/ 0 w 197"/>
                <a:gd name="T25" fmla="*/ 13 h 13"/>
                <a:gd name="T26" fmla="*/ 197 w 197"/>
                <a:gd name="T27" fmla="*/ 13 h 13"/>
                <a:gd name="T28" fmla="*/ 197 w 197"/>
                <a:gd name="T29" fmla="*/ 13 h 13"/>
                <a:gd name="T30" fmla="*/ 194 w 197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3">
                  <a:moveTo>
                    <a:pt x="194" y="13"/>
                  </a:moveTo>
                  <a:lnTo>
                    <a:pt x="194" y="11"/>
                  </a:lnTo>
                  <a:lnTo>
                    <a:pt x="2" y="11"/>
                  </a:lnTo>
                  <a:lnTo>
                    <a:pt x="2" y="3"/>
                  </a:lnTo>
                  <a:lnTo>
                    <a:pt x="194" y="3"/>
                  </a:lnTo>
                  <a:lnTo>
                    <a:pt x="194" y="13"/>
                  </a:lnTo>
                  <a:lnTo>
                    <a:pt x="194" y="13"/>
                  </a:lnTo>
                  <a:lnTo>
                    <a:pt x="194" y="11"/>
                  </a:lnTo>
                  <a:lnTo>
                    <a:pt x="194" y="13"/>
                  </a:lnTo>
                  <a:lnTo>
                    <a:pt x="197" y="13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194" y="1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9" name="Freeform 2017">
              <a:extLst>
                <a:ext uri="{FF2B5EF4-FFF2-40B4-BE49-F238E27FC236}">
                  <a16:creationId xmlns:a16="http://schemas.microsoft.com/office/drawing/2014/main" id="{10595446-6BB3-45E6-B938-E060CEFD8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2057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  <a:gd name="T6" fmla="*/ 0 w 1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0" name="Freeform 2018">
              <a:extLst>
                <a:ext uri="{FF2B5EF4-FFF2-40B4-BE49-F238E27FC236}">
                  <a16:creationId xmlns:a16="http://schemas.microsoft.com/office/drawing/2014/main" id="{14441D9E-91FE-4870-94BA-6BE1126AA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4" y="2057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1" name="Freeform 2019">
              <a:extLst>
                <a:ext uri="{FF2B5EF4-FFF2-40B4-BE49-F238E27FC236}">
                  <a16:creationId xmlns:a16="http://schemas.microsoft.com/office/drawing/2014/main" id="{E4F7572E-5F39-4933-A7B5-706AC6E1C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2" y="2054"/>
              <a:ext cx="15" cy="26"/>
            </a:xfrm>
            <a:custGeom>
              <a:avLst/>
              <a:gdLst>
                <a:gd name="T0" fmla="*/ 2 w 15"/>
                <a:gd name="T1" fmla="*/ 26 h 26"/>
                <a:gd name="T2" fmla="*/ 2 w 15"/>
                <a:gd name="T3" fmla="*/ 3 h 26"/>
                <a:gd name="T4" fmla="*/ 15 w 15"/>
                <a:gd name="T5" fmla="*/ 3 h 26"/>
                <a:gd name="T6" fmla="*/ 15 w 15"/>
                <a:gd name="T7" fmla="*/ 0 h 26"/>
                <a:gd name="T8" fmla="*/ 0 w 15"/>
                <a:gd name="T9" fmla="*/ 0 h 26"/>
                <a:gd name="T10" fmla="*/ 0 w 15"/>
                <a:gd name="T11" fmla="*/ 26 h 26"/>
                <a:gd name="T12" fmla="*/ 2 w 15"/>
                <a:gd name="T13" fmla="*/ 26 h 26"/>
                <a:gd name="T14" fmla="*/ 2 w 1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6">
                  <a:moveTo>
                    <a:pt x="2" y="26"/>
                  </a:move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2" name="Freeform 2020">
              <a:extLst>
                <a:ext uri="{FF2B5EF4-FFF2-40B4-BE49-F238E27FC236}">
                  <a16:creationId xmlns:a16="http://schemas.microsoft.com/office/drawing/2014/main" id="{022B1129-C2E3-4618-A8F5-13C6603E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057"/>
              <a:ext cx="10" cy="23"/>
            </a:xfrm>
            <a:custGeom>
              <a:avLst/>
              <a:gdLst>
                <a:gd name="T0" fmla="*/ 0 w 10"/>
                <a:gd name="T1" fmla="*/ 23 h 23"/>
                <a:gd name="T2" fmla="*/ 0 w 10"/>
                <a:gd name="T3" fmla="*/ 0 h 23"/>
                <a:gd name="T4" fmla="*/ 10 w 10"/>
                <a:gd name="T5" fmla="*/ 0 h 23"/>
                <a:gd name="T6" fmla="*/ 0 w 10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3">
                  <a:moveTo>
                    <a:pt x="0" y="2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3" name="Freeform 2021">
              <a:extLst>
                <a:ext uri="{FF2B5EF4-FFF2-40B4-BE49-F238E27FC236}">
                  <a16:creationId xmlns:a16="http://schemas.microsoft.com/office/drawing/2014/main" id="{F6DA9321-60B3-45EC-A411-AD253E7A4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057"/>
              <a:ext cx="10" cy="23"/>
            </a:xfrm>
            <a:custGeom>
              <a:avLst/>
              <a:gdLst>
                <a:gd name="T0" fmla="*/ 0 w 10"/>
                <a:gd name="T1" fmla="*/ 23 h 23"/>
                <a:gd name="T2" fmla="*/ 0 w 10"/>
                <a:gd name="T3" fmla="*/ 0 h 23"/>
                <a:gd name="T4" fmla="*/ 10 w 1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3">
                  <a:moveTo>
                    <a:pt x="0" y="23"/>
                  </a:move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4" name="Freeform 2022">
              <a:extLst>
                <a:ext uri="{FF2B5EF4-FFF2-40B4-BE49-F238E27FC236}">
                  <a16:creationId xmlns:a16="http://schemas.microsoft.com/office/drawing/2014/main" id="{892E5D6C-D4BE-4D27-8A4F-B90307820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" y="2054"/>
              <a:ext cx="12" cy="26"/>
            </a:xfrm>
            <a:custGeom>
              <a:avLst/>
              <a:gdLst>
                <a:gd name="T0" fmla="*/ 2 w 12"/>
                <a:gd name="T1" fmla="*/ 26 h 26"/>
                <a:gd name="T2" fmla="*/ 2 w 12"/>
                <a:gd name="T3" fmla="*/ 3 h 26"/>
                <a:gd name="T4" fmla="*/ 12 w 12"/>
                <a:gd name="T5" fmla="*/ 3 h 26"/>
                <a:gd name="T6" fmla="*/ 12 w 12"/>
                <a:gd name="T7" fmla="*/ 0 h 26"/>
                <a:gd name="T8" fmla="*/ 0 w 12"/>
                <a:gd name="T9" fmla="*/ 0 h 26"/>
                <a:gd name="T10" fmla="*/ 0 w 12"/>
                <a:gd name="T11" fmla="*/ 26 h 26"/>
                <a:gd name="T12" fmla="*/ 2 w 12"/>
                <a:gd name="T13" fmla="*/ 26 h 26"/>
                <a:gd name="T14" fmla="*/ 2 w 12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6">
                  <a:moveTo>
                    <a:pt x="2" y="26"/>
                  </a:move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5" name="Freeform 2023">
              <a:extLst>
                <a:ext uri="{FF2B5EF4-FFF2-40B4-BE49-F238E27FC236}">
                  <a16:creationId xmlns:a16="http://schemas.microsoft.com/office/drawing/2014/main" id="{F5D3D308-35F9-4797-85BB-059D2B170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" y="2057"/>
              <a:ext cx="12" cy="23"/>
            </a:xfrm>
            <a:custGeom>
              <a:avLst/>
              <a:gdLst>
                <a:gd name="T0" fmla="*/ 0 w 12"/>
                <a:gd name="T1" fmla="*/ 23 h 23"/>
                <a:gd name="T2" fmla="*/ 0 w 12"/>
                <a:gd name="T3" fmla="*/ 0 h 23"/>
                <a:gd name="T4" fmla="*/ 12 w 12"/>
                <a:gd name="T5" fmla="*/ 0 h 23"/>
                <a:gd name="T6" fmla="*/ 0 w 12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0" y="2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6" name="Freeform 2024">
              <a:extLst>
                <a:ext uri="{FF2B5EF4-FFF2-40B4-BE49-F238E27FC236}">
                  <a16:creationId xmlns:a16="http://schemas.microsoft.com/office/drawing/2014/main" id="{A552D816-EF58-4768-9BFC-FD8A2BCE6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" y="2057"/>
              <a:ext cx="12" cy="23"/>
            </a:xfrm>
            <a:custGeom>
              <a:avLst/>
              <a:gdLst>
                <a:gd name="T0" fmla="*/ 0 w 12"/>
                <a:gd name="T1" fmla="*/ 23 h 23"/>
                <a:gd name="T2" fmla="*/ 0 w 12"/>
                <a:gd name="T3" fmla="*/ 0 h 23"/>
                <a:gd name="T4" fmla="*/ 12 w 1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3">
                  <a:moveTo>
                    <a:pt x="0" y="23"/>
                  </a:moveTo>
                  <a:lnTo>
                    <a:pt x="0" y="0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7" name="Freeform 2025">
              <a:extLst>
                <a:ext uri="{FF2B5EF4-FFF2-40B4-BE49-F238E27FC236}">
                  <a16:creationId xmlns:a16="http://schemas.microsoft.com/office/drawing/2014/main" id="{DE20501D-F8E3-47E5-9738-9F21B9156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" y="2054"/>
              <a:ext cx="12" cy="26"/>
            </a:xfrm>
            <a:custGeom>
              <a:avLst/>
              <a:gdLst>
                <a:gd name="T0" fmla="*/ 2 w 12"/>
                <a:gd name="T1" fmla="*/ 26 h 26"/>
                <a:gd name="T2" fmla="*/ 2 w 12"/>
                <a:gd name="T3" fmla="*/ 3 h 26"/>
                <a:gd name="T4" fmla="*/ 12 w 12"/>
                <a:gd name="T5" fmla="*/ 3 h 26"/>
                <a:gd name="T6" fmla="*/ 12 w 12"/>
                <a:gd name="T7" fmla="*/ 0 h 26"/>
                <a:gd name="T8" fmla="*/ 0 w 12"/>
                <a:gd name="T9" fmla="*/ 0 h 26"/>
                <a:gd name="T10" fmla="*/ 0 w 12"/>
                <a:gd name="T11" fmla="*/ 26 h 26"/>
                <a:gd name="T12" fmla="*/ 2 w 12"/>
                <a:gd name="T13" fmla="*/ 26 h 26"/>
                <a:gd name="T14" fmla="*/ 2 w 12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6">
                  <a:moveTo>
                    <a:pt x="2" y="26"/>
                  </a:moveTo>
                  <a:lnTo>
                    <a:pt x="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8" name="Freeform 2026">
              <a:extLst>
                <a:ext uri="{FF2B5EF4-FFF2-40B4-BE49-F238E27FC236}">
                  <a16:creationId xmlns:a16="http://schemas.microsoft.com/office/drawing/2014/main" id="{AE9446C1-898E-4078-9A94-DCCE8B3F0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2100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  <a:gd name="T6" fmla="*/ 0 w 1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49" name="Freeform 2027">
              <a:extLst>
                <a:ext uri="{FF2B5EF4-FFF2-40B4-BE49-F238E27FC236}">
                  <a16:creationId xmlns:a16="http://schemas.microsoft.com/office/drawing/2014/main" id="{72B678C1-0F24-483B-83DE-F6283AF95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2100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0" name="Freeform 2028">
              <a:extLst>
                <a:ext uri="{FF2B5EF4-FFF2-40B4-BE49-F238E27FC236}">
                  <a16:creationId xmlns:a16="http://schemas.microsoft.com/office/drawing/2014/main" id="{C7CE212D-3107-48E5-BA2E-675D3EF2C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2100"/>
              <a:ext cx="13" cy="23"/>
            </a:xfrm>
            <a:custGeom>
              <a:avLst/>
              <a:gdLst>
                <a:gd name="T0" fmla="*/ 3 w 13"/>
                <a:gd name="T1" fmla="*/ 23 h 23"/>
                <a:gd name="T2" fmla="*/ 3 w 13"/>
                <a:gd name="T3" fmla="*/ 2 h 23"/>
                <a:gd name="T4" fmla="*/ 13 w 13"/>
                <a:gd name="T5" fmla="*/ 2 h 23"/>
                <a:gd name="T6" fmla="*/ 13 w 13"/>
                <a:gd name="T7" fmla="*/ 0 h 23"/>
                <a:gd name="T8" fmla="*/ 0 w 13"/>
                <a:gd name="T9" fmla="*/ 0 h 23"/>
                <a:gd name="T10" fmla="*/ 0 w 13"/>
                <a:gd name="T11" fmla="*/ 23 h 23"/>
                <a:gd name="T12" fmla="*/ 3 w 13"/>
                <a:gd name="T13" fmla="*/ 23 h 23"/>
                <a:gd name="T14" fmla="*/ 3 w 13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3">
                  <a:moveTo>
                    <a:pt x="3" y="23"/>
                  </a:moveTo>
                  <a:lnTo>
                    <a:pt x="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3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1" name="Freeform 2029">
              <a:extLst>
                <a:ext uri="{FF2B5EF4-FFF2-40B4-BE49-F238E27FC236}">
                  <a16:creationId xmlns:a16="http://schemas.microsoft.com/office/drawing/2014/main" id="{53C8EF58-DA3E-433D-BF33-8E8CB0751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" y="2100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  <a:gd name="T6" fmla="*/ 0 w 1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2" name="Freeform 2030">
              <a:extLst>
                <a:ext uri="{FF2B5EF4-FFF2-40B4-BE49-F238E27FC236}">
                  <a16:creationId xmlns:a16="http://schemas.microsoft.com/office/drawing/2014/main" id="{4E7158F9-9678-456B-9403-47A26499E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" y="2100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0 h 23"/>
                <a:gd name="T4" fmla="*/ 13 w 13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0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3" name="Freeform 2031">
              <a:extLst>
                <a:ext uri="{FF2B5EF4-FFF2-40B4-BE49-F238E27FC236}">
                  <a16:creationId xmlns:a16="http://schemas.microsoft.com/office/drawing/2014/main" id="{47AC95FE-FEB4-43CD-88F7-C87DC0593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" y="2100"/>
              <a:ext cx="13" cy="23"/>
            </a:xfrm>
            <a:custGeom>
              <a:avLst/>
              <a:gdLst>
                <a:gd name="T0" fmla="*/ 0 w 13"/>
                <a:gd name="T1" fmla="*/ 23 h 23"/>
                <a:gd name="T2" fmla="*/ 0 w 13"/>
                <a:gd name="T3" fmla="*/ 2 h 23"/>
                <a:gd name="T4" fmla="*/ 13 w 13"/>
                <a:gd name="T5" fmla="*/ 2 h 23"/>
                <a:gd name="T6" fmla="*/ 13 w 13"/>
                <a:gd name="T7" fmla="*/ 0 h 23"/>
                <a:gd name="T8" fmla="*/ 0 w 13"/>
                <a:gd name="T9" fmla="*/ 0 h 23"/>
                <a:gd name="T10" fmla="*/ 0 w 13"/>
                <a:gd name="T11" fmla="*/ 23 h 23"/>
                <a:gd name="T12" fmla="*/ 0 w 13"/>
                <a:gd name="T13" fmla="*/ 23 h 23"/>
                <a:gd name="T14" fmla="*/ 0 w 13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3">
                  <a:moveTo>
                    <a:pt x="0" y="23"/>
                  </a:moveTo>
                  <a:lnTo>
                    <a:pt x="0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4" name="Freeform 2032">
              <a:extLst>
                <a:ext uri="{FF2B5EF4-FFF2-40B4-BE49-F238E27FC236}">
                  <a16:creationId xmlns:a16="http://schemas.microsoft.com/office/drawing/2014/main" id="{95773B29-DA69-4AC8-AFBA-2C494982F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" y="1951"/>
              <a:ext cx="129" cy="73"/>
            </a:xfrm>
            <a:custGeom>
              <a:avLst/>
              <a:gdLst>
                <a:gd name="T0" fmla="*/ 7 w 51"/>
                <a:gd name="T1" fmla="*/ 29 h 29"/>
                <a:gd name="T2" fmla="*/ 0 w 51"/>
                <a:gd name="T3" fmla="*/ 22 h 29"/>
                <a:gd name="T4" fmla="*/ 6 w 51"/>
                <a:gd name="T5" fmla="*/ 14 h 29"/>
                <a:gd name="T6" fmla="*/ 6 w 51"/>
                <a:gd name="T7" fmla="*/ 14 h 29"/>
                <a:gd name="T8" fmla="*/ 20 w 51"/>
                <a:gd name="T9" fmla="*/ 0 h 29"/>
                <a:gd name="T10" fmla="*/ 34 w 51"/>
                <a:gd name="T11" fmla="*/ 10 h 29"/>
                <a:gd name="T12" fmla="*/ 41 w 51"/>
                <a:gd name="T13" fmla="*/ 8 h 29"/>
                <a:gd name="T14" fmla="*/ 51 w 51"/>
                <a:gd name="T15" fmla="*/ 18 h 29"/>
                <a:gd name="T16" fmla="*/ 41 w 51"/>
                <a:gd name="T17" fmla="*/ 29 h 29"/>
                <a:gd name="T18" fmla="*/ 7 w 51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29">
                  <a:moveTo>
                    <a:pt x="7" y="29"/>
                  </a:moveTo>
                  <a:cubicBezTo>
                    <a:pt x="3" y="29"/>
                    <a:pt x="0" y="26"/>
                    <a:pt x="0" y="22"/>
                  </a:cubicBezTo>
                  <a:cubicBezTo>
                    <a:pt x="0" y="18"/>
                    <a:pt x="3" y="15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6"/>
                    <a:pt x="13" y="0"/>
                    <a:pt x="20" y="0"/>
                  </a:cubicBezTo>
                  <a:cubicBezTo>
                    <a:pt x="27" y="0"/>
                    <a:pt x="32" y="4"/>
                    <a:pt x="34" y="10"/>
                  </a:cubicBezTo>
                  <a:cubicBezTo>
                    <a:pt x="36" y="9"/>
                    <a:pt x="38" y="8"/>
                    <a:pt x="41" y="8"/>
                  </a:cubicBezTo>
                  <a:cubicBezTo>
                    <a:pt x="46" y="8"/>
                    <a:pt x="51" y="13"/>
                    <a:pt x="51" y="18"/>
                  </a:cubicBezTo>
                  <a:cubicBezTo>
                    <a:pt x="51" y="24"/>
                    <a:pt x="46" y="29"/>
                    <a:pt x="41" y="29"/>
                  </a:cubicBezTo>
                  <a:lnTo>
                    <a:pt x="7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5" name="Freeform 2033">
              <a:extLst>
                <a:ext uri="{FF2B5EF4-FFF2-40B4-BE49-F238E27FC236}">
                  <a16:creationId xmlns:a16="http://schemas.microsoft.com/office/drawing/2014/main" id="{607BE022-3619-4D62-A417-F484AF66A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8" y="1948"/>
              <a:ext cx="132" cy="76"/>
            </a:xfrm>
            <a:custGeom>
              <a:avLst/>
              <a:gdLst>
                <a:gd name="T0" fmla="*/ 8 w 52"/>
                <a:gd name="T1" fmla="*/ 30 h 30"/>
                <a:gd name="T2" fmla="*/ 8 w 52"/>
                <a:gd name="T3" fmla="*/ 30 h 30"/>
                <a:gd name="T4" fmla="*/ 3 w 52"/>
                <a:gd name="T5" fmla="*/ 28 h 30"/>
                <a:gd name="T6" fmla="*/ 1 w 52"/>
                <a:gd name="T7" fmla="*/ 23 h 30"/>
                <a:gd name="T8" fmla="*/ 7 w 52"/>
                <a:gd name="T9" fmla="*/ 16 h 30"/>
                <a:gd name="T10" fmla="*/ 8 w 52"/>
                <a:gd name="T11" fmla="*/ 16 h 30"/>
                <a:gd name="T12" fmla="*/ 8 w 52"/>
                <a:gd name="T13" fmla="*/ 15 h 30"/>
                <a:gd name="T14" fmla="*/ 7 w 52"/>
                <a:gd name="T15" fmla="*/ 15 h 30"/>
                <a:gd name="T16" fmla="*/ 8 w 52"/>
                <a:gd name="T17" fmla="*/ 15 h 30"/>
                <a:gd name="T18" fmla="*/ 12 w 52"/>
                <a:gd name="T19" fmla="*/ 5 h 30"/>
                <a:gd name="T20" fmla="*/ 21 w 52"/>
                <a:gd name="T21" fmla="*/ 1 h 30"/>
                <a:gd name="T22" fmla="*/ 35 w 52"/>
                <a:gd name="T23" fmla="*/ 11 h 30"/>
                <a:gd name="T24" fmla="*/ 35 w 52"/>
                <a:gd name="T25" fmla="*/ 12 h 30"/>
                <a:gd name="T26" fmla="*/ 35 w 52"/>
                <a:gd name="T27" fmla="*/ 12 h 30"/>
                <a:gd name="T28" fmla="*/ 42 w 52"/>
                <a:gd name="T29" fmla="*/ 9 h 30"/>
                <a:gd name="T30" fmla="*/ 49 w 52"/>
                <a:gd name="T31" fmla="*/ 12 h 30"/>
                <a:gd name="T32" fmla="*/ 52 w 52"/>
                <a:gd name="T33" fmla="*/ 19 h 30"/>
                <a:gd name="T34" fmla="*/ 49 w 52"/>
                <a:gd name="T35" fmla="*/ 27 h 30"/>
                <a:gd name="T36" fmla="*/ 42 w 52"/>
                <a:gd name="T37" fmla="*/ 30 h 30"/>
                <a:gd name="T38" fmla="*/ 8 w 52"/>
                <a:gd name="T39" fmla="*/ 30 h 30"/>
                <a:gd name="T40" fmla="*/ 8 w 52"/>
                <a:gd name="T41" fmla="*/ 30 h 30"/>
                <a:gd name="T42" fmla="*/ 8 w 52"/>
                <a:gd name="T43" fmla="*/ 30 h 30"/>
                <a:gd name="T44" fmla="*/ 42 w 52"/>
                <a:gd name="T45" fmla="*/ 30 h 30"/>
                <a:gd name="T46" fmla="*/ 52 w 52"/>
                <a:gd name="T47" fmla="*/ 19 h 30"/>
                <a:gd name="T48" fmla="*/ 42 w 52"/>
                <a:gd name="T49" fmla="*/ 9 h 30"/>
                <a:gd name="T50" fmla="*/ 35 w 52"/>
                <a:gd name="T51" fmla="*/ 11 h 30"/>
                <a:gd name="T52" fmla="*/ 35 w 52"/>
                <a:gd name="T53" fmla="*/ 11 h 30"/>
                <a:gd name="T54" fmla="*/ 36 w 52"/>
                <a:gd name="T55" fmla="*/ 11 h 30"/>
                <a:gd name="T56" fmla="*/ 21 w 52"/>
                <a:gd name="T57" fmla="*/ 0 h 30"/>
                <a:gd name="T58" fmla="*/ 7 w 52"/>
                <a:gd name="T59" fmla="*/ 15 h 30"/>
                <a:gd name="T60" fmla="*/ 7 w 52"/>
                <a:gd name="T61" fmla="*/ 15 h 30"/>
                <a:gd name="T62" fmla="*/ 7 w 52"/>
                <a:gd name="T63" fmla="*/ 15 h 30"/>
                <a:gd name="T64" fmla="*/ 7 w 52"/>
                <a:gd name="T65" fmla="*/ 15 h 30"/>
                <a:gd name="T66" fmla="*/ 7 w 52"/>
                <a:gd name="T67" fmla="*/ 15 h 30"/>
                <a:gd name="T68" fmla="*/ 0 w 52"/>
                <a:gd name="T69" fmla="*/ 23 h 30"/>
                <a:gd name="T70" fmla="*/ 8 w 52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30">
                  <a:moveTo>
                    <a:pt x="8" y="30"/>
                  </a:moveTo>
                  <a:cubicBezTo>
                    <a:pt x="8" y="30"/>
                    <a:pt x="8" y="30"/>
                    <a:pt x="8" y="30"/>
                  </a:cubicBezTo>
                  <a:cubicBezTo>
                    <a:pt x="6" y="30"/>
                    <a:pt x="4" y="29"/>
                    <a:pt x="3" y="28"/>
                  </a:cubicBezTo>
                  <a:cubicBezTo>
                    <a:pt x="2" y="26"/>
                    <a:pt x="1" y="25"/>
                    <a:pt x="1" y="23"/>
                  </a:cubicBezTo>
                  <a:cubicBezTo>
                    <a:pt x="1" y="19"/>
                    <a:pt x="4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1"/>
                    <a:pt x="9" y="8"/>
                    <a:pt x="12" y="5"/>
                  </a:cubicBezTo>
                  <a:cubicBezTo>
                    <a:pt x="14" y="3"/>
                    <a:pt x="18" y="1"/>
                    <a:pt x="21" y="1"/>
                  </a:cubicBezTo>
                  <a:cubicBezTo>
                    <a:pt x="28" y="1"/>
                    <a:pt x="33" y="6"/>
                    <a:pt x="35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7" y="10"/>
                    <a:pt x="39" y="9"/>
                    <a:pt x="42" y="9"/>
                  </a:cubicBezTo>
                  <a:cubicBezTo>
                    <a:pt x="44" y="9"/>
                    <a:pt x="47" y="11"/>
                    <a:pt x="49" y="12"/>
                  </a:cubicBezTo>
                  <a:cubicBezTo>
                    <a:pt x="50" y="14"/>
                    <a:pt x="52" y="17"/>
                    <a:pt x="52" y="19"/>
                  </a:cubicBezTo>
                  <a:cubicBezTo>
                    <a:pt x="52" y="22"/>
                    <a:pt x="50" y="25"/>
                    <a:pt x="49" y="27"/>
                  </a:cubicBezTo>
                  <a:cubicBezTo>
                    <a:pt x="47" y="28"/>
                    <a:pt x="44" y="30"/>
                    <a:pt x="42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8" y="30"/>
                    <a:pt x="52" y="26"/>
                    <a:pt x="52" y="19"/>
                  </a:cubicBezTo>
                  <a:cubicBezTo>
                    <a:pt x="52" y="13"/>
                    <a:pt x="48" y="9"/>
                    <a:pt x="42" y="9"/>
                  </a:cubicBezTo>
                  <a:cubicBezTo>
                    <a:pt x="39" y="9"/>
                    <a:pt x="37" y="9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4" y="5"/>
                    <a:pt x="28" y="0"/>
                    <a:pt x="21" y="0"/>
                  </a:cubicBezTo>
                  <a:cubicBezTo>
                    <a:pt x="13" y="0"/>
                    <a:pt x="7" y="7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9"/>
                    <a:pt x="0" y="23"/>
                  </a:cubicBezTo>
                  <a:cubicBezTo>
                    <a:pt x="0" y="27"/>
                    <a:pt x="4" y="30"/>
                    <a:pt x="8" y="3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6" name="Freeform 2034">
              <a:extLst>
                <a:ext uri="{FF2B5EF4-FFF2-40B4-BE49-F238E27FC236}">
                  <a16:creationId xmlns:a16="http://schemas.microsoft.com/office/drawing/2014/main" id="{94854B0B-405A-47F2-BE86-0B5571A64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1898"/>
              <a:ext cx="129" cy="73"/>
            </a:xfrm>
            <a:custGeom>
              <a:avLst/>
              <a:gdLst>
                <a:gd name="T0" fmla="*/ 7 w 51"/>
                <a:gd name="T1" fmla="*/ 29 h 29"/>
                <a:gd name="T2" fmla="*/ 0 w 51"/>
                <a:gd name="T3" fmla="*/ 22 h 29"/>
                <a:gd name="T4" fmla="*/ 7 w 51"/>
                <a:gd name="T5" fmla="*/ 15 h 29"/>
                <a:gd name="T6" fmla="*/ 7 w 51"/>
                <a:gd name="T7" fmla="*/ 14 h 29"/>
                <a:gd name="T8" fmla="*/ 21 w 51"/>
                <a:gd name="T9" fmla="*/ 0 h 29"/>
                <a:gd name="T10" fmla="*/ 34 w 51"/>
                <a:gd name="T11" fmla="*/ 11 h 29"/>
                <a:gd name="T12" fmla="*/ 41 w 51"/>
                <a:gd name="T13" fmla="*/ 8 h 29"/>
                <a:gd name="T14" fmla="*/ 51 w 51"/>
                <a:gd name="T15" fmla="*/ 19 h 29"/>
                <a:gd name="T16" fmla="*/ 41 w 51"/>
                <a:gd name="T17" fmla="*/ 29 h 29"/>
                <a:gd name="T18" fmla="*/ 7 w 51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29">
                  <a:moveTo>
                    <a:pt x="7" y="29"/>
                  </a:moveTo>
                  <a:cubicBezTo>
                    <a:pt x="3" y="29"/>
                    <a:pt x="0" y="26"/>
                    <a:pt x="0" y="22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7"/>
                    <a:pt x="13" y="0"/>
                    <a:pt x="21" y="0"/>
                  </a:cubicBezTo>
                  <a:cubicBezTo>
                    <a:pt x="27" y="0"/>
                    <a:pt x="33" y="5"/>
                    <a:pt x="34" y="11"/>
                  </a:cubicBezTo>
                  <a:cubicBezTo>
                    <a:pt x="36" y="9"/>
                    <a:pt x="38" y="8"/>
                    <a:pt x="41" y="8"/>
                  </a:cubicBezTo>
                  <a:cubicBezTo>
                    <a:pt x="47" y="8"/>
                    <a:pt x="51" y="13"/>
                    <a:pt x="51" y="19"/>
                  </a:cubicBezTo>
                  <a:cubicBezTo>
                    <a:pt x="51" y="25"/>
                    <a:pt x="47" y="29"/>
                    <a:pt x="41" y="29"/>
                  </a:cubicBezTo>
                  <a:lnTo>
                    <a:pt x="7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7" name="Freeform 2035">
              <a:extLst>
                <a:ext uri="{FF2B5EF4-FFF2-40B4-BE49-F238E27FC236}">
                  <a16:creationId xmlns:a16="http://schemas.microsoft.com/office/drawing/2014/main" id="{DA94DE8F-39A1-4241-8F3A-326CC2342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1898"/>
              <a:ext cx="131" cy="75"/>
            </a:xfrm>
            <a:custGeom>
              <a:avLst/>
              <a:gdLst>
                <a:gd name="T0" fmla="*/ 7 w 52"/>
                <a:gd name="T1" fmla="*/ 29 h 30"/>
                <a:gd name="T2" fmla="*/ 7 w 52"/>
                <a:gd name="T3" fmla="*/ 29 h 30"/>
                <a:gd name="T4" fmla="*/ 3 w 52"/>
                <a:gd name="T5" fmla="*/ 27 h 30"/>
                <a:gd name="T6" fmla="*/ 1 w 52"/>
                <a:gd name="T7" fmla="*/ 22 h 30"/>
                <a:gd name="T8" fmla="*/ 7 w 52"/>
                <a:gd name="T9" fmla="*/ 15 h 30"/>
                <a:gd name="T10" fmla="*/ 7 w 52"/>
                <a:gd name="T11" fmla="*/ 15 h 30"/>
                <a:gd name="T12" fmla="*/ 7 w 52"/>
                <a:gd name="T13" fmla="*/ 14 h 30"/>
                <a:gd name="T14" fmla="*/ 7 w 52"/>
                <a:gd name="T15" fmla="*/ 14 h 30"/>
                <a:gd name="T16" fmla="*/ 7 w 52"/>
                <a:gd name="T17" fmla="*/ 14 h 30"/>
                <a:gd name="T18" fmla="*/ 11 w 52"/>
                <a:gd name="T19" fmla="*/ 5 h 30"/>
                <a:gd name="T20" fmla="*/ 21 w 52"/>
                <a:gd name="T21" fmla="*/ 1 h 30"/>
                <a:gd name="T22" fmla="*/ 34 w 52"/>
                <a:gd name="T23" fmla="*/ 11 h 30"/>
                <a:gd name="T24" fmla="*/ 34 w 52"/>
                <a:gd name="T25" fmla="*/ 11 h 30"/>
                <a:gd name="T26" fmla="*/ 35 w 52"/>
                <a:gd name="T27" fmla="*/ 11 h 30"/>
                <a:gd name="T28" fmla="*/ 41 w 52"/>
                <a:gd name="T29" fmla="*/ 9 h 30"/>
                <a:gd name="T30" fmla="*/ 48 w 52"/>
                <a:gd name="T31" fmla="*/ 12 h 30"/>
                <a:gd name="T32" fmla="*/ 51 w 52"/>
                <a:gd name="T33" fmla="*/ 19 h 30"/>
                <a:gd name="T34" fmla="*/ 48 w 52"/>
                <a:gd name="T35" fmla="*/ 26 h 30"/>
                <a:gd name="T36" fmla="*/ 41 w 52"/>
                <a:gd name="T37" fmla="*/ 29 h 30"/>
                <a:gd name="T38" fmla="*/ 7 w 52"/>
                <a:gd name="T39" fmla="*/ 29 h 30"/>
                <a:gd name="T40" fmla="*/ 7 w 52"/>
                <a:gd name="T41" fmla="*/ 29 h 30"/>
                <a:gd name="T42" fmla="*/ 7 w 52"/>
                <a:gd name="T43" fmla="*/ 30 h 30"/>
                <a:gd name="T44" fmla="*/ 41 w 52"/>
                <a:gd name="T45" fmla="*/ 30 h 30"/>
                <a:gd name="T46" fmla="*/ 52 w 52"/>
                <a:gd name="T47" fmla="*/ 19 h 30"/>
                <a:gd name="T48" fmla="*/ 41 w 52"/>
                <a:gd name="T49" fmla="*/ 8 h 30"/>
                <a:gd name="T50" fmla="*/ 34 w 52"/>
                <a:gd name="T51" fmla="*/ 10 h 30"/>
                <a:gd name="T52" fmla="*/ 34 w 52"/>
                <a:gd name="T53" fmla="*/ 11 h 30"/>
                <a:gd name="T54" fmla="*/ 35 w 52"/>
                <a:gd name="T55" fmla="*/ 10 h 30"/>
                <a:gd name="T56" fmla="*/ 21 w 52"/>
                <a:gd name="T57" fmla="*/ 0 h 30"/>
                <a:gd name="T58" fmla="*/ 6 w 52"/>
                <a:gd name="T59" fmla="*/ 14 h 30"/>
                <a:gd name="T60" fmla="*/ 6 w 52"/>
                <a:gd name="T61" fmla="*/ 14 h 30"/>
                <a:gd name="T62" fmla="*/ 6 w 52"/>
                <a:gd name="T63" fmla="*/ 15 h 30"/>
                <a:gd name="T64" fmla="*/ 7 w 52"/>
                <a:gd name="T65" fmla="*/ 15 h 30"/>
                <a:gd name="T66" fmla="*/ 6 w 52"/>
                <a:gd name="T67" fmla="*/ 14 h 30"/>
                <a:gd name="T68" fmla="*/ 0 w 52"/>
                <a:gd name="T69" fmla="*/ 22 h 30"/>
                <a:gd name="T70" fmla="*/ 7 w 52"/>
                <a:gd name="T71" fmla="*/ 30 h 30"/>
                <a:gd name="T72" fmla="*/ 7 w 52"/>
                <a:gd name="T7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" h="30">
                  <a:moveTo>
                    <a:pt x="7" y="29"/>
                  </a:moveTo>
                  <a:cubicBezTo>
                    <a:pt x="7" y="29"/>
                    <a:pt x="7" y="29"/>
                    <a:pt x="7" y="29"/>
                  </a:cubicBezTo>
                  <a:cubicBezTo>
                    <a:pt x="6" y="29"/>
                    <a:pt x="4" y="28"/>
                    <a:pt x="3" y="27"/>
                  </a:cubicBezTo>
                  <a:cubicBezTo>
                    <a:pt x="1" y="26"/>
                    <a:pt x="1" y="24"/>
                    <a:pt x="1" y="22"/>
                  </a:cubicBezTo>
                  <a:cubicBezTo>
                    <a:pt x="1" y="19"/>
                    <a:pt x="3" y="16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1"/>
                    <a:pt x="9" y="7"/>
                    <a:pt x="11" y="5"/>
                  </a:cubicBezTo>
                  <a:cubicBezTo>
                    <a:pt x="14" y="2"/>
                    <a:pt x="17" y="1"/>
                    <a:pt x="21" y="1"/>
                  </a:cubicBezTo>
                  <a:cubicBezTo>
                    <a:pt x="27" y="1"/>
                    <a:pt x="32" y="5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0"/>
                    <a:pt x="39" y="9"/>
                    <a:pt x="41" y="9"/>
                  </a:cubicBezTo>
                  <a:cubicBezTo>
                    <a:pt x="44" y="9"/>
                    <a:pt x="46" y="10"/>
                    <a:pt x="48" y="12"/>
                  </a:cubicBezTo>
                  <a:cubicBezTo>
                    <a:pt x="50" y="14"/>
                    <a:pt x="51" y="16"/>
                    <a:pt x="51" y="19"/>
                  </a:cubicBezTo>
                  <a:cubicBezTo>
                    <a:pt x="51" y="22"/>
                    <a:pt x="50" y="24"/>
                    <a:pt x="48" y="26"/>
                  </a:cubicBezTo>
                  <a:cubicBezTo>
                    <a:pt x="46" y="28"/>
                    <a:pt x="44" y="29"/>
                    <a:pt x="4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7" y="30"/>
                    <a:pt x="52" y="25"/>
                    <a:pt x="52" y="19"/>
                  </a:cubicBezTo>
                  <a:cubicBezTo>
                    <a:pt x="52" y="13"/>
                    <a:pt x="47" y="8"/>
                    <a:pt x="41" y="8"/>
                  </a:cubicBezTo>
                  <a:cubicBezTo>
                    <a:pt x="38" y="8"/>
                    <a:pt x="36" y="9"/>
                    <a:pt x="34" y="1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3" y="4"/>
                    <a:pt x="27" y="0"/>
                    <a:pt x="21" y="0"/>
                  </a:cubicBezTo>
                  <a:cubicBezTo>
                    <a:pt x="13" y="0"/>
                    <a:pt x="6" y="6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3" y="15"/>
                    <a:pt x="0" y="18"/>
                    <a:pt x="0" y="22"/>
                  </a:cubicBezTo>
                  <a:cubicBezTo>
                    <a:pt x="0" y="26"/>
                    <a:pt x="3" y="30"/>
                    <a:pt x="7" y="30"/>
                  </a:cubicBezTo>
                  <a:lnTo>
                    <a:pt x="7" y="2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8" name="Freeform 2036">
              <a:extLst>
                <a:ext uri="{FF2B5EF4-FFF2-40B4-BE49-F238E27FC236}">
                  <a16:creationId xmlns:a16="http://schemas.microsoft.com/office/drawing/2014/main" id="{9AFDBD4C-C2E4-4633-B812-75D7BAEE3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9" y="1865"/>
              <a:ext cx="129" cy="73"/>
            </a:xfrm>
            <a:custGeom>
              <a:avLst/>
              <a:gdLst>
                <a:gd name="T0" fmla="*/ 7 w 51"/>
                <a:gd name="T1" fmla="*/ 29 h 29"/>
                <a:gd name="T2" fmla="*/ 0 w 51"/>
                <a:gd name="T3" fmla="*/ 22 h 29"/>
                <a:gd name="T4" fmla="*/ 6 w 51"/>
                <a:gd name="T5" fmla="*/ 15 h 29"/>
                <a:gd name="T6" fmla="*/ 6 w 51"/>
                <a:gd name="T7" fmla="*/ 14 h 29"/>
                <a:gd name="T8" fmla="*/ 21 w 51"/>
                <a:gd name="T9" fmla="*/ 0 h 29"/>
                <a:gd name="T10" fmla="*/ 34 w 51"/>
                <a:gd name="T11" fmla="*/ 10 h 29"/>
                <a:gd name="T12" fmla="*/ 41 w 51"/>
                <a:gd name="T13" fmla="*/ 8 h 29"/>
                <a:gd name="T14" fmla="*/ 51 w 51"/>
                <a:gd name="T15" fmla="*/ 19 h 29"/>
                <a:gd name="T16" fmla="*/ 41 w 51"/>
                <a:gd name="T17" fmla="*/ 29 h 29"/>
                <a:gd name="T18" fmla="*/ 7 w 51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29">
                  <a:moveTo>
                    <a:pt x="7" y="29"/>
                  </a:moveTo>
                  <a:cubicBezTo>
                    <a:pt x="3" y="29"/>
                    <a:pt x="0" y="26"/>
                    <a:pt x="0" y="22"/>
                  </a:cubicBezTo>
                  <a:cubicBezTo>
                    <a:pt x="0" y="18"/>
                    <a:pt x="3" y="15"/>
                    <a:pt x="6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6"/>
                    <a:pt x="13" y="0"/>
                    <a:pt x="21" y="0"/>
                  </a:cubicBezTo>
                  <a:cubicBezTo>
                    <a:pt x="27" y="0"/>
                    <a:pt x="32" y="4"/>
                    <a:pt x="34" y="10"/>
                  </a:cubicBezTo>
                  <a:cubicBezTo>
                    <a:pt x="36" y="9"/>
                    <a:pt x="38" y="8"/>
                    <a:pt x="41" y="8"/>
                  </a:cubicBezTo>
                  <a:cubicBezTo>
                    <a:pt x="46" y="8"/>
                    <a:pt x="51" y="13"/>
                    <a:pt x="51" y="19"/>
                  </a:cubicBezTo>
                  <a:cubicBezTo>
                    <a:pt x="51" y="24"/>
                    <a:pt x="46" y="29"/>
                    <a:pt x="41" y="29"/>
                  </a:cubicBezTo>
                  <a:lnTo>
                    <a:pt x="7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9" name="Freeform 2037">
              <a:extLst>
                <a:ext uri="{FF2B5EF4-FFF2-40B4-BE49-F238E27FC236}">
                  <a16:creationId xmlns:a16="http://schemas.microsoft.com/office/drawing/2014/main" id="{44B839B1-155D-47A9-A2D4-0C6C9B078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6" y="1865"/>
              <a:ext cx="134" cy="76"/>
            </a:xfrm>
            <a:custGeom>
              <a:avLst/>
              <a:gdLst>
                <a:gd name="T0" fmla="*/ 8 w 53"/>
                <a:gd name="T1" fmla="*/ 29 h 30"/>
                <a:gd name="T2" fmla="*/ 8 w 53"/>
                <a:gd name="T3" fmla="*/ 29 h 30"/>
                <a:gd name="T4" fmla="*/ 3 w 53"/>
                <a:gd name="T5" fmla="*/ 27 h 30"/>
                <a:gd name="T6" fmla="*/ 1 w 53"/>
                <a:gd name="T7" fmla="*/ 22 h 30"/>
                <a:gd name="T8" fmla="*/ 7 w 53"/>
                <a:gd name="T9" fmla="*/ 15 h 30"/>
                <a:gd name="T10" fmla="*/ 8 w 53"/>
                <a:gd name="T11" fmla="*/ 15 h 30"/>
                <a:gd name="T12" fmla="*/ 8 w 53"/>
                <a:gd name="T13" fmla="*/ 14 h 30"/>
                <a:gd name="T14" fmla="*/ 7 w 53"/>
                <a:gd name="T15" fmla="*/ 14 h 30"/>
                <a:gd name="T16" fmla="*/ 8 w 53"/>
                <a:gd name="T17" fmla="*/ 14 h 30"/>
                <a:gd name="T18" fmla="*/ 12 w 53"/>
                <a:gd name="T19" fmla="*/ 5 h 30"/>
                <a:gd name="T20" fmla="*/ 22 w 53"/>
                <a:gd name="T21" fmla="*/ 1 h 30"/>
                <a:gd name="T22" fmla="*/ 35 w 53"/>
                <a:gd name="T23" fmla="*/ 11 h 30"/>
                <a:gd name="T24" fmla="*/ 35 w 53"/>
                <a:gd name="T25" fmla="*/ 11 h 30"/>
                <a:gd name="T26" fmla="*/ 35 w 53"/>
                <a:gd name="T27" fmla="*/ 11 h 30"/>
                <a:gd name="T28" fmla="*/ 42 w 53"/>
                <a:gd name="T29" fmla="*/ 9 h 30"/>
                <a:gd name="T30" fmla="*/ 49 w 53"/>
                <a:gd name="T31" fmla="*/ 12 h 30"/>
                <a:gd name="T32" fmla="*/ 52 w 53"/>
                <a:gd name="T33" fmla="*/ 19 h 30"/>
                <a:gd name="T34" fmla="*/ 49 w 53"/>
                <a:gd name="T35" fmla="*/ 26 h 30"/>
                <a:gd name="T36" fmla="*/ 42 w 53"/>
                <a:gd name="T37" fmla="*/ 29 h 30"/>
                <a:gd name="T38" fmla="*/ 8 w 53"/>
                <a:gd name="T39" fmla="*/ 29 h 30"/>
                <a:gd name="T40" fmla="*/ 8 w 53"/>
                <a:gd name="T41" fmla="*/ 29 h 30"/>
                <a:gd name="T42" fmla="*/ 8 w 53"/>
                <a:gd name="T43" fmla="*/ 30 h 30"/>
                <a:gd name="T44" fmla="*/ 42 w 53"/>
                <a:gd name="T45" fmla="*/ 30 h 30"/>
                <a:gd name="T46" fmla="*/ 53 w 53"/>
                <a:gd name="T47" fmla="*/ 19 h 30"/>
                <a:gd name="T48" fmla="*/ 42 w 53"/>
                <a:gd name="T49" fmla="*/ 8 h 30"/>
                <a:gd name="T50" fmla="*/ 35 w 53"/>
                <a:gd name="T51" fmla="*/ 10 h 30"/>
                <a:gd name="T52" fmla="*/ 35 w 53"/>
                <a:gd name="T53" fmla="*/ 10 h 30"/>
                <a:gd name="T54" fmla="*/ 36 w 53"/>
                <a:gd name="T55" fmla="*/ 10 h 30"/>
                <a:gd name="T56" fmla="*/ 22 w 53"/>
                <a:gd name="T57" fmla="*/ 0 h 30"/>
                <a:gd name="T58" fmla="*/ 7 w 53"/>
                <a:gd name="T59" fmla="*/ 14 h 30"/>
                <a:gd name="T60" fmla="*/ 7 w 53"/>
                <a:gd name="T61" fmla="*/ 14 h 30"/>
                <a:gd name="T62" fmla="*/ 7 w 53"/>
                <a:gd name="T63" fmla="*/ 15 h 30"/>
                <a:gd name="T64" fmla="*/ 7 w 53"/>
                <a:gd name="T65" fmla="*/ 15 h 30"/>
                <a:gd name="T66" fmla="*/ 7 w 53"/>
                <a:gd name="T67" fmla="*/ 14 h 30"/>
                <a:gd name="T68" fmla="*/ 0 w 53"/>
                <a:gd name="T69" fmla="*/ 22 h 30"/>
                <a:gd name="T70" fmla="*/ 8 w 53"/>
                <a:gd name="T71" fmla="*/ 30 h 30"/>
                <a:gd name="T72" fmla="*/ 8 w 53"/>
                <a:gd name="T7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" h="30">
                  <a:moveTo>
                    <a:pt x="8" y="29"/>
                  </a:moveTo>
                  <a:cubicBezTo>
                    <a:pt x="8" y="29"/>
                    <a:pt x="8" y="29"/>
                    <a:pt x="8" y="29"/>
                  </a:cubicBezTo>
                  <a:cubicBezTo>
                    <a:pt x="6" y="29"/>
                    <a:pt x="5" y="28"/>
                    <a:pt x="3" y="27"/>
                  </a:cubicBezTo>
                  <a:cubicBezTo>
                    <a:pt x="2" y="25"/>
                    <a:pt x="1" y="24"/>
                    <a:pt x="1" y="22"/>
                  </a:cubicBezTo>
                  <a:cubicBezTo>
                    <a:pt x="1" y="18"/>
                    <a:pt x="4" y="16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1"/>
                    <a:pt x="9" y="7"/>
                    <a:pt x="12" y="5"/>
                  </a:cubicBezTo>
                  <a:cubicBezTo>
                    <a:pt x="14" y="2"/>
                    <a:pt x="18" y="1"/>
                    <a:pt x="22" y="1"/>
                  </a:cubicBezTo>
                  <a:cubicBezTo>
                    <a:pt x="28" y="1"/>
                    <a:pt x="33" y="5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7" y="9"/>
                    <a:pt x="39" y="9"/>
                    <a:pt x="42" y="9"/>
                  </a:cubicBezTo>
                  <a:cubicBezTo>
                    <a:pt x="44" y="9"/>
                    <a:pt x="47" y="10"/>
                    <a:pt x="49" y="12"/>
                  </a:cubicBezTo>
                  <a:cubicBezTo>
                    <a:pt x="51" y="13"/>
                    <a:pt x="52" y="16"/>
                    <a:pt x="52" y="19"/>
                  </a:cubicBezTo>
                  <a:cubicBezTo>
                    <a:pt x="52" y="21"/>
                    <a:pt x="51" y="24"/>
                    <a:pt x="49" y="26"/>
                  </a:cubicBezTo>
                  <a:cubicBezTo>
                    <a:pt x="47" y="28"/>
                    <a:pt x="44" y="29"/>
                    <a:pt x="42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8" y="30"/>
                    <a:pt x="53" y="25"/>
                    <a:pt x="53" y="19"/>
                  </a:cubicBezTo>
                  <a:cubicBezTo>
                    <a:pt x="53" y="13"/>
                    <a:pt x="48" y="8"/>
                    <a:pt x="42" y="8"/>
                  </a:cubicBezTo>
                  <a:cubicBezTo>
                    <a:pt x="39" y="8"/>
                    <a:pt x="37" y="9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4"/>
                    <a:pt x="28" y="0"/>
                    <a:pt x="22" y="0"/>
                  </a:cubicBezTo>
                  <a:cubicBezTo>
                    <a:pt x="13" y="0"/>
                    <a:pt x="7" y="6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3" y="15"/>
                    <a:pt x="0" y="18"/>
                    <a:pt x="0" y="22"/>
                  </a:cubicBezTo>
                  <a:cubicBezTo>
                    <a:pt x="0" y="26"/>
                    <a:pt x="4" y="30"/>
                    <a:pt x="8" y="30"/>
                  </a:cubicBezTo>
                  <a:lnTo>
                    <a:pt x="8" y="29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0" name="Freeform 2038">
              <a:extLst>
                <a:ext uri="{FF2B5EF4-FFF2-40B4-BE49-F238E27FC236}">
                  <a16:creationId xmlns:a16="http://schemas.microsoft.com/office/drawing/2014/main" id="{DCD62FA4-6F4B-4C42-8D21-790569804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199"/>
              <a:ext cx="40" cy="48"/>
            </a:xfrm>
            <a:custGeom>
              <a:avLst/>
              <a:gdLst>
                <a:gd name="T0" fmla="*/ 0 w 16"/>
                <a:gd name="T1" fmla="*/ 8 h 19"/>
                <a:gd name="T2" fmla="*/ 8 w 16"/>
                <a:gd name="T3" fmla="*/ 0 h 19"/>
                <a:gd name="T4" fmla="*/ 16 w 16"/>
                <a:gd name="T5" fmla="*/ 9 h 19"/>
                <a:gd name="T6" fmla="*/ 16 w 16"/>
                <a:gd name="T7" fmla="*/ 17 h 19"/>
                <a:gd name="T8" fmla="*/ 14 w 16"/>
                <a:gd name="T9" fmla="*/ 19 h 19"/>
                <a:gd name="T10" fmla="*/ 13 w 16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9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9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5" y="19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1" name="Freeform 2039">
              <a:extLst>
                <a:ext uri="{FF2B5EF4-FFF2-40B4-BE49-F238E27FC236}">
                  <a16:creationId xmlns:a16="http://schemas.microsoft.com/office/drawing/2014/main" id="{B47ECD33-2D8B-4C12-933D-0017C2B9E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199"/>
              <a:ext cx="40" cy="50"/>
            </a:xfrm>
            <a:custGeom>
              <a:avLst/>
              <a:gdLst>
                <a:gd name="T0" fmla="*/ 1 w 16"/>
                <a:gd name="T1" fmla="*/ 8 h 20"/>
                <a:gd name="T2" fmla="*/ 3 w 16"/>
                <a:gd name="T3" fmla="*/ 3 h 20"/>
                <a:gd name="T4" fmla="*/ 8 w 16"/>
                <a:gd name="T5" fmla="*/ 1 h 20"/>
                <a:gd name="T6" fmla="*/ 8 w 16"/>
                <a:gd name="T7" fmla="*/ 1 h 20"/>
                <a:gd name="T8" fmla="*/ 16 w 16"/>
                <a:gd name="T9" fmla="*/ 9 h 20"/>
                <a:gd name="T10" fmla="*/ 16 w 16"/>
                <a:gd name="T11" fmla="*/ 17 h 20"/>
                <a:gd name="T12" fmla="*/ 14 w 16"/>
                <a:gd name="T13" fmla="*/ 19 h 20"/>
                <a:gd name="T14" fmla="*/ 13 w 16"/>
                <a:gd name="T15" fmla="*/ 19 h 20"/>
                <a:gd name="T16" fmla="*/ 13 w 16"/>
                <a:gd name="T17" fmla="*/ 20 h 20"/>
                <a:gd name="T18" fmla="*/ 14 w 16"/>
                <a:gd name="T19" fmla="*/ 20 h 20"/>
                <a:gd name="T20" fmla="*/ 16 w 16"/>
                <a:gd name="T21" fmla="*/ 17 h 20"/>
                <a:gd name="T22" fmla="*/ 16 w 16"/>
                <a:gd name="T23" fmla="*/ 9 h 20"/>
                <a:gd name="T24" fmla="*/ 8 w 16"/>
                <a:gd name="T25" fmla="*/ 0 h 20"/>
                <a:gd name="T26" fmla="*/ 8 w 16"/>
                <a:gd name="T27" fmla="*/ 0 h 20"/>
                <a:gd name="T28" fmla="*/ 0 w 16"/>
                <a:gd name="T29" fmla="*/ 8 h 20"/>
                <a:gd name="T30" fmla="*/ 1 w 16"/>
                <a:gd name="T3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20">
                  <a:moveTo>
                    <a:pt x="1" y="8"/>
                  </a:moveTo>
                  <a:cubicBezTo>
                    <a:pt x="1" y="6"/>
                    <a:pt x="1" y="4"/>
                    <a:pt x="3" y="3"/>
                  </a:cubicBezTo>
                  <a:cubicBezTo>
                    <a:pt x="4" y="2"/>
                    <a:pt x="6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2" y="1"/>
                    <a:pt x="16" y="4"/>
                    <a:pt x="16" y="9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5" y="19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6" y="19"/>
                    <a:pt x="16" y="17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4"/>
                    <a:pt x="1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2" name="Freeform 2040">
              <a:extLst>
                <a:ext uri="{FF2B5EF4-FFF2-40B4-BE49-F238E27FC236}">
                  <a16:creationId xmlns:a16="http://schemas.microsoft.com/office/drawing/2014/main" id="{B9AED428-C882-471A-ADAF-D0BC44967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" y="2194"/>
              <a:ext cx="5" cy="5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2 h 2"/>
                <a:gd name="T4" fmla="*/ 2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3" name="Freeform 2041">
              <a:extLst>
                <a:ext uri="{FF2B5EF4-FFF2-40B4-BE49-F238E27FC236}">
                  <a16:creationId xmlns:a16="http://schemas.microsoft.com/office/drawing/2014/main" id="{4293445C-C57E-4EA4-8790-903DA1D8A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2194"/>
              <a:ext cx="7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1 h 3"/>
                <a:gd name="T6" fmla="*/ 0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2 w 3"/>
                <a:gd name="T17" fmla="*/ 3 h 3"/>
                <a:gd name="T18" fmla="*/ 3 w 3"/>
                <a:gd name="T19" fmla="*/ 2 h 3"/>
                <a:gd name="T20" fmla="*/ 3 w 3"/>
                <a:gd name="T21" fmla="*/ 2 h 3"/>
                <a:gd name="T22" fmla="*/ 2 w 3"/>
                <a:gd name="T23" fmla="*/ 2 h 3"/>
                <a:gd name="T24" fmla="*/ 1 w 3"/>
                <a:gd name="T25" fmla="*/ 1 h 3"/>
                <a:gd name="T26" fmla="*/ 1 w 3"/>
                <a:gd name="T27" fmla="*/ 2 h 3"/>
                <a:gd name="T28" fmla="*/ 1 w 3"/>
                <a:gd name="T29" fmla="*/ 2 h 3"/>
                <a:gd name="T30" fmla="*/ 1 w 3"/>
                <a:gd name="T31" fmla="*/ 1 h 3"/>
                <a:gd name="T32" fmla="*/ 2 w 3"/>
                <a:gd name="T33" fmla="*/ 0 h 3"/>
                <a:gd name="T34" fmla="*/ 2 w 3"/>
                <a:gd name="T35" fmla="*/ 0 h 3"/>
                <a:gd name="T36" fmla="*/ 1 w 3"/>
                <a:gd name="T3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4" name="Freeform 2042">
              <a:extLst>
                <a:ext uri="{FF2B5EF4-FFF2-40B4-BE49-F238E27FC236}">
                  <a16:creationId xmlns:a16="http://schemas.microsoft.com/office/drawing/2014/main" id="{9058FCF6-A617-43DE-A817-18446201C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1" y="2194"/>
              <a:ext cx="8" cy="5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2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2" y="1"/>
                    <a:pt x="3" y="2"/>
                    <a:pt x="3" y="2"/>
                  </a:cubicBezTo>
                  <a:cubicBezTo>
                    <a:pt x="2" y="2"/>
                    <a:pt x="1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5" name="Freeform 2043">
              <a:extLst>
                <a:ext uri="{FF2B5EF4-FFF2-40B4-BE49-F238E27FC236}">
                  <a16:creationId xmlns:a16="http://schemas.microsoft.com/office/drawing/2014/main" id="{B1A3A23C-839E-4DAE-833C-ED45677E4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1" y="2194"/>
              <a:ext cx="8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2 w 3"/>
                <a:gd name="T5" fmla="*/ 1 h 3"/>
                <a:gd name="T6" fmla="*/ 2 w 3"/>
                <a:gd name="T7" fmla="*/ 2 h 3"/>
                <a:gd name="T8" fmla="*/ 3 w 3"/>
                <a:gd name="T9" fmla="*/ 2 h 3"/>
                <a:gd name="T10" fmla="*/ 2 w 3"/>
                <a:gd name="T11" fmla="*/ 1 h 3"/>
                <a:gd name="T12" fmla="*/ 1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1 w 3"/>
                <a:gd name="T19" fmla="*/ 3 h 3"/>
                <a:gd name="T20" fmla="*/ 3 w 3"/>
                <a:gd name="T21" fmla="*/ 2 h 3"/>
                <a:gd name="T22" fmla="*/ 3 w 3"/>
                <a:gd name="T23" fmla="*/ 2 h 3"/>
                <a:gd name="T24" fmla="*/ 3 w 3"/>
                <a:gd name="T25" fmla="*/ 1 h 3"/>
                <a:gd name="T26" fmla="*/ 3 w 3"/>
                <a:gd name="T27" fmla="*/ 1 h 3"/>
                <a:gd name="T28" fmla="*/ 2 w 3"/>
                <a:gd name="T29" fmla="*/ 1 h 3"/>
                <a:gd name="T30" fmla="*/ 2 w 3"/>
                <a:gd name="T31" fmla="*/ 0 h 3"/>
                <a:gd name="T32" fmla="*/ 2 w 3"/>
                <a:gd name="T33" fmla="*/ 0 h 3"/>
                <a:gd name="T34" fmla="*/ 1 w 3"/>
                <a:gd name="T3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6" name="Freeform 2044">
              <a:extLst>
                <a:ext uri="{FF2B5EF4-FFF2-40B4-BE49-F238E27FC236}">
                  <a16:creationId xmlns:a16="http://schemas.microsoft.com/office/drawing/2014/main" id="{B926C898-33C2-4E61-A649-C7591DAEC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2199"/>
              <a:ext cx="10" cy="5"/>
            </a:xfrm>
            <a:custGeom>
              <a:avLst/>
              <a:gdLst>
                <a:gd name="T0" fmla="*/ 0 w 10"/>
                <a:gd name="T1" fmla="*/ 0 h 5"/>
                <a:gd name="T2" fmla="*/ 5 w 10"/>
                <a:gd name="T3" fmla="*/ 5 h 5"/>
                <a:gd name="T4" fmla="*/ 10 w 10"/>
                <a:gd name="T5" fmla="*/ 2 h 5"/>
                <a:gd name="T6" fmla="*/ 0 w 10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5" y="5"/>
                  </a:lnTo>
                  <a:lnTo>
                    <a:pt x="1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7" name="Freeform 2045">
              <a:extLst>
                <a:ext uri="{FF2B5EF4-FFF2-40B4-BE49-F238E27FC236}">
                  <a16:creationId xmlns:a16="http://schemas.microsoft.com/office/drawing/2014/main" id="{26D22F5B-F3BB-45C9-B291-B35BCCF7C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2199"/>
              <a:ext cx="10" cy="5"/>
            </a:xfrm>
            <a:custGeom>
              <a:avLst/>
              <a:gdLst>
                <a:gd name="T0" fmla="*/ 0 w 10"/>
                <a:gd name="T1" fmla="*/ 0 h 5"/>
                <a:gd name="T2" fmla="*/ 5 w 10"/>
                <a:gd name="T3" fmla="*/ 5 h 5"/>
                <a:gd name="T4" fmla="*/ 10 w 10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5" y="5"/>
                  </a:lnTo>
                  <a:lnTo>
                    <a:pt x="10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8" name="Freeform 2046">
              <a:extLst>
                <a:ext uri="{FF2B5EF4-FFF2-40B4-BE49-F238E27FC236}">
                  <a16:creationId xmlns:a16="http://schemas.microsoft.com/office/drawing/2014/main" id="{75195807-5312-478D-B49B-4DB0ED7E6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2199"/>
              <a:ext cx="10" cy="7"/>
            </a:xfrm>
            <a:custGeom>
              <a:avLst/>
              <a:gdLst>
                <a:gd name="T0" fmla="*/ 0 w 4"/>
                <a:gd name="T1" fmla="*/ 1 h 3"/>
                <a:gd name="T2" fmla="*/ 2 w 4"/>
                <a:gd name="T3" fmla="*/ 3 h 3"/>
                <a:gd name="T4" fmla="*/ 2 w 4"/>
                <a:gd name="T5" fmla="*/ 3 h 3"/>
                <a:gd name="T6" fmla="*/ 4 w 4"/>
                <a:gd name="T7" fmla="*/ 1 h 3"/>
                <a:gd name="T8" fmla="*/ 4 w 4"/>
                <a:gd name="T9" fmla="*/ 0 h 3"/>
                <a:gd name="T10" fmla="*/ 2 w 4"/>
                <a:gd name="T11" fmla="*/ 2 h 3"/>
                <a:gd name="T12" fmla="*/ 0 w 4"/>
                <a:gd name="T13" fmla="*/ 0 h 3"/>
                <a:gd name="T14" fmla="*/ 0 w 4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9" name="Freeform 2047">
              <a:extLst>
                <a:ext uri="{FF2B5EF4-FFF2-40B4-BE49-F238E27FC236}">
                  <a16:creationId xmlns:a16="http://schemas.microsoft.com/office/drawing/2014/main" id="{5CA5EAEB-4E72-4DDA-87F3-341A3658B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2214"/>
              <a:ext cx="25" cy="83"/>
            </a:xfrm>
            <a:custGeom>
              <a:avLst/>
              <a:gdLst>
                <a:gd name="T0" fmla="*/ 0 w 10"/>
                <a:gd name="T1" fmla="*/ 0 h 33"/>
                <a:gd name="T2" fmla="*/ 0 w 10"/>
                <a:gd name="T3" fmla="*/ 16 h 33"/>
                <a:gd name="T4" fmla="*/ 0 w 10"/>
                <a:gd name="T5" fmla="*/ 31 h 33"/>
                <a:gd name="T6" fmla="*/ 2 w 10"/>
                <a:gd name="T7" fmla="*/ 33 h 33"/>
                <a:gd name="T8" fmla="*/ 4 w 10"/>
                <a:gd name="T9" fmla="*/ 31 h 33"/>
                <a:gd name="T10" fmla="*/ 4 w 10"/>
                <a:gd name="T11" fmla="*/ 16 h 33"/>
                <a:gd name="T12" fmla="*/ 6 w 10"/>
                <a:gd name="T13" fmla="*/ 16 h 33"/>
                <a:gd name="T14" fmla="*/ 6 w 10"/>
                <a:gd name="T15" fmla="*/ 31 h 33"/>
                <a:gd name="T16" fmla="*/ 8 w 10"/>
                <a:gd name="T17" fmla="*/ 33 h 33"/>
                <a:gd name="T18" fmla="*/ 10 w 10"/>
                <a:gd name="T19" fmla="*/ 31 h 33"/>
                <a:gd name="T20" fmla="*/ 10 w 10"/>
                <a:gd name="T21" fmla="*/ 16 h 33"/>
                <a:gd name="T22" fmla="*/ 10 w 10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33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1" y="33"/>
                    <a:pt x="2" y="33"/>
                  </a:cubicBezTo>
                  <a:cubicBezTo>
                    <a:pt x="3" y="33"/>
                    <a:pt x="4" y="32"/>
                    <a:pt x="4" y="3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7" y="33"/>
                    <a:pt x="8" y="33"/>
                  </a:cubicBezTo>
                  <a:cubicBezTo>
                    <a:pt x="9" y="33"/>
                    <a:pt x="10" y="32"/>
                    <a:pt x="10" y="3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0" name="Freeform 2048">
              <a:extLst>
                <a:ext uri="{FF2B5EF4-FFF2-40B4-BE49-F238E27FC236}">
                  <a16:creationId xmlns:a16="http://schemas.microsoft.com/office/drawing/2014/main" id="{F54FEA00-D431-4625-BC31-09D710228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2214"/>
              <a:ext cx="27" cy="83"/>
            </a:xfrm>
            <a:custGeom>
              <a:avLst/>
              <a:gdLst>
                <a:gd name="T0" fmla="*/ 0 w 11"/>
                <a:gd name="T1" fmla="*/ 0 h 33"/>
                <a:gd name="T2" fmla="*/ 0 w 11"/>
                <a:gd name="T3" fmla="*/ 16 h 33"/>
                <a:gd name="T4" fmla="*/ 0 w 11"/>
                <a:gd name="T5" fmla="*/ 31 h 33"/>
                <a:gd name="T6" fmla="*/ 2 w 11"/>
                <a:gd name="T7" fmla="*/ 33 h 33"/>
                <a:gd name="T8" fmla="*/ 5 w 11"/>
                <a:gd name="T9" fmla="*/ 31 h 33"/>
                <a:gd name="T10" fmla="*/ 5 w 11"/>
                <a:gd name="T11" fmla="*/ 16 h 33"/>
                <a:gd name="T12" fmla="*/ 6 w 11"/>
                <a:gd name="T13" fmla="*/ 16 h 33"/>
                <a:gd name="T14" fmla="*/ 6 w 11"/>
                <a:gd name="T15" fmla="*/ 31 h 33"/>
                <a:gd name="T16" fmla="*/ 8 w 11"/>
                <a:gd name="T17" fmla="*/ 33 h 33"/>
                <a:gd name="T18" fmla="*/ 11 w 11"/>
                <a:gd name="T19" fmla="*/ 31 h 33"/>
                <a:gd name="T20" fmla="*/ 11 w 11"/>
                <a:gd name="T21" fmla="*/ 16 h 33"/>
                <a:gd name="T22" fmla="*/ 11 w 11"/>
                <a:gd name="T23" fmla="*/ 0 h 33"/>
                <a:gd name="T24" fmla="*/ 10 w 11"/>
                <a:gd name="T25" fmla="*/ 0 h 33"/>
                <a:gd name="T26" fmla="*/ 10 w 11"/>
                <a:gd name="T27" fmla="*/ 16 h 33"/>
                <a:gd name="T28" fmla="*/ 10 w 11"/>
                <a:gd name="T29" fmla="*/ 31 h 33"/>
                <a:gd name="T30" fmla="*/ 8 w 11"/>
                <a:gd name="T31" fmla="*/ 32 h 33"/>
                <a:gd name="T32" fmla="*/ 7 w 11"/>
                <a:gd name="T33" fmla="*/ 31 h 33"/>
                <a:gd name="T34" fmla="*/ 7 w 11"/>
                <a:gd name="T35" fmla="*/ 16 h 33"/>
                <a:gd name="T36" fmla="*/ 7 w 11"/>
                <a:gd name="T37" fmla="*/ 15 h 33"/>
                <a:gd name="T38" fmla="*/ 6 w 11"/>
                <a:gd name="T39" fmla="*/ 15 h 33"/>
                <a:gd name="T40" fmla="*/ 4 w 11"/>
                <a:gd name="T41" fmla="*/ 15 h 33"/>
                <a:gd name="T42" fmla="*/ 4 w 11"/>
                <a:gd name="T43" fmla="*/ 15 h 33"/>
                <a:gd name="T44" fmla="*/ 4 w 11"/>
                <a:gd name="T45" fmla="*/ 16 h 33"/>
                <a:gd name="T46" fmla="*/ 4 w 11"/>
                <a:gd name="T47" fmla="*/ 31 h 33"/>
                <a:gd name="T48" fmla="*/ 2 w 11"/>
                <a:gd name="T49" fmla="*/ 32 h 33"/>
                <a:gd name="T50" fmla="*/ 1 w 11"/>
                <a:gd name="T51" fmla="*/ 31 h 33"/>
                <a:gd name="T52" fmla="*/ 1 w 11"/>
                <a:gd name="T53" fmla="*/ 16 h 33"/>
                <a:gd name="T54" fmla="*/ 1 w 11"/>
                <a:gd name="T55" fmla="*/ 0 h 33"/>
                <a:gd name="T56" fmla="*/ 0 w 11"/>
                <a:gd name="T5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33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1" y="33"/>
                    <a:pt x="2" y="33"/>
                  </a:cubicBezTo>
                  <a:cubicBezTo>
                    <a:pt x="3" y="33"/>
                    <a:pt x="5" y="32"/>
                    <a:pt x="5" y="31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7" y="33"/>
                    <a:pt x="8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2"/>
                    <a:pt x="9" y="32"/>
                    <a:pt x="8" y="32"/>
                  </a:cubicBezTo>
                  <a:cubicBezTo>
                    <a:pt x="7" y="32"/>
                    <a:pt x="7" y="32"/>
                    <a:pt x="7" y="31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5"/>
                    <a:pt x="7" y="15"/>
                  </a:cubicBezTo>
                  <a:cubicBezTo>
                    <a:pt x="7" y="15"/>
                    <a:pt x="6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2"/>
                    <a:pt x="3" y="32"/>
                    <a:pt x="2" y="32"/>
                  </a:cubicBezTo>
                  <a:cubicBezTo>
                    <a:pt x="1" y="32"/>
                    <a:pt x="1" y="32"/>
                    <a:pt x="1" y="31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1" name="Freeform 2049">
              <a:extLst>
                <a:ext uri="{FF2B5EF4-FFF2-40B4-BE49-F238E27FC236}">
                  <a16:creationId xmlns:a16="http://schemas.microsoft.com/office/drawing/2014/main" id="{F6782611-1BEA-405A-BB5B-6C4591BE7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3" y="2216"/>
              <a:ext cx="18" cy="23"/>
            </a:xfrm>
            <a:custGeom>
              <a:avLst/>
              <a:gdLst>
                <a:gd name="T0" fmla="*/ 6 w 7"/>
                <a:gd name="T1" fmla="*/ 9 h 9"/>
                <a:gd name="T2" fmla="*/ 1 w 7"/>
                <a:gd name="T3" fmla="*/ 9 h 9"/>
                <a:gd name="T4" fmla="*/ 0 w 7"/>
                <a:gd name="T5" fmla="*/ 8 h 9"/>
                <a:gd name="T6" fmla="*/ 0 w 7"/>
                <a:gd name="T7" fmla="*/ 1 h 9"/>
                <a:gd name="T8" fmla="*/ 1 w 7"/>
                <a:gd name="T9" fmla="*/ 0 h 9"/>
                <a:gd name="T10" fmla="*/ 6 w 7"/>
                <a:gd name="T11" fmla="*/ 0 h 9"/>
                <a:gd name="T12" fmla="*/ 7 w 7"/>
                <a:gd name="T13" fmla="*/ 1 h 9"/>
                <a:gd name="T14" fmla="*/ 7 w 7"/>
                <a:gd name="T15" fmla="*/ 8 h 9"/>
                <a:gd name="T16" fmla="*/ 6 w 7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9">
                  <a:moveTo>
                    <a:pt x="6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0" y="8"/>
                    <a:pt x="0" y="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6" y="9"/>
                    <a:pt x="6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2" name="Freeform 2050">
              <a:extLst>
                <a:ext uri="{FF2B5EF4-FFF2-40B4-BE49-F238E27FC236}">
                  <a16:creationId xmlns:a16="http://schemas.microsoft.com/office/drawing/2014/main" id="{8D050EE7-5376-4C2C-A8D9-C2BB884A7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3" y="2216"/>
              <a:ext cx="18" cy="23"/>
            </a:xfrm>
            <a:custGeom>
              <a:avLst/>
              <a:gdLst>
                <a:gd name="T0" fmla="*/ 6 w 7"/>
                <a:gd name="T1" fmla="*/ 9 h 9"/>
                <a:gd name="T2" fmla="*/ 6 w 7"/>
                <a:gd name="T3" fmla="*/ 8 h 9"/>
                <a:gd name="T4" fmla="*/ 1 w 7"/>
                <a:gd name="T5" fmla="*/ 8 h 9"/>
                <a:gd name="T6" fmla="*/ 1 w 7"/>
                <a:gd name="T7" fmla="*/ 8 h 9"/>
                <a:gd name="T8" fmla="*/ 1 w 7"/>
                <a:gd name="T9" fmla="*/ 1 h 9"/>
                <a:gd name="T10" fmla="*/ 1 w 7"/>
                <a:gd name="T11" fmla="*/ 1 h 9"/>
                <a:gd name="T12" fmla="*/ 6 w 7"/>
                <a:gd name="T13" fmla="*/ 1 h 9"/>
                <a:gd name="T14" fmla="*/ 6 w 7"/>
                <a:gd name="T15" fmla="*/ 1 h 9"/>
                <a:gd name="T16" fmla="*/ 6 w 7"/>
                <a:gd name="T17" fmla="*/ 8 h 9"/>
                <a:gd name="T18" fmla="*/ 6 w 7"/>
                <a:gd name="T19" fmla="*/ 8 h 9"/>
                <a:gd name="T20" fmla="*/ 6 w 7"/>
                <a:gd name="T21" fmla="*/ 9 h 9"/>
                <a:gd name="T22" fmla="*/ 6 w 7"/>
                <a:gd name="T23" fmla="*/ 9 h 9"/>
                <a:gd name="T24" fmla="*/ 7 w 7"/>
                <a:gd name="T25" fmla="*/ 8 h 9"/>
                <a:gd name="T26" fmla="*/ 7 w 7"/>
                <a:gd name="T27" fmla="*/ 1 h 9"/>
                <a:gd name="T28" fmla="*/ 6 w 7"/>
                <a:gd name="T29" fmla="*/ 0 h 9"/>
                <a:gd name="T30" fmla="*/ 1 w 7"/>
                <a:gd name="T31" fmla="*/ 0 h 9"/>
                <a:gd name="T32" fmla="*/ 0 w 7"/>
                <a:gd name="T33" fmla="*/ 1 h 9"/>
                <a:gd name="T34" fmla="*/ 0 w 7"/>
                <a:gd name="T35" fmla="*/ 8 h 9"/>
                <a:gd name="T36" fmla="*/ 1 w 7"/>
                <a:gd name="T37" fmla="*/ 9 h 9"/>
                <a:gd name="T38" fmla="*/ 6 w 7"/>
                <a:gd name="T3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" h="9">
                  <a:moveTo>
                    <a:pt x="6" y="9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6" y="9"/>
                    <a:pt x="6" y="9"/>
                    <a:pt x="6" y="9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3" name="Oval 2051">
              <a:extLst>
                <a:ext uri="{FF2B5EF4-FFF2-40B4-BE49-F238E27FC236}">
                  <a16:creationId xmlns:a16="http://schemas.microsoft.com/office/drawing/2014/main" id="{EE613FEB-3B64-4A0A-87D7-A90A962194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1" y="2224"/>
              <a:ext cx="8" cy="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4" name="Freeform 2052">
              <a:extLst>
                <a:ext uri="{FF2B5EF4-FFF2-40B4-BE49-F238E27FC236}">
                  <a16:creationId xmlns:a16="http://schemas.microsoft.com/office/drawing/2014/main" id="{B86C7B9F-41B5-46BC-80D6-B6048A7A9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2221"/>
              <a:ext cx="13" cy="13"/>
            </a:xfrm>
            <a:custGeom>
              <a:avLst/>
              <a:gdLst>
                <a:gd name="T0" fmla="*/ 4 w 5"/>
                <a:gd name="T1" fmla="*/ 2 h 5"/>
                <a:gd name="T2" fmla="*/ 4 w 5"/>
                <a:gd name="T3" fmla="*/ 2 h 5"/>
                <a:gd name="T4" fmla="*/ 3 w 5"/>
                <a:gd name="T5" fmla="*/ 4 h 5"/>
                <a:gd name="T6" fmla="*/ 1 w 5"/>
                <a:gd name="T7" fmla="*/ 2 h 5"/>
                <a:gd name="T8" fmla="*/ 3 w 5"/>
                <a:gd name="T9" fmla="*/ 1 h 5"/>
                <a:gd name="T10" fmla="*/ 4 w 5"/>
                <a:gd name="T11" fmla="*/ 2 h 5"/>
                <a:gd name="T12" fmla="*/ 4 w 5"/>
                <a:gd name="T13" fmla="*/ 2 h 5"/>
                <a:gd name="T14" fmla="*/ 5 w 5"/>
                <a:gd name="T15" fmla="*/ 2 h 5"/>
                <a:gd name="T16" fmla="*/ 3 w 5"/>
                <a:gd name="T17" fmla="*/ 0 h 5"/>
                <a:gd name="T18" fmla="*/ 0 w 5"/>
                <a:gd name="T19" fmla="*/ 2 h 5"/>
                <a:gd name="T20" fmla="*/ 3 w 5"/>
                <a:gd name="T21" fmla="*/ 5 h 5"/>
                <a:gd name="T22" fmla="*/ 5 w 5"/>
                <a:gd name="T23" fmla="*/ 2 h 5"/>
                <a:gd name="T24" fmla="*/ 4 w 5"/>
                <a:gd name="T2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4" y="5"/>
                    <a:pt x="5" y="4"/>
                    <a:pt x="5" y="2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5" name="Oval 2053">
              <a:extLst>
                <a:ext uri="{FF2B5EF4-FFF2-40B4-BE49-F238E27FC236}">
                  <a16:creationId xmlns:a16="http://schemas.microsoft.com/office/drawing/2014/main" id="{B18CBB71-49C2-4176-AEC8-699D5D743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6" y="2178"/>
              <a:ext cx="20" cy="2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6" name="Freeform 2054">
              <a:extLst>
                <a:ext uri="{FF2B5EF4-FFF2-40B4-BE49-F238E27FC236}">
                  <a16:creationId xmlns:a16="http://schemas.microsoft.com/office/drawing/2014/main" id="{8A58E2E1-1827-403B-BDB6-90EEB310B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" y="2178"/>
              <a:ext cx="20" cy="23"/>
            </a:xfrm>
            <a:custGeom>
              <a:avLst/>
              <a:gdLst>
                <a:gd name="T0" fmla="*/ 8 w 8"/>
                <a:gd name="T1" fmla="*/ 4 h 9"/>
                <a:gd name="T2" fmla="*/ 7 w 8"/>
                <a:gd name="T3" fmla="*/ 4 h 9"/>
                <a:gd name="T4" fmla="*/ 6 w 8"/>
                <a:gd name="T5" fmla="*/ 7 h 9"/>
                <a:gd name="T6" fmla="*/ 4 w 8"/>
                <a:gd name="T7" fmla="*/ 8 h 9"/>
                <a:gd name="T8" fmla="*/ 2 w 8"/>
                <a:gd name="T9" fmla="*/ 7 h 9"/>
                <a:gd name="T10" fmla="*/ 1 w 8"/>
                <a:gd name="T11" fmla="*/ 4 h 9"/>
                <a:gd name="T12" fmla="*/ 2 w 8"/>
                <a:gd name="T13" fmla="*/ 2 h 9"/>
                <a:gd name="T14" fmla="*/ 4 w 8"/>
                <a:gd name="T15" fmla="*/ 1 h 9"/>
                <a:gd name="T16" fmla="*/ 6 w 8"/>
                <a:gd name="T17" fmla="*/ 2 h 9"/>
                <a:gd name="T18" fmla="*/ 7 w 8"/>
                <a:gd name="T19" fmla="*/ 4 h 9"/>
                <a:gd name="T20" fmla="*/ 8 w 8"/>
                <a:gd name="T21" fmla="*/ 4 h 9"/>
                <a:gd name="T22" fmla="*/ 8 w 8"/>
                <a:gd name="T23" fmla="*/ 4 h 9"/>
                <a:gd name="T24" fmla="*/ 4 w 8"/>
                <a:gd name="T25" fmla="*/ 0 h 9"/>
                <a:gd name="T26" fmla="*/ 0 w 8"/>
                <a:gd name="T27" fmla="*/ 4 h 9"/>
                <a:gd name="T28" fmla="*/ 1 w 8"/>
                <a:gd name="T29" fmla="*/ 8 h 9"/>
                <a:gd name="T30" fmla="*/ 4 w 8"/>
                <a:gd name="T31" fmla="*/ 9 h 9"/>
                <a:gd name="T32" fmla="*/ 7 w 8"/>
                <a:gd name="T33" fmla="*/ 8 h 9"/>
                <a:gd name="T34" fmla="*/ 8 w 8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9">
                  <a:moveTo>
                    <a:pt x="8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6"/>
                    <a:pt x="6" y="7"/>
                  </a:cubicBezTo>
                  <a:cubicBezTo>
                    <a:pt x="6" y="8"/>
                    <a:pt x="5" y="8"/>
                    <a:pt x="4" y="8"/>
                  </a:cubicBezTo>
                  <a:cubicBezTo>
                    <a:pt x="3" y="8"/>
                    <a:pt x="2" y="8"/>
                    <a:pt x="2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1"/>
                    <a:pt x="6" y="1"/>
                    <a:pt x="6" y="2"/>
                  </a:cubicBezTo>
                  <a:cubicBezTo>
                    <a:pt x="7" y="2"/>
                    <a:pt x="7" y="3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7" y="8"/>
                  </a:cubicBezTo>
                  <a:cubicBezTo>
                    <a:pt x="8" y="7"/>
                    <a:pt x="8" y="6"/>
                    <a:pt x="8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7" name="Freeform 2055">
              <a:extLst>
                <a:ext uri="{FF2B5EF4-FFF2-40B4-BE49-F238E27FC236}">
                  <a16:creationId xmlns:a16="http://schemas.microsoft.com/office/drawing/2014/main" id="{740309FE-DD15-4713-B334-8DB8355EA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2173"/>
              <a:ext cx="25" cy="15"/>
            </a:xfrm>
            <a:custGeom>
              <a:avLst/>
              <a:gdLst>
                <a:gd name="T0" fmla="*/ 10 w 10"/>
                <a:gd name="T1" fmla="*/ 5 h 6"/>
                <a:gd name="T2" fmla="*/ 9 w 10"/>
                <a:gd name="T3" fmla="*/ 5 h 6"/>
                <a:gd name="T4" fmla="*/ 9 w 10"/>
                <a:gd name="T5" fmla="*/ 4 h 6"/>
                <a:gd name="T6" fmla="*/ 5 w 10"/>
                <a:gd name="T7" fmla="*/ 0 h 6"/>
                <a:gd name="T8" fmla="*/ 1 w 10"/>
                <a:gd name="T9" fmla="*/ 4 h 6"/>
                <a:gd name="T10" fmla="*/ 1 w 10"/>
                <a:gd name="T11" fmla="*/ 5 h 6"/>
                <a:gd name="T12" fmla="*/ 1 w 10"/>
                <a:gd name="T13" fmla="*/ 5 h 6"/>
                <a:gd name="T14" fmla="*/ 0 w 10"/>
                <a:gd name="T15" fmla="*/ 5 h 6"/>
                <a:gd name="T16" fmla="*/ 0 w 10"/>
                <a:gd name="T17" fmla="*/ 5 h 6"/>
                <a:gd name="T18" fmla="*/ 1 w 10"/>
                <a:gd name="T19" fmla="*/ 6 h 6"/>
                <a:gd name="T20" fmla="*/ 10 w 10"/>
                <a:gd name="T21" fmla="*/ 6 h 6"/>
                <a:gd name="T22" fmla="*/ 10 w 10"/>
                <a:gd name="T23" fmla="*/ 5 h 6"/>
                <a:gd name="T24" fmla="*/ 10 w 10"/>
                <a:gd name="T25" fmla="*/ 5 h 6"/>
                <a:gd name="T26" fmla="*/ 10 w 10"/>
                <a:gd name="T2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6">
                  <a:moveTo>
                    <a:pt x="10" y="5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8" name="Freeform 2056">
              <a:extLst>
                <a:ext uri="{FF2B5EF4-FFF2-40B4-BE49-F238E27FC236}">
                  <a16:creationId xmlns:a16="http://schemas.microsoft.com/office/drawing/2014/main" id="{D58C1F85-6208-477A-8E2E-6C05CC754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" y="2173"/>
              <a:ext cx="27" cy="15"/>
            </a:xfrm>
            <a:custGeom>
              <a:avLst/>
              <a:gdLst>
                <a:gd name="T0" fmla="*/ 10 w 11"/>
                <a:gd name="T1" fmla="*/ 5 h 6"/>
                <a:gd name="T2" fmla="*/ 10 w 11"/>
                <a:gd name="T3" fmla="*/ 4 h 6"/>
                <a:gd name="T4" fmla="*/ 9 w 11"/>
                <a:gd name="T5" fmla="*/ 4 h 6"/>
                <a:gd name="T6" fmla="*/ 9 w 11"/>
                <a:gd name="T7" fmla="*/ 5 h 6"/>
                <a:gd name="T8" fmla="*/ 10 w 11"/>
                <a:gd name="T9" fmla="*/ 5 h 6"/>
                <a:gd name="T10" fmla="*/ 10 w 11"/>
                <a:gd name="T11" fmla="*/ 4 h 6"/>
                <a:gd name="T12" fmla="*/ 5 w 11"/>
                <a:gd name="T13" fmla="*/ 0 h 6"/>
                <a:gd name="T14" fmla="*/ 1 w 11"/>
                <a:gd name="T15" fmla="*/ 4 h 6"/>
                <a:gd name="T16" fmla="*/ 1 w 11"/>
                <a:gd name="T17" fmla="*/ 5 h 6"/>
                <a:gd name="T18" fmla="*/ 1 w 11"/>
                <a:gd name="T19" fmla="*/ 5 h 6"/>
                <a:gd name="T20" fmla="*/ 1 w 11"/>
                <a:gd name="T21" fmla="*/ 4 h 6"/>
                <a:gd name="T22" fmla="*/ 1 w 11"/>
                <a:gd name="T23" fmla="*/ 4 h 6"/>
                <a:gd name="T24" fmla="*/ 0 w 11"/>
                <a:gd name="T25" fmla="*/ 5 h 6"/>
                <a:gd name="T26" fmla="*/ 0 w 11"/>
                <a:gd name="T27" fmla="*/ 5 h 6"/>
                <a:gd name="T28" fmla="*/ 1 w 11"/>
                <a:gd name="T29" fmla="*/ 6 h 6"/>
                <a:gd name="T30" fmla="*/ 10 w 11"/>
                <a:gd name="T31" fmla="*/ 6 h 6"/>
                <a:gd name="T32" fmla="*/ 11 w 11"/>
                <a:gd name="T33" fmla="*/ 5 h 6"/>
                <a:gd name="T34" fmla="*/ 11 w 11"/>
                <a:gd name="T35" fmla="*/ 5 h 6"/>
                <a:gd name="T36" fmla="*/ 10 w 11"/>
                <a:gd name="T37" fmla="*/ 4 h 6"/>
                <a:gd name="T38" fmla="*/ 10 w 11"/>
                <a:gd name="T39" fmla="*/ 5 h 6"/>
                <a:gd name="T40" fmla="*/ 10 w 11"/>
                <a:gd name="T41" fmla="*/ 5 h 6"/>
                <a:gd name="T42" fmla="*/ 10 w 11"/>
                <a:gd name="T43" fmla="*/ 5 h 6"/>
                <a:gd name="T44" fmla="*/ 10 w 11"/>
                <a:gd name="T45" fmla="*/ 5 h 6"/>
                <a:gd name="T46" fmla="*/ 10 w 11"/>
                <a:gd name="T47" fmla="*/ 5 h 6"/>
                <a:gd name="T48" fmla="*/ 10 w 11"/>
                <a:gd name="T49" fmla="*/ 5 h 6"/>
                <a:gd name="T50" fmla="*/ 10 w 11"/>
                <a:gd name="T51" fmla="*/ 5 h 6"/>
                <a:gd name="T52" fmla="*/ 10 w 11"/>
                <a:gd name="T53" fmla="*/ 5 h 6"/>
                <a:gd name="T54" fmla="*/ 10 w 11"/>
                <a:gd name="T55" fmla="*/ 5 h 6"/>
                <a:gd name="T56" fmla="*/ 10 w 11"/>
                <a:gd name="T57" fmla="*/ 5 h 6"/>
                <a:gd name="T58" fmla="*/ 10 w 11"/>
                <a:gd name="T59" fmla="*/ 5 h 6"/>
                <a:gd name="T60" fmla="*/ 10 w 11"/>
                <a:gd name="T61" fmla="*/ 5 h 6"/>
                <a:gd name="T62" fmla="*/ 10 w 11"/>
                <a:gd name="T63" fmla="*/ 5 h 6"/>
                <a:gd name="T64" fmla="*/ 1 w 11"/>
                <a:gd name="T65" fmla="*/ 5 h 6"/>
                <a:gd name="T66" fmla="*/ 1 w 11"/>
                <a:gd name="T67" fmla="*/ 5 h 6"/>
                <a:gd name="T68" fmla="*/ 1 w 11"/>
                <a:gd name="T69" fmla="*/ 5 h 6"/>
                <a:gd name="T70" fmla="*/ 1 w 11"/>
                <a:gd name="T71" fmla="*/ 5 h 6"/>
                <a:gd name="T72" fmla="*/ 1 w 11"/>
                <a:gd name="T73" fmla="*/ 5 h 6"/>
                <a:gd name="T74" fmla="*/ 1 w 11"/>
                <a:gd name="T75" fmla="*/ 5 h 6"/>
                <a:gd name="T76" fmla="*/ 1 w 11"/>
                <a:gd name="T77" fmla="*/ 5 h 6"/>
                <a:gd name="T78" fmla="*/ 1 w 11"/>
                <a:gd name="T79" fmla="*/ 5 h 6"/>
                <a:gd name="T80" fmla="*/ 1 w 11"/>
                <a:gd name="T81" fmla="*/ 5 h 6"/>
                <a:gd name="T82" fmla="*/ 1 w 11"/>
                <a:gd name="T83" fmla="*/ 5 h 6"/>
                <a:gd name="T84" fmla="*/ 1 w 11"/>
                <a:gd name="T85" fmla="*/ 5 h 6"/>
                <a:gd name="T86" fmla="*/ 1 w 11"/>
                <a:gd name="T87" fmla="*/ 5 h 6"/>
                <a:gd name="T88" fmla="*/ 1 w 11"/>
                <a:gd name="T89" fmla="*/ 5 h 6"/>
                <a:gd name="T90" fmla="*/ 1 w 11"/>
                <a:gd name="T91" fmla="*/ 5 h 6"/>
                <a:gd name="T92" fmla="*/ 2 w 11"/>
                <a:gd name="T93" fmla="*/ 4 h 6"/>
                <a:gd name="T94" fmla="*/ 2 w 11"/>
                <a:gd name="T95" fmla="*/ 4 h 6"/>
                <a:gd name="T96" fmla="*/ 5 w 11"/>
                <a:gd name="T97" fmla="*/ 1 h 6"/>
                <a:gd name="T98" fmla="*/ 9 w 11"/>
                <a:gd name="T99" fmla="*/ 4 h 6"/>
                <a:gd name="T100" fmla="*/ 9 w 11"/>
                <a:gd name="T101" fmla="*/ 4 h 6"/>
                <a:gd name="T102" fmla="*/ 9 w 11"/>
                <a:gd name="T103" fmla="*/ 5 h 6"/>
                <a:gd name="T104" fmla="*/ 9 w 11"/>
                <a:gd name="T105" fmla="*/ 5 h 6"/>
                <a:gd name="T106" fmla="*/ 10 w 11"/>
                <a:gd name="T10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" h="6">
                  <a:moveTo>
                    <a:pt x="10" y="5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3" y="1"/>
                    <a:pt x="5" y="1"/>
                  </a:cubicBezTo>
                  <a:cubicBezTo>
                    <a:pt x="7" y="1"/>
                    <a:pt x="9" y="2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79" name="Freeform 2057">
              <a:extLst>
                <a:ext uri="{FF2B5EF4-FFF2-40B4-BE49-F238E27FC236}">
                  <a16:creationId xmlns:a16="http://schemas.microsoft.com/office/drawing/2014/main" id="{E85EE548-9662-4C45-A5A0-2BD4742C4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2173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0" name="Freeform 2058">
              <a:extLst>
                <a:ext uri="{FF2B5EF4-FFF2-40B4-BE49-F238E27FC236}">
                  <a16:creationId xmlns:a16="http://schemas.microsoft.com/office/drawing/2014/main" id="{983B40F1-18FF-4335-B837-BF906B7FA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2173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1" name="Freeform 2059">
              <a:extLst>
                <a:ext uri="{FF2B5EF4-FFF2-40B4-BE49-F238E27FC236}">
                  <a16:creationId xmlns:a16="http://schemas.microsoft.com/office/drawing/2014/main" id="{8665D290-7E3D-467A-A2F5-3AE2A2430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2173"/>
              <a:ext cx="3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2 h 4"/>
                <a:gd name="T4" fmla="*/ 0 w 1"/>
                <a:gd name="T5" fmla="*/ 4 h 4"/>
                <a:gd name="T6" fmla="*/ 1 w 1"/>
                <a:gd name="T7" fmla="*/ 4 h 4"/>
                <a:gd name="T8" fmla="*/ 1 w 1"/>
                <a:gd name="T9" fmla="*/ 4 h 4"/>
                <a:gd name="T10" fmla="*/ 1 w 1"/>
                <a:gd name="T11" fmla="*/ 2 h 4"/>
                <a:gd name="T12" fmla="*/ 1 w 1"/>
                <a:gd name="T13" fmla="*/ 0 h 4"/>
                <a:gd name="T14" fmla="*/ 1 w 1"/>
                <a:gd name="T15" fmla="*/ 0 h 4"/>
                <a:gd name="T16" fmla="*/ 0 w 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2" name="Freeform 2060">
              <a:extLst>
                <a:ext uri="{FF2B5EF4-FFF2-40B4-BE49-F238E27FC236}">
                  <a16:creationId xmlns:a16="http://schemas.microsoft.com/office/drawing/2014/main" id="{E87A9BE2-A9CB-46FB-BF1C-366D302B8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173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3" name="Freeform 2061">
              <a:extLst>
                <a:ext uri="{FF2B5EF4-FFF2-40B4-BE49-F238E27FC236}">
                  <a16:creationId xmlns:a16="http://schemas.microsoft.com/office/drawing/2014/main" id="{0A83E27E-E72E-43EE-8DEF-83D3145A3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173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4" name="Freeform 2062">
              <a:extLst>
                <a:ext uri="{FF2B5EF4-FFF2-40B4-BE49-F238E27FC236}">
                  <a16:creationId xmlns:a16="http://schemas.microsoft.com/office/drawing/2014/main" id="{5B07DE5A-D7AF-47E7-B371-74EEACD6A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173"/>
              <a:ext cx="2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2 h 4"/>
                <a:gd name="T4" fmla="*/ 0 w 1"/>
                <a:gd name="T5" fmla="*/ 4 h 4"/>
                <a:gd name="T6" fmla="*/ 0 w 1"/>
                <a:gd name="T7" fmla="*/ 4 h 4"/>
                <a:gd name="T8" fmla="*/ 1 w 1"/>
                <a:gd name="T9" fmla="*/ 4 h 4"/>
                <a:gd name="T10" fmla="*/ 1 w 1"/>
                <a:gd name="T11" fmla="*/ 2 h 4"/>
                <a:gd name="T12" fmla="*/ 1 w 1"/>
                <a:gd name="T13" fmla="*/ 0 h 4"/>
                <a:gd name="T14" fmla="*/ 0 w 1"/>
                <a:gd name="T15" fmla="*/ 0 h 4"/>
                <a:gd name="T16" fmla="*/ 0 w 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5" name="Freeform 2063">
              <a:extLst>
                <a:ext uri="{FF2B5EF4-FFF2-40B4-BE49-F238E27FC236}">
                  <a16:creationId xmlns:a16="http://schemas.microsoft.com/office/drawing/2014/main" id="{CE608114-8BAE-4850-993D-4C191A4AE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188"/>
              <a:ext cx="10" cy="3"/>
            </a:xfrm>
            <a:custGeom>
              <a:avLst/>
              <a:gdLst>
                <a:gd name="T0" fmla="*/ 0 w 4"/>
                <a:gd name="T1" fmla="*/ 0 h 1"/>
                <a:gd name="T2" fmla="*/ 4 w 4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1" y="1"/>
                    <a:pt x="2" y="1"/>
                    <a:pt x="4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6" name="Freeform 2064">
              <a:extLst>
                <a:ext uri="{FF2B5EF4-FFF2-40B4-BE49-F238E27FC236}">
                  <a16:creationId xmlns:a16="http://schemas.microsoft.com/office/drawing/2014/main" id="{86DB3D3E-568A-41AD-9BB5-21049A0C4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2188"/>
              <a:ext cx="12" cy="6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2 h 2"/>
                <a:gd name="T4" fmla="*/ 5 w 5"/>
                <a:gd name="T5" fmla="*/ 1 h 2"/>
                <a:gd name="T6" fmla="*/ 1 w 5"/>
                <a:gd name="T7" fmla="*/ 0 h 2"/>
                <a:gd name="T8" fmla="*/ 0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cubicBezTo>
                    <a:pt x="2" y="1"/>
                    <a:pt x="3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7" name="Freeform 2065">
              <a:extLst>
                <a:ext uri="{FF2B5EF4-FFF2-40B4-BE49-F238E27FC236}">
                  <a16:creationId xmlns:a16="http://schemas.microsoft.com/office/drawing/2014/main" id="{49A9F831-9D8D-40EF-B85B-448CB1CD2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" y="2474"/>
              <a:ext cx="15" cy="26"/>
            </a:xfrm>
            <a:custGeom>
              <a:avLst/>
              <a:gdLst>
                <a:gd name="T0" fmla="*/ 6 w 6"/>
                <a:gd name="T1" fmla="*/ 10 h 10"/>
                <a:gd name="T2" fmla="*/ 0 w 6"/>
                <a:gd name="T3" fmla="*/ 10 h 10"/>
                <a:gd name="T4" fmla="*/ 0 w 6"/>
                <a:gd name="T5" fmla="*/ 3 h 10"/>
                <a:gd name="T6" fmla="*/ 3 w 6"/>
                <a:gd name="T7" fmla="*/ 0 h 10"/>
                <a:gd name="T8" fmla="*/ 6 w 6"/>
                <a:gd name="T9" fmla="*/ 3 h 10"/>
                <a:gd name="T10" fmla="*/ 6 w 6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8" name="Freeform 2066">
              <a:extLst>
                <a:ext uri="{FF2B5EF4-FFF2-40B4-BE49-F238E27FC236}">
                  <a16:creationId xmlns:a16="http://schemas.microsoft.com/office/drawing/2014/main" id="{0D5AEB89-6530-4ED5-862C-C5DD93F25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" y="2472"/>
              <a:ext cx="18" cy="30"/>
            </a:xfrm>
            <a:custGeom>
              <a:avLst/>
              <a:gdLst>
                <a:gd name="T0" fmla="*/ 7 w 7"/>
                <a:gd name="T1" fmla="*/ 11 h 12"/>
                <a:gd name="T2" fmla="*/ 7 w 7"/>
                <a:gd name="T3" fmla="*/ 11 h 12"/>
                <a:gd name="T4" fmla="*/ 1 w 7"/>
                <a:gd name="T5" fmla="*/ 11 h 12"/>
                <a:gd name="T6" fmla="*/ 1 w 7"/>
                <a:gd name="T7" fmla="*/ 4 h 12"/>
                <a:gd name="T8" fmla="*/ 4 w 7"/>
                <a:gd name="T9" fmla="*/ 1 h 12"/>
                <a:gd name="T10" fmla="*/ 6 w 7"/>
                <a:gd name="T11" fmla="*/ 4 h 12"/>
                <a:gd name="T12" fmla="*/ 6 w 7"/>
                <a:gd name="T13" fmla="*/ 11 h 12"/>
                <a:gd name="T14" fmla="*/ 7 w 7"/>
                <a:gd name="T15" fmla="*/ 11 h 12"/>
                <a:gd name="T16" fmla="*/ 7 w 7"/>
                <a:gd name="T17" fmla="*/ 11 h 12"/>
                <a:gd name="T18" fmla="*/ 7 w 7"/>
                <a:gd name="T19" fmla="*/ 11 h 12"/>
                <a:gd name="T20" fmla="*/ 7 w 7"/>
                <a:gd name="T21" fmla="*/ 11 h 12"/>
                <a:gd name="T22" fmla="*/ 7 w 7"/>
                <a:gd name="T23" fmla="*/ 4 h 12"/>
                <a:gd name="T24" fmla="*/ 4 w 7"/>
                <a:gd name="T25" fmla="*/ 0 h 12"/>
                <a:gd name="T26" fmla="*/ 0 w 7"/>
                <a:gd name="T27" fmla="*/ 4 h 12"/>
                <a:gd name="T28" fmla="*/ 0 w 7"/>
                <a:gd name="T29" fmla="*/ 11 h 12"/>
                <a:gd name="T30" fmla="*/ 0 w 7"/>
                <a:gd name="T31" fmla="*/ 12 h 12"/>
                <a:gd name="T32" fmla="*/ 1 w 7"/>
                <a:gd name="T33" fmla="*/ 12 h 12"/>
                <a:gd name="T34" fmla="*/ 7 w 7"/>
                <a:gd name="T35" fmla="*/ 12 h 12"/>
                <a:gd name="T36" fmla="*/ 7 w 7"/>
                <a:gd name="T37" fmla="*/ 12 h 12"/>
                <a:gd name="T38" fmla="*/ 7 w 7"/>
                <a:gd name="T3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" h="12">
                  <a:moveTo>
                    <a:pt x="7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6" y="4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9" name="Freeform 2067">
              <a:extLst>
                <a:ext uri="{FF2B5EF4-FFF2-40B4-BE49-F238E27FC236}">
                  <a16:creationId xmlns:a16="http://schemas.microsoft.com/office/drawing/2014/main" id="{8B474E7A-5A97-41D6-993E-5681F834C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" y="2457"/>
              <a:ext cx="18" cy="7"/>
            </a:xfrm>
            <a:custGeom>
              <a:avLst/>
              <a:gdLst>
                <a:gd name="T0" fmla="*/ 7 w 7"/>
                <a:gd name="T1" fmla="*/ 2 h 3"/>
                <a:gd name="T2" fmla="*/ 3 w 7"/>
                <a:gd name="T3" fmla="*/ 0 h 3"/>
                <a:gd name="T4" fmla="*/ 0 w 7"/>
                <a:gd name="T5" fmla="*/ 2 h 3"/>
                <a:gd name="T6" fmla="*/ 0 w 7"/>
                <a:gd name="T7" fmla="*/ 3 h 3"/>
                <a:gd name="T8" fmla="*/ 3 w 7"/>
                <a:gd name="T9" fmla="*/ 1 h 3"/>
                <a:gd name="T10" fmla="*/ 6 w 7"/>
                <a:gd name="T11" fmla="*/ 3 h 3"/>
                <a:gd name="T12" fmla="*/ 7 w 7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7" y="2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5" y="1"/>
                    <a:pt x="6" y="2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0" name="Freeform 2068">
              <a:extLst>
                <a:ext uri="{FF2B5EF4-FFF2-40B4-BE49-F238E27FC236}">
                  <a16:creationId xmlns:a16="http://schemas.microsoft.com/office/drawing/2014/main" id="{6D246DBF-D5F3-46A9-B688-905E016DE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1" y="2446"/>
              <a:ext cx="33" cy="11"/>
            </a:xfrm>
            <a:custGeom>
              <a:avLst/>
              <a:gdLst>
                <a:gd name="T0" fmla="*/ 13 w 13"/>
                <a:gd name="T1" fmla="*/ 4 h 4"/>
                <a:gd name="T2" fmla="*/ 6 w 13"/>
                <a:gd name="T3" fmla="*/ 0 h 4"/>
                <a:gd name="T4" fmla="*/ 0 w 13"/>
                <a:gd name="T5" fmla="*/ 4 h 4"/>
                <a:gd name="T6" fmla="*/ 0 w 13"/>
                <a:gd name="T7" fmla="*/ 4 h 4"/>
                <a:gd name="T8" fmla="*/ 6 w 13"/>
                <a:gd name="T9" fmla="*/ 1 h 4"/>
                <a:gd name="T10" fmla="*/ 13 w 13"/>
                <a:gd name="T11" fmla="*/ 4 h 4"/>
                <a:gd name="T12" fmla="*/ 13 w 1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13" y="4"/>
                  </a:moveTo>
                  <a:cubicBezTo>
                    <a:pt x="12" y="2"/>
                    <a:pt x="9" y="0"/>
                    <a:pt x="6" y="0"/>
                  </a:cubicBezTo>
                  <a:cubicBezTo>
                    <a:pt x="4" y="0"/>
                    <a:pt x="1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4" y="1"/>
                    <a:pt x="6" y="1"/>
                  </a:cubicBezTo>
                  <a:cubicBezTo>
                    <a:pt x="9" y="1"/>
                    <a:pt x="11" y="2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1" name="Freeform 2069">
              <a:extLst>
                <a:ext uri="{FF2B5EF4-FFF2-40B4-BE49-F238E27FC236}">
                  <a16:creationId xmlns:a16="http://schemas.microsoft.com/office/drawing/2014/main" id="{8CDCD4F2-8041-41CE-8E82-A0D2C100C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2436"/>
              <a:ext cx="53" cy="16"/>
            </a:xfrm>
            <a:custGeom>
              <a:avLst/>
              <a:gdLst>
                <a:gd name="T0" fmla="*/ 21 w 21"/>
                <a:gd name="T1" fmla="*/ 5 h 6"/>
                <a:gd name="T2" fmla="*/ 10 w 21"/>
                <a:gd name="T3" fmla="*/ 0 h 6"/>
                <a:gd name="T4" fmla="*/ 0 w 21"/>
                <a:gd name="T5" fmla="*/ 5 h 6"/>
                <a:gd name="T6" fmla="*/ 1 w 21"/>
                <a:gd name="T7" fmla="*/ 6 h 6"/>
                <a:gd name="T8" fmla="*/ 10 w 21"/>
                <a:gd name="T9" fmla="*/ 1 h 6"/>
                <a:gd name="T10" fmla="*/ 20 w 21"/>
                <a:gd name="T11" fmla="*/ 6 h 6"/>
                <a:gd name="T12" fmla="*/ 21 w 21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6">
                  <a:moveTo>
                    <a:pt x="21" y="5"/>
                  </a:moveTo>
                  <a:cubicBezTo>
                    <a:pt x="18" y="2"/>
                    <a:pt x="15" y="0"/>
                    <a:pt x="10" y="0"/>
                  </a:cubicBezTo>
                  <a:cubicBezTo>
                    <a:pt x="6" y="0"/>
                    <a:pt x="3" y="2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7" y="1"/>
                    <a:pt x="10" y="1"/>
                  </a:cubicBezTo>
                  <a:cubicBezTo>
                    <a:pt x="14" y="1"/>
                    <a:pt x="18" y="3"/>
                    <a:pt x="20" y="6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2" name="Oval 2070">
              <a:extLst>
                <a:ext uri="{FF2B5EF4-FFF2-40B4-BE49-F238E27FC236}">
                  <a16:creationId xmlns:a16="http://schemas.microsoft.com/office/drawing/2014/main" id="{267B6E1D-84B3-4749-8E33-B3A2DA4BA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2482"/>
              <a:ext cx="5" cy="2"/>
            </a:xfrm>
            <a:prstGeom prst="ellipse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3" name="Freeform 2071">
              <a:extLst>
                <a:ext uri="{FF2B5EF4-FFF2-40B4-BE49-F238E27FC236}">
                  <a16:creationId xmlns:a16="http://schemas.microsoft.com/office/drawing/2014/main" id="{B9C9A897-28D1-4FDA-97C2-E866A0240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" y="2173"/>
              <a:ext cx="124" cy="36"/>
            </a:xfrm>
            <a:custGeom>
              <a:avLst/>
              <a:gdLst>
                <a:gd name="T0" fmla="*/ 63 w 124"/>
                <a:gd name="T1" fmla="*/ 0 h 36"/>
                <a:gd name="T2" fmla="*/ 0 w 124"/>
                <a:gd name="T3" fmla="*/ 28 h 36"/>
                <a:gd name="T4" fmla="*/ 0 w 124"/>
                <a:gd name="T5" fmla="*/ 36 h 36"/>
                <a:gd name="T6" fmla="*/ 124 w 124"/>
                <a:gd name="T7" fmla="*/ 36 h 36"/>
                <a:gd name="T8" fmla="*/ 124 w 124"/>
                <a:gd name="T9" fmla="*/ 28 h 36"/>
                <a:gd name="T10" fmla="*/ 63 w 124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6">
                  <a:moveTo>
                    <a:pt x="63" y="0"/>
                  </a:moveTo>
                  <a:lnTo>
                    <a:pt x="0" y="28"/>
                  </a:lnTo>
                  <a:lnTo>
                    <a:pt x="0" y="36"/>
                  </a:lnTo>
                  <a:lnTo>
                    <a:pt x="124" y="36"/>
                  </a:lnTo>
                  <a:lnTo>
                    <a:pt x="124" y="28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4" name="Freeform 2072">
              <a:extLst>
                <a:ext uri="{FF2B5EF4-FFF2-40B4-BE49-F238E27FC236}">
                  <a16:creationId xmlns:a16="http://schemas.microsoft.com/office/drawing/2014/main" id="{55F49558-6DF5-4C7C-9817-FFD060F29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5" y="2171"/>
              <a:ext cx="129" cy="38"/>
            </a:xfrm>
            <a:custGeom>
              <a:avLst/>
              <a:gdLst>
                <a:gd name="T0" fmla="*/ 66 w 129"/>
                <a:gd name="T1" fmla="*/ 2 h 38"/>
                <a:gd name="T2" fmla="*/ 66 w 129"/>
                <a:gd name="T3" fmla="*/ 0 h 38"/>
                <a:gd name="T4" fmla="*/ 0 w 129"/>
                <a:gd name="T5" fmla="*/ 30 h 38"/>
                <a:gd name="T6" fmla="*/ 0 w 129"/>
                <a:gd name="T7" fmla="*/ 38 h 38"/>
                <a:gd name="T8" fmla="*/ 129 w 129"/>
                <a:gd name="T9" fmla="*/ 38 h 38"/>
                <a:gd name="T10" fmla="*/ 129 w 129"/>
                <a:gd name="T11" fmla="*/ 30 h 38"/>
                <a:gd name="T12" fmla="*/ 66 w 129"/>
                <a:gd name="T13" fmla="*/ 0 h 38"/>
                <a:gd name="T14" fmla="*/ 66 w 129"/>
                <a:gd name="T15" fmla="*/ 0 h 38"/>
                <a:gd name="T16" fmla="*/ 66 w 129"/>
                <a:gd name="T17" fmla="*/ 2 h 38"/>
                <a:gd name="T18" fmla="*/ 66 w 129"/>
                <a:gd name="T19" fmla="*/ 2 h 38"/>
                <a:gd name="T20" fmla="*/ 127 w 129"/>
                <a:gd name="T21" fmla="*/ 30 h 38"/>
                <a:gd name="T22" fmla="*/ 127 w 129"/>
                <a:gd name="T23" fmla="*/ 35 h 38"/>
                <a:gd name="T24" fmla="*/ 3 w 129"/>
                <a:gd name="T25" fmla="*/ 38 h 38"/>
                <a:gd name="T26" fmla="*/ 3 w 129"/>
                <a:gd name="T27" fmla="*/ 30 h 38"/>
                <a:gd name="T28" fmla="*/ 66 w 129"/>
                <a:gd name="T29" fmla="*/ 2 h 38"/>
                <a:gd name="T30" fmla="*/ 66 w 129"/>
                <a:gd name="T31" fmla="*/ 2 h 38"/>
                <a:gd name="T32" fmla="*/ 66 w 129"/>
                <a:gd name="T33" fmla="*/ 2 h 38"/>
                <a:gd name="T34" fmla="*/ 66 w 129"/>
                <a:gd name="T3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38">
                  <a:moveTo>
                    <a:pt x="66" y="2"/>
                  </a:moveTo>
                  <a:lnTo>
                    <a:pt x="66" y="0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129" y="38"/>
                  </a:lnTo>
                  <a:lnTo>
                    <a:pt x="129" y="3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127" y="30"/>
                  </a:lnTo>
                  <a:lnTo>
                    <a:pt x="127" y="35"/>
                  </a:lnTo>
                  <a:lnTo>
                    <a:pt x="3" y="38"/>
                  </a:lnTo>
                  <a:lnTo>
                    <a:pt x="3" y="30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5" name="Freeform 2073">
              <a:extLst>
                <a:ext uri="{FF2B5EF4-FFF2-40B4-BE49-F238E27FC236}">
                  <a16:creationId xmlns:a16="http://schemas.microsoft.com/office/drawing/2014/main" id="{F8C358B0-AEED-42E2-BD62-353529FAC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0" y="2181"/>
              <a:ext cx="119" cy="91"/>
            </a:xfrm>
            <a:custGeom>
              <a:avLst/>
              <a:gdLst>
                <a:gd name="T0" fmla="*/ 0 w 119"/>
                <a:gd name="T1" fmla="*/ 91 h 91"/>
                <a:gd name="T2" fmla="*/ 0 w 119"/>
                <a:gd name="T3" fmla="*/ 25 h 91"/>
                <a:gd name="T4" fmla="*/ 61 w 119"/>
                <a:gd name="T5" fmla="*/ 0 h 91"/>
                <a:gd name="T6" fmla="*/ 119 w 119"/>
                <a:gd name="T7" fmla="*/ 25 h 91"/>
                <a:gd name="T8" fmla="*/ 119 w 119"/>
                <a:gd name="T9" fmla="*/ 91 h 91"/>
                <a:gd name="T10" fmla="*/ 0 w 119"/>
                <a:gd name="T1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91">
                  <a:moveTo>
                    <a:pt x="0" y="91"/>
                  </a:moveTo>
                  <a:lnTo>
                    <a:pt x="0" y="25"/>
                  </a:lnTo>
                  <a:lnTo>
                    <a:pt x="61" y="0"/>
                  </a:lnTo>
                  <a:lnTo>
                    <a:pt x="119" y="25"/>
                  </a:lnTo>
                  <a:lnTo>
                    <a:pt x="119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6" name="Freeform 2074">
              <a:extLst>
                <a:ext uri="{FF2B5EF4-FFF2-40B4-BE49-F238E27FC236}">
                  <a16:creationId xmlns:a16="http://schemas.microsoft.com/office/drawing/2014/main" id="{4EA54D31-C00C-4950-92D9-B19BA9B51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0" y="2181"/>
              <a:ext cx="119" cy="91"/>
            </a:xfrm>
            <a:custGeom>
              <a:avLst/>
              <a:gdLst>
                <a:gd name="T0" fmla="*/ 0 w 119"/>
                <a:gd name="T1" fmla="*/ 91 h 91"/>
                <a:gd name="T2" fmla="*/ 0 w 119"/>
                <a:gd name="T3" fmla="*/ 25 h 91"/>
                <a:gd name="T4" fmla="*/ 61 w 119"/>
                <a:gd name="T5" fmla="*/ 0 h 91"/>
                <a:gd name="T6" fmla="*/ 119 w 119"/>
                <a:gd name="T7" fmla="*/ 25 h 91"/>
                <a:gd name="T8" fmla="*/ 119 w 119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91">
                  <a:moveTo>
                    <a:pt x="0" y="91"/>
                  </a:moveTo>
                  <a:lnTo>
                    <a:pt x="0" y="25"/>
                  </a:lnTo>
                  <a:lnTo>
                    <a:pt x="61" y="0"/>
                  </a:lnTo>
                  <a:lnTo>
                    <a:pt x="119" y="25"/>
                  </a:lnTo>
                  <a:lnTo>
                    <a:pt x="119" y="9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7" name="Freeform 2075">
              <a:extLst>
                <a:ext uri="{FF2B5EF4-FFF2-40B4-BE49-F238E27FC236}">
                  <a16:creationId xmlns:a16="http://schemas.microsoft.com/office/drawing/2014/main" id="{A658D276-50A9-4E26-AD24-9EA3082C4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0" y="2178"/>
              <a:ext cx="119" cy="94"/>
            </a:xfrm>
            <a:custGeom>
              <a:avLst/>
              <a:gdLst>
                <a:gd name="T0" fmla="*/ 3 w 119"/>
                <a:gd name="T1" fmla="*/ 94 h 94"/>
                <a:gd name="T2" fmla="*/ 3 w 119"/>
                <a:gd name="T3" fmla="*/ 28 h 94"/>
                <a:gd name="T4" fmla="*/ 61 w 119"/>
                <a:gd name="T5" fmla="*/ 3 h 94"/>
                <a:gd name="T6" fmla="*/ 117 w 119"/>
                <a:gd name="T7" fmla="*/ 28 h 94"/>
                <a:gd name="T8" fmla="*/ 117 w 119"/>
                <a:gd name="T9" fmla="*/ 94 h 94"/>
                <a:gd name="T10" fmla="*/ 119 w 119"/>
                <a:gd name="T11" fmla="*/ 94 h 94"/>
                <a:gd name="T12" fmla="*/ 119 w 119"/>
                <a:gd name="T13" fmla="*/ 28 h 94"/>
                <a:gd name="T14" fmla="*/ 61 w 119"/>
                <a:gd name="T15" fmla="*/ 0 h 94"/>
                <a:gd name="T16" fmla="*/ 0 w 119"/>
                <a:gd name="T17" fmla="*/ 28 h 94"/>
                <a:gd name="T18" fmla="*/ 0 w 119"/>
                <a:gd name="T19" fmla="*/ 94 h 94"/>
                <a:gd name="T20" fmla="*/ 3 w 119"/>
                <a:gd name="T21" fmla="*/ 94 h 94"/>
                <a:gd name="T22" fmla="*/ 3 w 119"/>
                <a:gd name="T23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94">
                  <a:moveTo>
                    <a:pt x="3" y="94"/>
                  </a:moveTo>
                  <a:lnTo>
                    <a:pt x="3" y="28"/>
                  </a:lnTo>
                  <a:lnTo>
                    <a:pt x="61" y="3"/>
                  </a:lnTo>
                  <a:lnTo>
                    <a:pt x="117" y="28"/>
                  </a:lnTo>
                  <a:lnTo>
                    <a:pt x="117" y="94"/>
                  </a:lnTo>
                  <a:lnTo>
                    <a:pt x="119" y="94"/>
                  </a:lnTo>
                  <a:lnTo>
                    <a:pt x="119" y="28"/>
                  </a:lnTo>
                  <a:lnTo>
                    <a:pt x="61" y="0"/>
                  </a:lnTo>
                  <a:lnTo>
                    <a:pt x="0" y="28"/>
                  </a:lnTo>
                  <a:lnTo>
                    <a:pt x="0" y="94"/>
                  </a:lnTo>
                  <a:lnTo>
                    <a:pt x="3" y="94"/>
                  </a:lnTo>
                  <a:lnTo>
                    <a:pt x="3" y="9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8" name="Freeform 2076">
              <a:extLst>
                <a:ext uri="{FF2B5EF4-FFF2-40B4-BE49-F238E27FC236}">
                  <a16:creationId xmlns:a16="http://schemas.microsoft.com/office/drawing/2014/main" id="{B4FFA4D0-F836-4B5D-90E0-7600C20E2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2221"/>
              <a:ext cx="124" cy="36"/>
            </a:xfrm>
            <a:custGeom>
              <a:avLst/>
              <a:gdLst>
                <a:gd name="T0" fmla="*/ 63 w 124"/>
                <a:gd name="T1" fmla="*/ 0 h 36"/>
                <a:gd name="T2" fmla="*/ 0 w 124"/>
                <a:gd name="T3" fmla="*/ 28 h 36"/>
                <a:gd name="T4" fmla="*/ 0 w 124"/>
                <a:gd name="T5" fmla="*/ 36 h 36"/>
                <a:gd name="T6" fmla="*/ 124 w 124"/>
                <a:gd name="T7" fmla="*/ 36 h 36"/>
                <a:gd name="T8" fmla="*/ 124 w 124"/>
                <a:gd name="T9" fmla="*/ 28 h 36"/>
                <a:gd name="T10" fmla="*/ 63 w 124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6">
                  <a:moveTo>
                    <a:pt x="63" y="0"/>
                  </a:moveTo>
                  <a:lnTo>
                    <a:pt x="0" y="28"/>
                  </a:lnTo>
                  <a:lnTo>
                    <a:pt x="0" y="36"/>
                  </a:lnTo>
                  <a:lnTo>
                    <a:pt x="124" y="36"/>
                  </a:lnTo>
                  <a:lnTo>
                    <a:pt x="124" y="28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9" name="Freeform 2077">
              <a:extLst>
                <a:ext uri="{FF2B5EF4-FFF2-40B4-BE49-F238E27FC236}">
                  <a16:creationId xmlns:a16="http://schemas.microsoft.com/office/drawing/2014/main" id="{4FB8DA63-313B-4278-8791-960354C17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" y="2221"/>
              <a:ext cx="127" cy="38"/>
            </a:xfrm>
            <a:custGeom>
              <a:avLst/>
              <a:gdLst>
                <a:gd name="T0" fmla="*/ 66 w 127"/>
                <a:gd name="T1" fmla="*/ 0 h 38"/>
                <a:gd name="T2" fmla="*/ 66 w 127"/>
                <a:gd name="T3" fmla="*/ 0 h 38"/>
                <a:gd name="T4" fmla="*/ 0 w 127"/>
                <a:gd name="T5" fmla="*/ 28 h 38"/>
                <a:gd name="T6" fmla="*/ 0 w 127"/>
                <a:gd name="T7" fmla="*/ 38 h 38"/>
                <a:gd name="T8" fmla="*/ 127 w 127"/>
                <a:gd name="T9" fmla="*/ 38 h 38"/>
                <a:gd name="T10" fmla="*/ 127 w 127"/>
                <a:gd name="T11" fmla="*/ 28 h 38"/>
                <a:gd name="T12" fmla="*/ 66 w 127"/>
                <a:gd name="T13" fmla="*/ 0 h 38"/>
                <a:gd name="T14" fmla="*/ 66 w 127"/>
                <a:gd name="T15" fmla="*/ 0 h 38"/>
                <a:gd name="T16" fmla="*/ 66 w 127"/>
                <a:gd name="T17" fmla="*/ 0 h 38"/>
                <a:gd name="T18" fmla="*/ 66 w 127"/>
                <a:gd name="T19" fmla="*/ 3 h 38"/>
                <a:gd name="T20" fmla="*/ 124 w 127"/>
                <a:gd name="T21" fmla="*/ 31 h 38"/>
                <a:gd name="T22" fmla="*/ 124 w 127"/>
                <a:gd name="T23" fmla="*/ 36 h 38"/>
                <a:gd name="T24" fmla="*/ 3 w 127"/>
                <a:gd name="T25" fmla="*/ 36 h 38"/>
                <a:gd name="T26" fmla="*/ 3 w 127"/>
                <a:gd name="T27" fmla="*/ 31 h 38"/>
                <a:gd name="T28" fmla="*/ 66 w 127"/>
                <a:gd name="T29" fmla="*/ 3 h 38"/>
                <a:gd name="T30" fmla="*/ 66 w 127"/>
                <a:gd name="T31" fmla="*/ 0 h 38"/>
                <a:gd name="T32" fmla="*/ 66 w 127"/>
                <a:gd name="T33" fmla="*/ 3 h 38"/>
                <a:gd name="T34" fmla="*/ 66 w 127"/>
                <a:gd name="T3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38">
                  <a:moveTo>
                    <a:pt x="66" y="0"/>
                  </a:moveTo>
                  <a:lnTo>
                    <a:pt x="66" y="0"/>
                  </a:lnTo>
                  <a:lnTo>
                    <a:pt x="0" y="28"/>
                  </a:lnTo>
                  <a:lnTo>
                    <a:pt x="0" y="38"/>
                  </a:lnTo>
                  <a:lnTo>
                    <a:pt x="127" y="38"/>
                  </a:lnTo>
                  <a:lnTo>
                    <a:pt x="127" y="28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3"/>
                  </a:lnTo>
                  <a:lnTo>
                    <a:pt x="124" y="31"/>
                  </a:lnTo>
                  <a:lnTo>
                    <a:pt x="124" y="36"/>
                  </a:lnTo>
                  <a:lnTo>
                    <a:pt x="3" y="36"/>
                  </a:lnTo>
                  <a:lnTo>
                    <a:pt x="3" y="31"/>
                  </a:lnTo>
                  <a:lnTo>
                    <a:pt x="66" y="3"/>
                  </a:lnTo>
                  <a:lnTo>
                    <a:pt x="66" y="0"/>
                  </a:lnTo>
                  <a:lnTo>
                    <a:pt x="66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0" name="Freeform 2078">
              <a:extLst>
                <a:ext uri="{FF2B5EF4-FFF2-40B4-BE49-F238E27FC236}">
                  <a16:creationId xmlns:a16="http://schemas.microsoft.com/office/drawing/2014/main" id="{B565FA6F-0D15-41EE-9408-55DD99ABC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" y="2229"/>
              <a:ext cx="119" cy="94"/>
            </a:xfrm>
            <a:custGeom>
              <a:avLst/>
              <a:gdLst>
                <a:gd name="T0" fmla="*/ 0 w 119"/>
                <a:gd name="T1" fmla="*/ 94 h 94"/>
                <a:gd name="T2" fmla="*/ 0 w 119"/>
                <a:gd name="T3" fmla="*/ 25 h 94"/>
                <a:gd name="T4" fmla="*/ 61 w 119"/>
                <a:gd name="T5" fmla="*/ 0 h 94"/>
                <a:gd name="T6" fmla="*/ 119 w 119"/>
                <a:gd name="T7" fmla="*/ 25 h 94"/>
                <a:gd name="T8" fmla="*/ 117 w 119"/>
                <a:gd name="T9" fmla="*/ 94 h 94"/>
                <a:gd name="T10" fmla="*/ 0 w 119"/>
                <a:gd name="T1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94">
                  <a:moveTo>
                    <a:pt x="0" y="94"/>
                  </a:moveTo>
                  <a:lnTo>
                    <a:pt x="0" y="25"/>
                  </a:lnTo>
                  <a:lnTo>
                    <a:pt x="61" y="0"/>
                  </a:lnTo>
                  <a:lnTo>
                    <a:pt x="119" y="25"/>
                  </a:lnTo>
                  <a:lnTo>
                    <a:pt x="117" y="94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1" name="Freeform 2079">
              <a:extLst>
                <a:ext uri="{FF2B5EF4-FFF2-40B4-BE49-F238E27FC236}">
                  <a16:creationId xmlns:a16="http://schemas.microsoft.com/office/drawing/2014/main" id="{CB86BEB8-0F96-428F-82B5-2C16AD7EA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" y="2229"/>
              <a:ext cx="119" cy="94"/>
            </a:xfrm>
            <a:custGeom>
              <a:avLst/>
              <a:gdLst>
                <a:gd name="T0" fmla="*/ 0 w 119"/>
                <a:gd name="T1" fmla="*/ 94 h 94"/>
                <a:gd name="T2" fmla="*/ 0 w 119"/>
                <a:gd name="T3" fmla="*/ 25 h 94"/>
                <a:gd name="T4" fmla="*/ 61 w 119"/>
                <a:gd name="T5" fmla="*/ 0 h 94"/>
                <a:gd name="T6" fmla="*/ 119 w 119"/>
                <a:gd name="T7" fmla="*/ 25 h 94"/>
                <a:gd name="T8" fmla="*/ 117 w 119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94">
                  <a:moveTo>
                    <a:pt x="0" y="94"/>
                  </a:moveTo>
                  <a:lnTo>
                    <a:pt x="0" y="25"/>
                  </a:lnTo>
                  <a:lnTo>
                    <a:pt x="61" y="0"/>
                  </a:lnTo>
                  <a:lnTo>
                    <a:pt x="119" y="25"/>
                  </a:lnTo>
                  <a:lnTo>
                    <a:pt x="117" y="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2" name="Freeform 2080">
              <a:extLst>
                <a:ext uri="{FF2B5EF4-FFF2-40B4-BE49-F238E27FC236}">
                  <a16:creationId xmlns:a16="http://schemas.microsoft.com/office/drawing/2014/main" id="{AA3E5F97-9551-4852-A260-ADB3A9B79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2226"/>
              <a:ext cx="121" cy="97"/>
            </a:xfrm>
            <a:custGeom>
              <a:avLst/>
              <a:gdLst>
                <a:gd name="T0" fmla="*/ 2 w 121"/>
                <a:gd name="T1" fmla="*/ 97 h 97"/>
                <a:gd name="T2" fmla="*/ 2 w 121"/>
                <a:gd name="T3" fmla="*/ 31 h 97"/>
                <a:gd name="T4" fmla="*/ 63 w 121"/>
                <a:gd name="T5" fmla="*/ 3 h 97"/>
                <a:gd name="T6" fmla="*/ 119 w 121"/>
                <a:gd name="T7" fmla="*/ 31 h 97"/>
                <a:gd name="T8" fmla="*/ 119 w 121"/>
                <a:gd name="T9" fmla="*/ 97 h 97"/>
                <a:gd name="T10" fmla="*/ 121 w 121"/>
                <a:gd name="T11" fmla="*/ 97 h 97"/>
                <a:gd name="T12" fmla="*/ 121 w 121"/>
                <a:gd name="T13" fmla="*/ 28 h 97"/>
                <a:gd name="T14" fmla="*/ 63 w 121"/>
                <a:gd name="T15" fmla="*/ 0 h 97"/>
                <a:gd name="T16" fmla="*/ 2 w 121"/>
                <a:gd name="T17" fmla="*/ 28 h 97"/>
                <a:gd name="T18" fmla="*/ 0 w 121"/>
                <a:gd name="T19" fmla="*/ 97 h 97"/>
                <a:gd name="T20" fmla="*/ 2 w 121"/>
                <a:gd name="T21" fmla="*/ 97 h 97"/>
                <a:gd name="T22" fmla="*/ 2 w 121"/>
                <a:gd name="T2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" h="97">
                  <a:moveTo>
                    <a:pt x="2" y="97"/>
                  </a:moveTo>
                  <a:lnTo>
                    <a:pt x="2" y="31"/>
                  </a:lnTo>
                  <a:lnTo>
                    <a:pt x="63" y="3"/>
                  </a:lnTo>
                  <a:lnTo>
                    <a:pt x="119" y="31"/>
                  </a:lnTo>
                  <a:lnTo>
                    <a:pt x="119" y="97"/>
                  </a:lnTo>
                  <a:lnTo>
                    <a:pt x="121" y="97"/>
                  </a:lnTo>
                  <a:lnTo>
                    <a:pt x="121" y="28"/>
                  </a:lnTo>
                  <a:lnTo>
                    <a:pt x="63" y="0"/>
                  </a:lnTo>
                  <a:lnTo>
                    <a:pt x="2" y="28"/>
                  </a:lnTo>
                  <a:lnTo>
                    <a:pt x="0" y="97"/>
                  </a:lnTo>
                  <a:lnTo>
                    <a:pt x="2" y="97"/>
                  </a:lnTo>
                  <a:lnTo>
                    <a:pt x="2" y="9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3" name="Freeform 2081">
              <a:extLst>
                <a:ext uri="{FF2B5EF4-FFF2-40B4-BE49-F238E27FC236}">
                  <a16:creationId xmlns:a16="http://schemas.microsoft.com/office/drawing/2014/main" id="{829FBAF5-CE4F-4612-944D-3D0E6DE2A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" y="2209"/>
              <a:ext cx="124" cy="35"/>
            </a:xfrm>
            <a:custGeom>
              <a:avLst/>
              <a:gdLst>
                <a:gd name="T0" fmla="*/ 63 w 124"/>
                <a:gd name="T1" fmla="*/ 0 h 35"/>
                <a:gd name="T2" fmla="*/ 0 w 124"/>
                <a:gd name="T3" fmla="*/ 28 h 35"/>
                <a:gd name="T4" fmla="*/ 0 w 124"/>
                <a:gd name="T5" fmla="*/ 35 h 35"/>
                <a:gd name="T6" fmla="*/ 124 w 124"/>
                <a:gd name="T7" fmla="*/ 35 h 35"/>
                <a:gd name="T8" fmla="*/ 124 w 124"/>
                <a:gd name="T9" fmla="*/ 28 h 35"/>
                <a:gd name="T10" fmla="*/ 63 w 12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5">
                  <a:moveTo>
                    <a:pt x="63" y="0"/>
                  </a:moveTo>
                  <a:lnTo>
                    <a:pt x="0" y="28"/>
                  </a:lnTo>
                  <a:lnTo>
                    <a:pt x="0" y="35"/>
                  </a:lnTo>
                  <a:lnTo>
                    <a:pt x="124" y="35"/>
                  </a:lnTo>
                  <a:lnTo>
                    <a:pt x="124" y="28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4" name="Freeform 2082">
              <a:extLst>
                <a:ext uri="{FF2B5EF4-FFF2-40B4-BE49-F238E27FC236}">
                  <a16:creationId xmlns:a16="http://schemas.microsoft.com/office/drawing/2014/main" id="{E1452CD7-D0DB-488D-8473-20A081286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" y="2206"/>
              <a:ext cx="127" cy="38"/>
            </a:xfrm>
            <a:custGeom>
              <a:avLst/>
              <a:gdLst>
                <a:gd name="T0" fmla="*/ 66 w 127"/>
                <a:gd name="T1" fmla="*/ 3 h 38"/>
                <a:gd name="T2" fmla="*/ 66 w 127"/>
                <a:gd name="T3" fmla="*/ 0 h 38"/>
                <a:gd name="T4" fmla="*/ 0 w 127"/>
                <a:gd name="T5" fmla="*/ 31 h 38"/>
                <a:gd name="T6" fmla="*/ 0 w 127"/>
                <a:gd name="T7" fmla="*/ 38 h 38"/>
                <a:gd name="T8" fmla="*/ 127 w 127"/>
                <a:gd name="T9" fmla="*/ 38 h 38"/>
                <a:gd name="T10" fmla="*/ 127 w 127"/>
                <a:gd name="T11" fmla="*/ 31 h 38"/>
                <a:gd name="T12" fmla="*/ 66 w 127"/>
                <a:gd name="T13" fmla="*/ 0 h 38"/>
                <a:gd name="T14" fmla="*/ 66 w 127"/>
                <a:gd name="T15" fmla="*/ 0 h 38"/>
                <a:gd name="T16" fmla="*/ 66 w 127"/>
                <a:gd name="T17" fmla="*/ 3 h 38"/>
                <a:gd name="T18" fmla="*/ 66 w 127"/>
                <a:gd name="T19" fmla="*/ 3 h 38"/>
                <a:gd name="T20" fmla="*/ 124 w 127"/>
                <a:gd name="T21" fmla="*/ 31 h 38"/>
                <a:gd name="T22" fmla="*/ 124 w 127"/>
                <a:gd name="T23" fmla="*/ 36 h 38"/>
                <a:gd name="T24" fmla="*/ 3 w 127"/>
                <a:gd name="T25" fmla="*/ 38 h 38"/>
                <a:gd name="T26" fmla="*/ 3 w 127"/>
                <a:gd name="T27" fmla="*/ 31 h 38"/>
                <a:gd name="T28" fmla="*/ 66 w 127"/>
                <a:gd name="T29" fmla="*/ 3 h 38"/>
                <a:gd name="T30" fmla="*/ 66 w 127"/>
                <a:gd name="T31" fmla="*/ 3 h 38"/>
                <a:gd name="T32" fmla="*/ 66 w 127"/>
                <a:gd name="T33" fmla="*/ 3 h 38"/>
                <a:gd name="T34" fmla="*/ 66 w 127"/>
                <a:gd name="T3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38">
                  <a:moveTo>
                    <a:pt x="66" y="3"/>
                  </a:moveTo>
                  <a:lnTo>
                    <a:pt x="66" y="0"/>
                  </a:lnTo>
                  <a:lnTo>
                    <a:pt x="0" y="31"/>
                  </a:lnTo>
                  <a:lnTo>
                    <a:pt x="0" y="38"/>
                  </a:lnTo>
                  <a:lnTo>
                    <a:pt x="127" y="38"/>
                  </a:lnTo>
                  <a:lnTo>
                    <a:pt x="127" y="31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124" y="31"/>
                  </a:lnTo>
                  <a:lnTo>
                    <a:pt x="124" y="36"/>
                  </a:lnTo>
                  <a:lnTo>
                    <a:pt x="3" y="38"/>
                  </a:lnTo>
                  <a:lnTo>
                    <a:pt x="3" y="31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5" name="Freeform 2083">
              <a:extLst>
                <a:ext uri="{FF2B5EF4-FFF2-40B4-BE49-F238E27FC236}">
                  <a16:creationId xmlns:a16="http://schemas.microsoft.com/office/drawing/2014/main" id="{DAD7D95A-3CB3-4156-99F4-E1A8CE5E0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2216"/>
              <a:ext cx="119" cy="91"/>
            </a:xfrm>
            <a:custGeom>
              <a:avLst/>
              <a:gdLst>
                <a:gd name="T0" fmla="*/ 0 w 119"/>
                <a:gd name="T1" fmla="*/ 91 h 91"/>
                <a:gd name="T2" fmla="*/ 0 w 119"/>
                <a:gd name="T3" fmla="*/ 26 h 91"/>
                <a:gd name="T4" fmla="*/ 61 w 119"/>
                <a:gd name="T5" fmla="*/ 0 h 91"/>
                <a:gd name="T6" fmla="*/ 119 w 119"/>
                <a:gd name="T7" fmla="*/ 26 h 91"/>
                <a:gd name="T8" fmla="*/ 117 w 119"/>
                <a:gd name="T9" fmla="*/ 91 h 91"/>
                <a:gd name="T10" fmla="*/ 0 w 119"/>
                <a:gd name="T1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91">
                  <a:moveTo>
                    <a:pt x="0" y="91"/>
                  </a:moveTo>
                  <a:lnTo>
                    <a:pt x="0" y="26"/>
                  </a:lnTo>
                  <a:lnTo>
                    <a:pt x="61" y="0"/>
                  </a:lnTo>
                  <a:lnTo>
                    <a:pt x="119" y="26"/>
                  </a:lnTo>
                  <a:lnTo>
                    <a:pt x="117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6" name="Freeform 2084">
              <a:extLst>
                <a:ext uri="{FF2B5EF4-FFF2-40B4-BE49-F238E27FC236}">
                  <a16:creationId xmlns:a16="http://schemas.microsoft.com/office/drawing/2014/main" id="{53C656C9-1143-44D3-9F3F-973FE21FC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2216"/>
              <a:ext cx="119" cy="91"/>
            </a:xfrm>
            <a:custGeom>
              <a:avLst/>
              <a:gdLst>
                <a:gd name="T0" fmla="*/ 0 w 119"/>
                <a:gd name="T1" fmla="*/ 91 h 91"/>
                <a:gd name="T2" fmla="*/ 0 w 119"/>
                <a:gd name="T3" fmla="*/ 26 h 91"/>
                <a:gd name="T4" fmla="*/ 61 w 119"/>
                <a:gd name="T5" fmla="*/ 0 h 91"/>
                <a:gd name="T6" fmla="*/ 119 w 119"/>
                <a:gd name="T7" fmla="*/ 26 h 91"/>
                <a:gd name="T8" fmla="*/ 117 w 119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91">
                  <a:moveTo>
                    <a:pt x="0" y="91"/>
                  </a:moveTo>
                  <a:lnTo>
                    <a:pt x="0" y="26"/>
                  </a:lnTo>
                  <a:lnTo>
                    <a:pt x="61" y="0"/>
                  </a:lnTo>
                  <a:lnTo>
                    <a:pt x="119" y="26"/>
                  </a:lnTo>
                  <a:lnTo>
                    <a:pt x="117" y="9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7" name="Freeform 2085">
              <a:extLst>
                <a:ext uri="{FF2B5EF4-FFF2-40B4-BE49-F238E27FC236}">
                  <a16:creationId xmlns:a16="http://schemas.microsoft.com/office/drawing/2014/main" id="{A2B3C990-5B24-44E4-9D31-FC5920B2B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" y="2214"/>
              <a:ext cx="121" cy="93"/>
            </a:xfrm>
            <a:custGeom>
              <a:avLst/>
              <a:gdLst>
                <a:gd name="T0" fmla="*/ 2 w 121"/>
                <a:gd name="T1" fmla="*/ 93 h 93"/>
                <a:gd name="T2" fmla="*/ 2 w 121"/>
                <a:gd name="T3" fmla="*/ 28 h 93"/>
                <a:gd name="T4" fmla="*/ 63 w 121"/>
                <a:gd name="T5" fmla="*/ 2 h 93"/>
                <a:gd name="T6" fmla="*/ 119 w 121"/>
                <a:gd name="T7" fmla="*/ 28 h 93"/>
                <a:gd name="T8" fmla="*/ 119 w 121"/>
                <a:gd name="T9" fmla="*/ 93 h 93"/>
                <a:gd name="T10" fmla="*/ 121 w 121"/>
                <a:gd name="T11" fmla="*/ 93 h 93"/>
                <a:gd name="T12" fmla="*/ 121 w 121"/>
                <a:gd name="T13" fmla="*/ 28 h 93"/>
                <a:gd name="T14" fmla="*/ 63 w 121"/>
                <a:gd name="T15" fmla="*/ 0 h 93"/>
                <a:gd name="T16" fmla="*/ 2 w 121"/>
                <a:gd name="T17" fmla="*/ 28 h 93"/>
                <a:gd name="T18" fmla="*/ 0 w 121"/>
                <a:gd name="T19" fmla="*/ 93 h 93"/>
                <a:gd name="T20" fmla="*/ 2 w 121"/>
                <a:gd name="T21" fmla="*/ 93 h 93"/>
                <a:gd name="T22" fmla="*/ 2 w 121"/>
                <a:gd name="T2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" h="93">
                  <a:moveTo>
                    <a:pt x="2" y="93"/>
                  </a:moveTo>
                  <a:lnTo>
                    <a:pt x="2" y="28"/>
                  </a:lnTo>
                  <a:lnTo>
                    <a:pt x="63" y="2"/>
                  </a:lnTo>
                  <a:lnTo>
                    <a:pt x="119" y="28"/>
                  </a:lnTo>
                  <a:lnTo>
                    <a:pt x="119" y="93"/>
                  </a:lnTo>
                  <a:lnTo>
                    <a:pt x="121" y="93"/>
                  </a:lnTo>
                  <a:lnTo>
                    <a:pt x="121" y="28"/>
                  </a:lnTo>
                  <a:lnTo>
                    <a:pt x="63" y="0"/>
                  </a:lnTo>
                  <a:lnTo>
                    <a:pt x="2" y="28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8" name="Freeform 2086">
              <a:extLst>
                <a:ext uri="{FF2B5EF4-FFF2-40B4-BE49-F238E27FC236}">
                  <a16:creationId xmlns:a16="http://schemas.microsoft.com/office/drawing/2014/main" id="{13BB255F-914D-4B92-87DA-436AEEE38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2267"/>
              <a:ext cx="17" cy="25"/>
            </a:xfrm>
            <a:custGeom>
              <a:avLst/>
              <a:gdLst>
                <a:gd name="T0" fmla="*/ 0 w 17"/>
                <a:gd name="T1" fmla="*/ 25 h 25"/>
                <a:gd name="T2" fmla="*/ 0 w 17"/>
                <a:gd name="T3" fmla="*/ 0 h 25"/>
                <a:gd name="T4" fmla="*/ 17 w 17"/>
                <a:gd name="T5" fmla="*/ 0 h 25"/>
                <a:gd name="T6" fmla="*/ 0 w 17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5">
                  <a:moveTo>
                    <a:pt x="0" y="25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9" name="Freeform 2087">
              <a:extLst>
                <a:ext uri="{FF2B5EF4-FFF2-40B4-BE49-F238E27FC236}">
                  <a16:creationId xmlns:a16="http://schemas.microsoft.com/office/drawing/2014/main" id="{A28460F7-E9CA-44A8-8DE8-A448EE911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2267"/>
              <a:ext cx="17" cy="25"/>
            </a:xfrm>
            <a:custGeom>
              <a:avLst/>
              <a:gdLst>
                <a:gd name="T0" fmla="*/ 0 w 17"/>
                <a:gd name="T1" fmla="*/ 25 h 25"/>
                <a:gd name="T2" fmla="*/ 0 w 17"/>
                <a:gd name="T3" fmla="*/ 0 h 25"/>
                <a:gd name="T4" fmla="*/ 17 w 17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5">
                  <a:moveTo>
                    <a:pt x="0" y="25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0" name="Freeform 2088">
              <a:extLst>
                <a:ext uri="{FF2B5EF4-FFF2-40B4-BE49-F238E27FC236}">
                  <a16:creationId xmlns:a16="http://schemas.microsoft.com/office/drawing/2014/main" id="{03E0869E-A662-41A7-869A-6636F43DD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" y="2264"/>
              <a:ext cx="20" cy="28"/>
            </a:xfrm>
            <a:custGeom>
              <a:avLst/>
              <a:gdLst>
                <a:gd name="T0" fmla="*/ 3 w 20"/>
                <a:gd name="T1" fmla="*/ 28 h 28"/>
                <a:gd name="T2" fmla="*/ 3 w 20"/>
                <a:gd name="T3" fmla="*/ 3 h 28"/>
                <a:gd name="T4" fmla="*/ 20 w 20"/>
                <a:gd name="T5" fmla="*/ 3 h 28"/>
                <a:gd name="T6" fmla="*/ 20 w 20"/>
                <a:gd name="T7" fmla="*/ 0 h 28"/>
                <a:gd name="T8" fmla="*/ 0 w 20"/>
                <a:gd name="T9" fmla="*/ 0 h 28"/>
                <a:gd name="T10" fmla="*/ 0 w 20"/>
                <a:gd name="T11" fmla="*/ 28 h 28"/>
                <a:gd name="T12" fmla="*/ 3 w 20"/>
                <a:gd name="T13" fmla="*/ 28 h 28"/>
                <a:gd name="T14" fmla="*/ 3 w 2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3" y="28"/>
                  </a:moveTo>
                  <a:lnTo>
                    <a:pt x="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1" name="Freeform 2089">
              <a:extLst>
                <a:ext uri="{FF2B5EF4-FFF2-40B4-BE49-F238E27FC236}">
                  <a16:creationId xmlns:a16="http://schemas.microsoft.com/office/drawing/2014/main" id="{E3571B50-8F6C-49AF-A891-B7F10CAC9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" y="2211"/>
              <a:ext cx="20" cy="28"/>
            </a:xfrm>
            <a:custGeom>
              <a:avLst/>
              <a:gdLst>
                <a:gd name="T0" fmla="*/ 0 w 20"/>
                <a:gd name="T1" fmla="*/ 28 h 28"/>
                <a:gd name="T2" fmla="*/ 0 w 20"/>
                <a:gd name="T3" fmla="*/ 0 h 28"/>
                <a:gd name="T4" fmla="*/ 20 w 20"/>
                <a:gd name="T5" fmla="*/ 0 h 28"/>
                <a:gd name="T6" fmla="*/ 0 w 20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0" y="28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2" name="Freeform 2090">
              <a:extLst>
                <a:ext uri="{FF2B5EF4-FFF2-40B4-BE49-F238E27FC236}">
                  <a16:creationId xmlns:a16="http://schemas.microsoft.com/office/drawing/2014/main" id="{24C309AC-5EC8-4B96-A397-20973BFA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" y="2211"/>
              <a:ext cx="20" cy="28"/>
            </a:xfrm>
            <a:custGeom>
              <a:avLst/>
              <a:gdLst>
                <a:gd name="T0" fmla="*/ 0 w 20"/>
                <a:gd name="T1" fmla="*/ 28 h 28"/>
                <a:gd name="T2" fmla="*/ 0 w 20"/>
                <a:gd name="T3" fmla="*/ 0 h 28"/>
                <a:gd name="T4" fmla="*/ 20 w 20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8">
                  <a:moveTo>
                    <a:pt x="0" y="28"/>
                  </a:moveTo>
                  <a:lnTo>
                    <a:pt x="0" y="0"/>
                  </a:lnTo>
                  <a:lnTo>
                    <a:pt x="2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3" name="Freeform 2091">
              <a:extLst>
                <a:ext uri="{FF2B5EF4-FFF2-40B4-BE49-F238E27FC236}">
                  <a16:creationId xmlns:a16="http://schemas.microsoft.com/office/drawing/2014/main" id="{DB03AC0D-9175-4398-A516-69848434B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" y="2211"/>
              <a:ext cx="20" cy="28"/>
            </a:xfrm>
            <a:custGeom>
              <a:avLst/>
              <a:gdLst>
                <a:gd name="T0" fmla="*/ 3 w 20"/>
                <a:gd name="T1" fmla="*/ 28 h 28"/>
                <a:gd name="T2" fmla="*/ 3 w 20"/>
                <a:gd name="T3" fmla="*/ 3 h 28"/>
                <a:gd name="T4" fmla="*/ 20 w 20"/>
                <a:gd name="T5" fmla="*/ 3 h 28"/>
                <a:gd name="T6" fmla="*/ 20 w 20"/>
                <a:gd name="T7" fmla="*/ 0 h 28"/>
                <a:gd name="T8" fmla="*/ 0 w 20"/>
                <a:gd name="T9" fmla="*/ 0 h 28"/>
                <a:gd name="T10" fmla="*/ 0 w 20"/>
                <a:gd name="T11" fmla="*/ 28 h 28"/>
                <a:gd name="T12" fmla="*/ 3 w 20"/>
                <a:gd name="T13" fmla="*/ 28 h 28"/>
                <a:gd name="T14" fmla="*/ 3 w 2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3" y="28"/>
                  </a:moveTo>
                  <a:lnTo>
                    <a:pt x="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4" name="Freeform 2092">
              <a:extLst>
                <a:ext uri="{FF2B5EF4-FFF2-40B4-BE49-F238E27FC236}">
                  <a16:creationId xmlns:a16="http://schemas.microsoft.com/office/drawing/2014/main" id="{BC372FB1-6109-4575-8030-5680E2A2B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" y="2211"/>
              <a:ext cx="17" cy="28"/>
            </a:xfrm>
            <a:custGeom>
              <a:avLst/>
              <a:gdLst>
                <a:gd name="T0" fmla="*/ 0 w 17"/>
                <a:gd name="T1" fmla="*/ 28 h 28"/>
                <a:gd name="T2" fmla="*/ 0 w 17"/>
                <a:gd name="T3" fmla="*/ 0 h 28"/>
                <a:gd name="T4" fmla="*/ 17 w 17"/>
                <a:gd name="T5" fmla="*/ 0 h 28"/>
                <a:gd name="T6" fmla="*/ 0 w 1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8">
                  <a:moveTo>
                    <a:pt x="0" y="2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5" name="Freeform 2093">
              <a:extLst>
                <a:ext uri="{FF2B5EF4-FFF2-40B4-BE49-F238E27FC236}">
                  <a16:creationId xmlns:a16="http://schemas.microsoft.com/office/drawing/2014/main" id="{03E6BC5A-7FE9-4968-A831-E796F8115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" y="2211"/>
              <a:ext cx="17" cy="28"/>
            </a:xfrm>
            <a:custGeom>
              <a:avLst/>
              <a:gdLst>
                <a:gd name="T0" fmla="*/ 0 w 17"/>
                <a:gd name="T1" fmla="*/ 28 h 28"/>
                <a:gd name="T2" fmla="*/ 0 w 17"/>
                <a:gd name="T3" fmla="*/ 0 h 28"/>
                <a:gd name="T4" fmla="*/ 17 w 17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8">
                  <a:moveTo>
                    <a:pt x="0" y="28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6" name="Freeform 2094">
              <a:extLst>
                <a:ext uri="{FF2B5EF4-FFF2-40B4-BE49-F238E27FC236}">
                  <a16:creationId xmlns:a16="http://schemas.microsoft.com/office/drawing/2014/main" id="{4AB1637E-A033-448F-A48F-2129E8619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" y="2211"/>
              <a:ext cx="17" cy="28"/>
            </a:xfrm>
            <a:custGeom>
              <a:avLst/>
              <a:gdLst>
                <a:gd name="T0" fmla="*/ 2 w 17"/>
                <a:gd name="T1" fmla="*/ 28 h 28"/>
                <a:gd name="T2" fmla="*/ 2 w 17"/>
                <a:gd name="T3" fmla="*/ 3 h 28"/>
                <a:gd name="T4" fmla="*/ 17 w 17"/>
                <a:gd name="T5" fmla="*/ 3 h 28"/>
                <a:gd name="T6" fmla="*/ 17 w 17"/>
                <a:gd name="T7" fmla="*/ 0 h 28"/>
                <a:gd name="T8" fmla="*/ 0 w 17"/>
                <a:gd name="T9" fmla="*/ 0 h 28"/>
                <a:gd name="T10" fmla="*/ 0 w 17"/>
                <a:gd name="T11" fmla="*/ 28 h 28"/>
                <a:gd name="T12" fmla="*/ 2 w 17"/>
                <a:gd name="T13" fmla="*/ 28 h 28"/>
                <a:gd name="T14" fmla="*/ 2 w 1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8">
                  <a:moveTo>
                    <a:pt x="2" y="28"/>
                  </a:moveTo>
                  <a:lnTo>
                    <a:pt x="2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7" name="Freeform 2095">
              <a:extLst>
                <a:ext uri="{FF2B5EF4-FFF2-40B4-BE49-F238E27FC236}">
                  <a16:creationId xmlns:a16="http://schemas.microsoft.com/office/drawing/2014/main" id="{340DF24C-33F2-425C-8E2B-F14057F09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2024"/>
              <a:ext cx="99" cy="28"/>
            </a:xfrm>
            <a:custGeom>
              <a:avLst/>
              <a:gdLst>
                <a:gd name="T0" fmla="*/ 51 w 99"/>
                <a:gd name="T1" fmla="*/ 0 h 28"/>
                <a:gd name="T2" fmla="*/ 0 w 99"/>
                <a:gd name="T3" fmla="*/ 20 h 28"/>
                <a:gd name="T4" fmla="*/ 0 w 99"/>
                <a:gd name="T5" fmla="*/ 28 h 28"/>
                <a:gd name="T6" fmla="*/ 99 w 99"/>
                <a:gd name="T7" fmla="*/ 28 h 28"/>
                <a:gd name="T8" fmla="*/ 99 w 99"/>
                <a:gd name="T9" fmla="*/ 20 h 28"/>
                <a:gd name="T10" fmla="*/ 51 w 9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28">
                  <a:moveTo>
                    <a:pt x="51" y="0"/>
                  </a:moveTo>
                  <a:lnTo>
                    <a:pt x="0" y="20"/>
                  </a:lnTo>
                  <a:lnTo>
                    <a:pt x="0" y="28"/>
                  </a:lnTo>
                  <a:lnTo>
                    <a:pt x="99" y="28"/>
                  </a:lnTo>
                  <a:lnTo>
                    <a:pt x="99" y="20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8" name="Freeform 2096">
              <a:extLst>
                <a:ext uri="{FF2B5EF4-FFF2-40B4-BE49-F238E27FC236}">
                  <a16:creationId xmlns:a16="http://schemas.microsoft.com/office/drawing/2014/main" id="{D84F7B5B-C582-496E-BA24-1E245A67F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2022"/>
              <a:ext cx="101" cy="30"/>
            </a:xfrm>
            <a:custGeom>
              <a:avLst/>
              <a:gdLst>
                <a:gd name="T0" fmla="*/ 51 w 101"/>
                <a:gd name="T1" fmla="*/ 2 h 30"/>
                <a:gd name="T2" fmla="*/ 51 w 101"/>
                <a:gd name="T3" fmla="*/ 0 h 30"/>
                <a:gd name="T4" fmla="*/ 0 w 101"/>
                <a:gd name="T5" fmla="*/ 22 h 30"/>
                <a:gd name="T6" fmla="*/ 0 w 101"/>
                <a:gd name="T7" fmla="*/ 30 h 30"/>
                <a:gd name="T8" fmla="*/ 101 w 101"/>
                <a:gd name="T9" fmla="*/ 30 h 30"/>
                <a:gd name="T10" fmla="*/ 101 w 101"/>
                <a:gd name="T11" fmla="*/ 22 h 30"/>
                <a:gd name="T12" fmla="*/ 51 w 101"/>
                <a:gd name="T13" fmla="*/ 0 h 30"/>
                <a:gd name="T14" fmla="*/ 51 w 101"/>
                <a:gd name="T15" fmla="*/ 0 h 30"/>
                <a:gd name="T16" fmla="*/ 51 w 101"/>
                <a:gd name="T17" fmla="*/ 2 h 30"/>
                <a:gd name="T18" fmla="*/ 51 w 101"/>
                <a:gd name="T19" fmla="*/ 2 h 30"/>
                <a:gd name="T20" fmla="*/ 99 w 101"/>
                <a:gd name="T21" fmla="*/ 25 h 30"/>
                <a:gd name="T22" fmla="*/ 99 w 101"/>
                <a:gd name="T23" fmla="*/ 27 h 30"/>
                <a:gd name="T24" fmla="*/ 3 w 101"/>
                <a:gd name="T25" fmla="*/ 27 h 30"/>
                <a:gd name="T26" fmla="*/ 3 w 101"/>
                <a:gd name="T27" fmla="*/ 25 h 30"/>
                <a:gd name="T28" fmla="*/ 53 w 101"/>
                <a:gd name="T29" fmla="*/ 2 h 30"/>
                <a:gd name="T30" fmla="*/ 51 w 101"/>
                <a:gd name="T31" fmla="*/ 2 h 30"/>
                <a:gd name="T32" fmla="*/ 51 w 101"/>
                <a:gd name="T33" fmla="*/ 2 h 30"/>
                <a:gd name="T34" fmla="*/ 51 w 101"/>
                <a:gd name="T35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30">
                  <a:moveTo>
                    <a:pt x="51" y="2"/>
                  </a:moveTo>
                  <a:lnTo>
                    <a:pt x="51" y="0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101" y="30"/>
                  </a:lnTo>
                  <a:lnTo>
                    <a:pt x="101" y="22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53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9" name="Freeform 2097">
              <a:extLst>
                <a:ext uri="{FF2B5EF4-FFF2-40B4-BE49-F238E27FC236}">
                  <a16:creationId xmlns:a16="http://schemas.microsoft.com/office/drawing/2014/main" id="{20E7A923-3ED5-4607-BF98-78D64DF53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" y="2029"/>
              <a:ext cx="93" cy="73"/>
            </a:xfrm>
            <a:custGeom>
              <a:avLst/>
              <a:gdLst>
                <a:gd name="T0" fmla="*/ 0 w 93"/>
                <a:gd name="T1" fmla="*/ 73 h 73"/>
                <a:gd name="T2" fmla="*/ 0 w 93"/>
                <a:gd name="T3" fmla="*/ 20 h 73"/>
                <a:gd name="T4" fmla="*/ 48 w 93"/>
                <a:gd name="T5" fmla="*/ 0 h 73"/>
                <a:gd name="T6" fmla="*/ 93 w 93"/>
                <a:gd name="T7" fmla="*/ 20 h 73"/>
                <a:gd name="T8" fmla="*/ 93 w 93"/>
                <a:gd name="T9" fmla="*/ 73 h 73"/>
                <a:gd name="T10" fmla="*/ 0 w 93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73">
                  <a:moveTo>
                    <a:pt x="0" y="73"/>
                  </a:moveTo>
                  <a:lnTo>
                    <a:pt x="0" y="20"/>
                  </a:lnTo>
                  <a:lnTo>
                    <a:pt x="48" y="0"/>
                  </a:lnTo>
                  <a:lnTo>
                    <a:pt x="93" y="20"/>
                  </a:lnTo>
                  <a:lnTo>
                    <a:pt x="93" y="73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0" name="Freeform 2098">
              <a:extLst>
                <a:ext uri="{FF2B5EF4-FFF2-40B4-BE49-F238E27FC236}">
                  <a16:creationId xmlns:a16="http://schemas.microsoft.com/office/drawing/2014/main" id="{B2D91CCE-F17B-4952-9CDD-28D2A8F6B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" y="2029"/>
              <a:ext cx="93" cy="73"/>
            </a:xfrm>
            <a:custGeom>
              <a:avLst/>
              <a:gdLst>
                <a:gd name="T0" fmla="*/ 0 w 93"/>
                <a:gd name="T1" fmla="*/ 73 h 73"/>
                <a:gd name="T2" fmla="*/ 0 w 93"/>
                <a:gd name="T3" fmla="*/ 20 h 73"/>
                <a:gd name="T4" fmla="*/ 48 w 93"/>
                <a:gd name="T5" fmla="*/ 0 h 73"/>
                <a:gd name="T6" fmla="*/ 93 w 93"/>
                <a:gd name="T7" fmla="*/ 20 h 73"/>
                <a:gd name="T8" fmla="*/ 93 w 93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73">
                  <a:moveTo>
                    <a:pt x="0" y="73"/>
                  </a:moveTo>
                  <a:lnTo>
                    <a:pt x="0" y="20"/>
                  </a:lnTo>
                  <a:lnTo>
                    <a:pt x="48" y="0"/>
                  </a:lnTo>
                  <a:lnTo>
                    <a:pt x="93" y="20"/>
                  </a:lnTo>
                  <a:lnTo>
                    <a:pt x="93" y="7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1" name="Freeform 2099">
              <a:extLst>
                <a:ext uri="{FF2B5EF4-FFF2-40B4-BE49-F238E27FC236}">
                  <a16:creationId xmlns:a16="http://schemas.microsoft.com/office/drawing/2014/main" id="{FEF63B51-E6AC-4DE7-A466-79C1B9BD8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" y="2027"/>
              <a:ext cx="96" cy="75"/>
            </a:xfrm>
            <a:custGeom>
              <a:avLst/>
              <a:gdLst>
                <a:gd name="T0" fmla="*/ 2 w 96"/>
                <a:gd name="T1" fmla="*/ 75 h 75"/>
                <a:gd name="T2" fmla="*/ 2 w 96"/>
                <a:gd name="T3" fmla="*/ 22 h 75"/>
                <a:gd name="T4" fmla="*/ 48 w 96"/>
                <a:gd name="T5" fmla="*/ 2 h 75"/>
                <a:gd name="T6" fmla="*/ 93 w 96"/>
                <a:gd name="T7" fmla="*/ 22 h 75"/>
                <a:gd name="T8" fmla="*/ 93 w 96"/>
                <a:gd name="T9" fmla="*/ 75 h 75"/>
                <a:gd name="T10" fmla="*/ 96 w 96"/>
                <a:gd name="T11" fmla="*/ 75 h 75"/>
                <a:gd name="T12" fmla="*/ 96 w 96"/>
                <a:gd name="T13" fmla="*/ 22 h 75"/>
                <a:gd name="T14" fmla="*/ 48 w 96"/>
                <a:gd name="T15" fmla="*/ 0 h 75"/>
                <a:gd name="T16" fmla="*/ 0 w 96"/>
                <a:gd name="T17" fmla="*/ 22 h 75"/>
                <a:gd name="T18" fmla="*/ 0 w 96"/>
                <a:gd name="T19" fmla="*/ 75 h 75"/>
                <a:gd name="T20" fmla="*/ 2 w 96"/>
                <a:gd name="T21" fmla="*/ 75 h 75"/>
                <a:gd name="T22" fmla="*/ 2 w 96"/>
                <a:gd name="T2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5">
                  <a:moveTo>
                    <a:pt x="2" y="75"/>
                  </a:moveTo>
                  <a:lnTo>
                    <a:pt x="2" y="22"/>
                  </a:lnTo>
                  <a:lnTo>
                    <a:pt x="48" y="2"/>
                  </a:lnTo>
                  <a:lnTo>
                    <a:pt x="93" y="22"/>
                  </a:lnTo>
                  <a:lnTo>
                    <a:pt x="93" y="75"/>
                  </a:lnTo>
                  <a:lnTo>
                    <a:pt x="96" y="75"/>
                  </a:lnTo>
                  <a:lnTo>
                    <a:pt x="96" y="22"/>
                  </a:lnTo>
                  <a:lnTo>
                    <a:pt x="48" y="0"/>
                  </a:lnTo>
                  <a:lnTo>
                    <a:pt x="0" y="22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2" name="Freeform 2100">
              <a:extLst>
                <a:ext uri="{FF2B5EF4-FFF2-40B4-BE49-F238E27FC236}">
                  <a16:creationId xmlns:a16="http://schemas.microsoft.com/office/drawing/2014/main" id="{287FAAD7-62C0-4A9B-B71D-060C9D35F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2054"/>
              <a:ext cx="15" cy="21"/>
            </a:xfrm>
            <a:custGeom>
              <a:avLst/>
              <a:gdLst>
                <a:gd name="T0" fmla="*/ 0 w 15"/>
                <a:gd name="T1" fmla="*/ 21 h 21"/>
                <a:gd name="T2" fmla="*/ 0 w 15"/>
                <a:gd name="T3" fmla="*/ 0 h 21"/>
                <a:gd name="T4" fmla="*/ 15 w 15"/>
                <a:gd name="T5" fmla="*/ 0 h 21"/>
                <a:gd name="T6" fmla="*/ 0 w 15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0" y="21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3" name="Freeform 2101">
              <a:extLst>
                <a:ext uri="{FF2B5EF4-FFF2-40B4-BE49-F238E27FC236}">
                  <a16:creationId xmlns:a16="http://schemas.microsoft.com/office/drawing/2014/main" id="{648D1798-1908-4506-B4A1-45A261683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2054"/>
              <a:ext cx="15" cy="21"/>
            </a:xfrm>
            <a:custGeom>
              <a:avLst/>
              <a:gdLst>
                <a:gd name="T0" fmla="*/ 0 w 15"/>
                <a:gd name="T1" fmla="*/ 21 h 21"/>
                <a:gd name="T2" fmla="*/ 0 w 15"/>
                <a:gd name="T3" fmla="*/ 0 h 21"/>
                <a:gd name="T4" fmla="*/ 15 w 1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0" y="21"/>
                  </a:move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4" name="Freeform 2102">
              <a:extLst>
                <a:ext uri="{FF2B5EF4-FFF2-40B4-BE49-F238E27FC236}">
                  <a16:creationId xmlns:a16="http://schemas.microsoft.com/office/drawing/2014/main" id="{AECBEB52-D812-4075-A2BA-67DA12504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" y="2052"/>
              <a:ext cx="18" cy="23"/>
            </a:xfrm>
            <a:custGeom>
              <a:avLst/>
              <a:gdLst>
                <a:gd name="T0" fmla="*/ 3 w 18"/>
                <a:gd name="T1" fmla="*/ 23 h 23"/>
                <a:gd name="T2" fmla="*/ 3 w 18"/>
                <a:gd name="T3" fmla="*/ 2 h 23"/>
                <a:gd name="T4" fmla="*/ 18 w 18"/>
                <a:gd name="T5" fmla="*/ 2 h 23"/>
                <a:gd name="T6" fmla="*/ 18 w 18"/>
                <a:gd name="T7" fmla="*/ 0 h 23"/>
                <a:gd name="T8" fmla="*/ 0 w 18"/>
                <a:gd name="T9" fmla="*/ 0 h 23"/>
                <a:gd name="T10" fmla="*/ 0 w 18"/>
                <a:gd name="T11" fmla="*/ 23 h 23"/>
                <a:gd name="T12" fmla="*/ 3 w 18"/>
                <a:gd name="T13" fmla="*/ 23 h 23"/>
                <a:gd name="T14" fmla="*/ 3 w 1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3">
                  <a:moveTo>
                    <a:pt x="3" y="23"/>
                  </a:moveTo>
                  <a:lnTo>
                    <a:pt x="3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3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5" name="Freeform 2103">
              <a:extLst>
                <a:ext uri="{FF2B5EF4-FFF2-40B4-BE49-F238E27FC236}">
                  <a16:creationId xmlns:a16="http://schemas.microsoft.com/office/drawing/2014/main" id="{8AC6C192-2049-4C00-AA13-C7C31203D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" y="2054"/>
              <a:ext cx="13" cy="21"/>
            </a:xfrm>
            <a:custGeom>
              <a:avLst/>
              <a:gdLst>
                <a:gd name="T0" fmla="*/ 0 w 13"/>
                <a:gd name="T1" fmla="*/ 21 h 21"/>
                <a:gd name="T2" fmla="*/ 0 w 13"/>
                <a:gd name="T3" fmla="*/ 0 h 21"/>
                <a:gd name="T4" fmla="*/ 13 w 13"/>
                <a:gd name="T5" fmla="*/ 0 h 21"/>
                <a:gd name="T6" fmla="*/ 0 w 13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1">
                  <a:moveTo>
                    <a:pt x="0" y="21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6" name="Freeform 2104">
              <a:extLst>
                <a:ext uri="{FF2B5EF4-FFF2-40B4-BE49-F238E27FC236}">
                  <a16:creationId xmlns:a16="http://schemas.microsoft.com/office/drawing/2014/main" id="{610AFAEF-24E8-4B28-AFA7-617E66175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" y="2054"/>
              <a:ext cx="13" cy="21"/>
            </a:xfrm>
            <a:custGeom>
              <a:avLst/>
              <a:gdLst>
                <a:gd name="T0" fmla="*/ 0 w 13"/>
                <a:gd name="T1" fmla="*/ 21 h 21"/>
                <a:gd name="T2" fmla="*/ 0 w 13"/>
                <a:gd name="T3" fmla="*/ 0 h 21"/>
                <a:gd name="T4" fmla="*/ 13 w 1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21"/>
                  </a:moveTo>
                  <a:lnTo>
                    <a:pt x="0" y="0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7" name="Freeform 2105">
              <a:extLst>
                <a:ext uri="{FF2B5EF4-FFF2-40B4-BE49-F238E27FC236}">
                  <a16:creationId xmlns:a16="http://schemas.microsoft.com/office/drawing/2014/main" id="{5A23AD81-DCF5-4671-BDCC-C7485DDFE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2052"/>
              <a:ext cx="15" cy="23"/>
            </a:xfrm>
            <a:custGeom>
              <a:avLst/>
              <a:gdLst>
                <a:gd name="T0" fmla="*/ 2 w 15"/>
                <a:gd name="T1" fmla="*/ 23 h 23"/>
                <a:gd name="T2" fmla="*/ 2 w 15"/>
                <a:gd name="T3" fmla="*/ 2 h 23"/>
                <a:gd name="T4" fmla="*/ 15 w 15"/>
                <a:gd name="T5" fmla="*/ 2 h 23"/>
                <a:gd name="T6" fmla="*/ 15 w 15"/>
                <a:gd name="T7" fmla="*/ 0 h 23"/>
                <a:gd name="T8" fmla="*/ 0 w 15"/>
                <a:gd name="T9" fmla="*/ 0 h 23"/>
                <a:gd name="T10" fmla="*/ 0 w 15"/>
                <a:gd name="T11" fmla="*/ 23 h 23"/>
                <a:gd name="T12" fmla="*/ 2 w 15"/>
                <a:gd name="T13" fmla="*/ 23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lnTo>
                    <a:pt x="2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2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8" name="Freeform 2106">
              <a:extLst>
                <a:ext uri="{FF2B5EF4-FFF2-40B4-BE49-F238E27FC236}">
                  <a16:creationId xmlns:a16="http://schemas.microsoft.com/office/drawing/2014/main" id="{E2C03C6D-D521-4109-B411-1F13B1B96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" y="2047"/>
              <a:ext cx="101" cy="28"/>
            </a:xfrm>
            <a:custGeom>
              <a:avLst/>
              <a:gdLst>
                <a:gd name="T0" fmla="*/ 53 w 101"/>
                <a:gd name="T1" fmla="*/ 0 h 28"/>
                <a:gd name="T2" fmla="*/ 2 w 101"/>
                <a:gd name="T3" fmla="*/ 23 h 28"/>
                <a:gd name="T4" fmla="*/ 0 w 101"/>
                <a:gd name="T5" fmla="*/ 28 h 28"/>
                <a:gd name="T6" fmla="*/ 101 w 101"/>
                <a:gd name="T7" fmla="*/ 28 h 28"/>
                <a:gd name="T8" fmla="*/ 101 w 101"/>
                <a:gd name="T9" fmla="*/ 23 h 28"/>
                <a:gd name="T10" fmla="*/ 53 w 101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28">
                  <a:moveTo>
                    <a:pt x="53" y="0"/>
                  </a:moveTo>
                  <a:lnTo>
                    <a:pt x="2" y="23"/>
                  </a:lnTo>
                  <a:lnTo>
                    <a:pt x="0" y="28"/>
                  </a:lnTo>
                  <a:lnTo>
                    <a:pt x="101" y="28"/>
                  </a:lnTo>
                  <a:lnTo>
                    <a:pt x="101" y="2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9" name="Freeform 2107">
              <a:extLst>
                <a:ext uri="{FF2B5EF4-FFF2-40B4-BE49-F238E27FC236}">
                  <a16:creationId xmlns:a16="http://schemas.microsoft.com/office/drawing/2014/main" id="{6C281F27-1351-4D1F-A6A0-60BC38B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" y="2044"/>
              <a:ext cx="101" cy="33"/>
            </a:xfrm>
            <a:custGeom>
              <a:avLst/>
              <a:gdLst>
                <a:gd name="T0" fmla="*/ 53 w 101"/>
                <a:gd name="T1" fmla="*/ 3 h 33"/>
                <a:gd name="T2" fmla="*/ 50 w 101"/>
                <a:gd name="T3" fmla="*/ 0 h 33"/>
                <a:gd name="T4" fmla="*/ 0 w 101"/>
                <a:gd name="T5" fmla="*/ 23 h 33"/>
                <a:gd name="T6" fmla="*/ 0 w 101"/>
                <a:gd name="T7" fmla="*/ 33 h 33"/>
                <a:gd name="T8" fmla="*/ 101 w 101"/>
                <a:gd name="T9" fmla="*/ 33 h 33"/>
                <a:gd name="T10" fmla="*/ 101 w 101"/>
                <a:gd name="T11" fmla="*/ 23 h 33"/>
                <a:gd name="T12" fmla="*/ 53 w 101"/>
                <a:gd name="T13" fmla="*/ 0 h 33"/>
                <a:gd name="T14" fmla="*/ 50 w 101"/>
                <a:gd name="T15" fmla="*/ 0 h 33"/>
                <a:gd name="T16" fmla="*/ 53 w 101"/>
                <a:gd name="T17" fmla="*/ 3 h 33"/>
                <a:gd name="T18" fmla="*/ 50 w 101"/>
                <a:gd name="T19" fmla="*/ 3 h 33"/>
                <a:gd name="T20" fmla="*/ 98 w 101"/>
                <a:gd name="T21" fmla="*/ 26 h 33"/>
                <a:gd name="T22" fmla="*/ 98 w 101"/>
                <a:gd name="T23" fmla="*/ 31 h 33"/>
                <a:gd name="T24" fmla="*/ 2 w 101"/>
                <a:gd name="T25" fmla="*/ 31 h 33"/>
                <a:gd name="T26" fmla="*/ 2 w 101"/>
                <a:gd name="T27" fmla="*/ 26 h 33"/>
                <a:gd name="T28" fmla="*/ 53 w 101"/>
                <a:gd name="T29" fmla="*/ 3 h 33"/>
                <a:gd name="T30" fmla="*/ 53 w 101"/>
                <a:gd name="T31" fmla="*/ 3 h 33"/>
                <a:gd name="T32" fmla="*/ 50 w 101"/>
                <a:gd name="T33" fmla="*/ 3 h 33"/>
                <a:gd name="T34" fmla="*/ 53 w 101"/>
                <a:gd name="T35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33">
                  <a:moveTo>
                    <a:pt x="53" y="3"/>
                  </a:moveTo>
                  <a:lnTo>
                    <a:pt x="50" y="0"/>
                  </a:lnTo>
                  <a:lnTo>
                    <a:pt x="0" y="23"/>
                  </a:lnTo>
                  <a:lnTo>
                    <a:pt x="0" y="33"/>
                  </a:lnTo>
                  <a:lnTo>
                    <a:pt x="101" y="33"/>
                  </a:lnTo>
                  <a:lnTo>
                    <a:pt x="101" y="23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53" y="3"/>
                  </a:lnTo>
                  <a:lnTo>
                    <a:pt x="50" y="3"/>
                  </a:lnTo>
                  <a:lnTo>
                    <a:pt x="98" y="26"/>
                  </a:lnTo>
                  <a:lnTo>
                    <a:pt x="98" y="31"/>
                  </a:lnTo>
                  <a:lnTo>
                    <a:pt x="2" y="31"/>
                  </a:lnTo>
                  <a:lnTo>
                    <a:pt x="2" y="26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0" y="3"/>
                  </a:lnTo>
                  <a:lnTo>
                    <a:pt x="53" y="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0" name="Freeform 2108">
              <a:extLst>
                <a:ext uri="{FF2B5EF4-FFF2-40B4-BE49-F238E27FC236}">
                  <a16:creationId xmlns:a16="http://schemas.microsoft.com/office/drawing/2014/main" id="{F4D3C1ED-F8C5-437A-A837-4A5B018BB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" y="2052"/>
              <a:ext cx="93" cy="73"/>
            </a:xfrm>
            <a:custGeom>
              <a:avLst/>
              <a:gdLst>
                <a:gd name="T0" fmla="*/ 0 w 93"/>
                <a:gd name="T1" fmla="*/ 73 h 73"/>
                <a:gd name="T2" fmla="*/ 0 w 93"/>
                <a:gd name="T3" fmla="*/ 20 h 73"/>
                <a:gd name="T4" fmla="*/ 48 w 93"/>
                <a:gd name="T5" fmla="*/ 0 h 73"/>
                <a:gd name="T6" fmla="*/ 93 w 93"/>
                <a:gd name="T7" fmla="*/ 20 h 73"/>
                <a:gd name="T8" fmla="*/ 93 w 93"/>
                <a:gd name="T9" fmla="*/ 73 h 73"/>
                <a:gd name="T10" fmla="*/ 0 w 93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73">
                  <a:moveTo>
                    <a:pt x="0" y="73"/>
                  </a:moveTo>
                  <a:lnTo>
                    <a:pt x="0" y="20"/>
                  </a:lnTo>
                  <a:lnTo>
                    <a:pt x="48" y="0"/>
                  </a:lnTo>
                  <a:lnTo>
                    <a:pt x="93" y="20"/>
                  </a:lnTo>
                  <a:lnTo>
                    <a:pt x="93" y="73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1" name="Freeform 2109">
              <a:extLst>
                <a:ext uri="{FF2B5EF4-FFF2-40B4-BE49-F238E27FC236}">
                  <a16:creationId xmlns:a16="http://schemas.microsoft.com/office/drawing/2014/main" id="{63B4B024-34DB-443E-B997-AEE35E589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" y="2052"/>
              <a:ext cx="93" cy="73"/>
            </a:xfrm>
            <a:custGeom>
              <a:avLst/>
              <a:gdLst>
                <a:gd name="T0" fmla="*/ 0 w 93"/>
                <a:gd name="T1" fmla="*/ 73 h 73"/>
                <a:gd name="T2" fmla="*/ 0 w 93"/>
                <a:gd name="T3" fmla="*/ 20 h 73"/>
                <a:gd name="T4" fmla="*/ 48 w 93"/>
                <a:gd name="T5" fmla="*/ 0 h 73"/>
                <a:gd name="T6" fmla="*/ 93 w 93"/>
                <a:gd name="T7" fmla="*/ 20 h 73"/>
                <a:gd name="T8" fmla="*/ 93 w 93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73">
                  <a:moveTo>
                    <a:pt x="0" y="73"/>
                  </a:moveTo>
                  <a:lnTo>
                    <a:pt x="0" y="20"/>
                  </a:lnTo>
                  <a:lnTo>
                    <a:pt x="48" y="0"/>
                  </a:lnTo>
                  <a:lnTo>
                    <a:pt x="93" y="20"/>
                  </a:lnTo>
                  <a:lnTo>
                    <a:pt x="93" y="7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2" name="Freeform 2110">
              <a:extLst>
                <a:ext uri="{FF2B5EF4-FFF2-40B4-BE49-F238E27FC236}">
                  <a16:creationId xmlns:a16="http://schemas.microsoft.com/office/drawing/2014/main" id="{52BF6C2E-654A-4218-A33A-AE9995CDF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" y="2052"/>
              <a:ext cx="96" cy="73"/>
            </a:xfrm>
            <a:custGeom>
              <a:avLst/>
              <a:gdLst>
                <a:gd name="T0" fmla="*/ 3 w 96"/>
                <a:gd name="T1" fmla="*/ 73 h 73"/>
                <a:gd name="T2" fmla="*/ 3 w 96"/>
                <a:gd name="T3" fmla="*/ 23 h 73"/>
                <a:gd name="T4" fmla="*/ 51 w 96"/>
                <a:gd name="T5" fmla="*/ 2 h 73"/>
                <a:gd name="T6" fmla="*/ 94 w 96"/>
                <a:gd name="T7" fmla="*/ 23 h 73"/>
                <a:gd name="T8" fmla="*/ 94 w 96"/>
                <a:gd name="T9" fmla="*/ 73 h 73"/>
                <a:gd name="T10" fmla="*/ 96 w 96"/>
                <a:gd name="T11" fmla="*/ 73 h 73"/>
                <a:gd name="T12" fmla="*/ 96 w 96"/>
                <a:gd name="T13" fmla="*/ 20 h 73"/>
                <a:gd name="T14" fmla="*/ 51 w 96"/>
                <a:gd name="T15" fmla="*/ 0 h 73"/>
                <a:gd name="T16" fmla="*/ 0 w 96"/>
                <a:gd name="T17" fmla="*/ 20 h 73"/>
                <a:gd name="T18" fmla="*/ 0 w 96"/>
                <a:gd name="T19" fmla="*/ 73 h 73"/>
                <a:gd name="T20" fmla="*/ 3 w 96"/>
                <a:gd name="T21" fmla="*/ 73 h 73"/>
                <a:gd name="T22" fmla="*/ 3 w 96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3">
                  <a:moveTo>
                    <a:pt x="3" y="73"/>
                  </a:moveTo>
                  <a:lnTo>
                    <a:pt x="3" y="23"/>
                  </a:lnTo>
                  <a:lnTo>
                    <a:pt x="51" y="2"/>
                  </a:lnTo>
                  <a:lnTo>
                    <a:pt x="94" y="23"/>
                  </a:lnTo>
                  <a:lnTo>
                    <a:pt x="94" y="73"/>
                  </a:lnTo>
                  <a:lnTo>
                    <a:pt x="96" y="73"/>
                  </a:lnTo>
                  <a:lnTo>
                    <a:pt x="96" y="20"/>
                  </a:lnTo>
                  <a:lnTo>
                    <a:pt x="51" y="0"/>
                  </a:lnTo>
                  <a:lnTo>
                    <a:pt x="0" y="20"/>
                  </a:lnTo>
                  <a:lnTo>
                    <a:pt x="0" y="73"/>
                  </a:lnTo>
                  <a:lnTo>
                    <a:pt x="3" y="73"/>
                  </a:lnTo>
                  <a:lnTo>
                    <a:pt x="3" y="7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3" name="Freeform 2111">
              <a:extLst>
                <a:ext uri="{FF2B5EF4-FFF2-40B4-BE49-F238E27FC236}">
                  <a16:creationId xmlns:a16="http://schemas.microsoft.com/office/drawing/2014/main" id="{EFFEF538-A840-4808-A3CA-EE6A13B3C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077"/>
              <a:ext cx="15" cy="23"/>
            </a:xfrm>
            <a:custGeom>
              <a:avLst/>
              <a:gdLst>
                <a:gd name="T0" fmla="*/ 0 w 15"/>
                <a:gd name="T1" fmla="*/ 23 h 23"/>
                <a:gd name="T2" fmla="*/ 0 w 15"/>
                <a:gd name="T3" fmla="*/ 0 h 23"/>
                <a:gd name="T4" fmla="*/ 15 w 15"/>
                <a:gd name="T5" fmla="*/ 0 h 23"/>
                <a:gd name="T6" fmla="*/ 0 w 15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3">
                  <a:moveTo>
                    <a:pt x="0" y="23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4" name="Freeform 2112">
              <a:extLst>
                <a:ext uri="{FF2B5EF4-FFF2-40B4-BE49-F238E27FC236}">
                  <a16:creationId xmlns:a16="http://schemas.microsoft.com/office/drawing/2014/main" id="{CE88F2E9-9F97-4173-80F1-9CFC9108E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077"/>
              <a:ext cx="15" cy="23"/>
            </a:xfrm>
            <a:custGeom>
              <a:avLst/>
              <a:gdLst>
                <a:gd name="T0" fmla="*/ 0 w 15"/>
                <a:gd name="T1" fmla="*/ 23 h 23"/>
                <a:gd name="T2" fmla="*/ 0 w 15"/>
                <a:gd name="T3" fmla="*/ 0 h 23"/>
                <a:gd name="T4" fmla="*/ 15 w 15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3">
                  <a:moveTo>
                    <a:pt x="0" y="23"/>
                  </a:move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5" name="Freeform 2113">
              <a:extLst>
                <a:ext uri="{FF2B5EF4-FFF2-40B4-BE49-F238E27FC236}">
                  <a16:creationId xmlns:a16="http://schemas.microsoft.com/office/drawing/2014/main" id="{898AD080-6A14-4762-A4A0-A434D1EFE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077"/>
              <a:ext cx="15" cy="23"/>
            </a:xfrm>
            <a:custGeom>
              <a:avLst/>
              <a:gdLst>
                <a:gd name="T0" fmla="*/ 2 w 15"/>
                <a:gd name="T1" fmla="*/ 23 h 23"/>
                <a:gd name="T2" fmla="*/ 2 w 15"/>
                <a:gd name="T3" fmla="*/ 3 h 23"/>
                <a:gd name="T4" fmla="*/ 15 w 15"/>
                <a:gd name="T5" fmla="*/ 3 h 23"/>
                <a:gd name="T6" fmla="*/ 15 w 15"/>
                <a:gd name="T7" fmla="*/ 0 h 23"/>
                <a:gd name="T8" fmla="*/ 0 w 15"/>
                <a:gd name="T9" fmla="*/ 0 h 23"/>
                <a:gd name="T10" fmla="*/ 0 w 15"/>
                <a:gd name="T11" fmla="*/ 23 h 23"/>
                <a:gd name="T12" fmla="*/ 2 w 15"/>
                <a:gd name="T13" fmla="*/ 23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lnTo>
                    <a:pt x="2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2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6" name="Freeform 2114">
              <a:extLst>
                <a:ext uri="{FF2B5EF4-FFF2-40B4-BE49-F238E27FC236}">
                  <a16:creationId xmlns:a16="http://schemas.microsoft.com/office/drawing/2014/main" id="{5AF92A10-5AF6-48AC-B549-1A6C4E92E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2077"/>
              <a:ext cx="15" cy="23"/>
            </a:xfrm>
            <a:custGeom>
              <a:avLst/>
              <a:gdLst>
                <a:gd name="T0" fmla="*/ 0 w 15"/>
                <a:gd name="T1" fmla="*/ 23 h 23"/>
                <a:gd name="T2" fmla="*/ 0 w 15"/>
                <a:gd name="T3" fmla="*/ 0 h 23"/>
                <a:gd name="T4" fmla="*/ 15 w 15"/>
                <a:gd name="T5" fmla="*/ 0 h 23"/>
                <a:gd name="T6" fmla="*/ 0 w 15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3">
                  <a:moveTo>
                    <a:pt x="0" y="23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7" name="Freeform 2115">
              <a:extLst>
                <a:ext uri="{FF2B5EF4-FFF2-40B4-BE49-F238E27FC236}">
                  <a16:creationId xmlns:a16="http://schemas.microsoft.com/office/drawing/2014/main" id="{95E0A716-C789-400B-95F7-FE5007315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2077"/>
              <a:ext cx="15" cy="23"/>
            </a:xfrm>
            <a:custGeom>
              <a:avLst/>
              <a:gdLst>
                <a:gd name="T0" fmla="*/ 0 w 15"/>
                <a:gd name="T1" fmla="*/ 23 h 23"/>
                <a:gd name="T2" fmla="*/ 0 w 15"/>
                <a:gd name="T3" fmla="*/ 0 h 23"/>
                <a:gd name="T4" fmla="*/ 15 w 15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3">
                  <a:moveTo>
                    <a:pt x="0" y="23"/>
                  </a:move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8" name="Freeform 2116">
              <a:extLst>
                <a:ext uri="{FF2B5EF4-FFF2-40B4-BE49-F238E27FC236}">
                  <a16:creationId xmlns:a16="http://schemas.microsoft.com/office/drawing/2014/main" id="{FC4A0564-5AEE-4354-8153-954B5711C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77"/>
              <a:ext cx="18" cy="23"/>
            </a:xfrm>
            <a:custGeom>
              <a:avLst/>
              <a:gdLst>
                <a:gd name="T0" fmla="*/ 3 w 18"/>
                <a:gd name="T1" fmla="*/ 23 h 23"/>
                <a:gd name="T2" fmla="*/ 3 w 18"/>
                <a:gd name="T3" fmla="*/ 3 h 23"/>
                <a:gd name="T4" fmla="*/ 18 w 18"/>
                <a:gd name="T5" fmla="*/ 3 h 23"/>
                <a:gd name="T6" fmla="*/ 18 w 18"/>
                <a:gd name="T7" fmla="*/ 0 h 23"/>
                <a:gd name="T8" fmla="*/ 0 w 18"/>
                <a:gd name="T9" fmla="*/ 0 h 23"/>
                <a:gd name="T10" fmla="*/ 0 w 18"/>
                <a:gd name="T11" fmla="*/ 23 h 23"/>
                <a:gd name="T12" fmla="*/ 3 w 18"/>
                <a:gd name="T13" fmla="*/ 23 h 23"/>
                <a:gd name="T14" fmla="*/ 3 w 1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3">
                  <a:moveTo>
                    <a:pt x="3" y="23"/>
                  </a:moveTo>
                  <a:lnTo>
                    <a:pt x="3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3" y="2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9" name="Freeform 2117">
              <a:extLst>
                <a:ext uri="{FF2B5EF4-FFF2-40B4-BE49-F238E27FC236}">
                  <a16:creationId xmlns:a16="http://schemas.microsoft.com/office/drawing/2014/main" id="{EA9396C4-4824-418F-9FF3-7EE40326C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" y="2231"/>
              <a:ext cx="20" cy="28"/>
            </a:xfrm>
            <a:custGeom>
              <a:avLst/>
              <a:gdLst>
                <a:gd name="T0" fmla="*/ 0 w 20"/>
                <a:gd name="T1" fmla="*/ 28 h 28"/>
                <a:gd name="T2" fmla="*/ 0 w 20"/>
                <a:gd name="T3" fmla="*/ 0 h 28"/>
                <a:gd name="T4" fmla="*/ 20 w 20"/>
                <a:gd name="T5" fmla="*/ 0 h 28"/>
                <a:gd name="T6" fmla="*/ 0 w 20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0" y="28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0" name="Freeform 2118">
              <a:extLst>
                <a:ext uri="{FF2B5EF4-FFF2-40B4-BE49-F238E27FC236}">
                  <a16:creationId xmlns:a16="http://schemas.microsoft.com/office/drawing/2014/main" id="{AFA73398-7B0B-46B5-A494-506F94C6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" y="2231"/>
              <a:ext cx="20" cy="28"/>
            </a:xfrm>
            <a:custGeom>
              <a:avLst/>
              <a:gdLst>
                <a:gd name="T0" fmla="*/ 0 w 20"/>
                <a:gd name="T1" fmla="*/ 28 h 28"/>
                <a:gd name="T2" fmla="*/ 0 w 20"/>
                <a:gd name="T3" fmla="*/ 0 h 28"/>
                <a:gd name="T4" fmla="*/ 20 w 20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8">
                  <a:moveTo>
                    <a:pt x="0" y="28"/>
                  </a:moveTo>
                  <a:lnTo>
                    <a:pt x="0" y="0"/>
                  </a:lnTo>
                  <a:lnTo>
                    <a:pt x="2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1" name="Freeform 2119">
              <a:extLst>
                <a:ext uri="{FF2B5EF4-FFF2-40B4-BE49-F238E27FC236}">
                  <a16:creationId xmlns:a16="http://schemas.microsoft.com/office/drawing/2014/main" id="{6FEB5217-766D-4529-9527-30140AAE2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" y="2231"/>
              <a:ext cx="20" cy="28"/>
            </a:xfrm>
            <a:custGeom>
              <a:avLst/>
              <a:gdLst>
                <a:gd name="T0" fmla="*/ 3 w 20"/>
                <a:gd name="T1" fmla="*/ 28 h 28"/>
                <a:gd name="T2" fmla="*/ 3 w 20"/>
                <a:gd name="T3" fmla="*/ 3 h 28"/>
                <a:gd name="T4" fmla="*/ 20 w 20"/>
                <a:gd name="T5" fmla="*/ 3 h 28"/>
                <a:gd name="T6" fmla="*/ 20 w 20"/>
                <a:gd name="T7" fmla="*/ 0 h 28"/>
                <a:gd name="T8" fmla="*/ 0 w 20"/>
                <a:gd name="T9" fmla="*/ 0 h 28"/>
                <a:gd name="T10" fmla="*/ 0 w 20"/>
                <a:gd name="T11" fmla="*/ 28 h 28"/>
                <a:gd name="T12" fmla="*/ 3 w 20"/>
                <a:gd name="T13" fmla="*/ 28 h 28"/>
                <a:gd name="T14" fmla="*/ 3 w 2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3" y="28"/>
                  </a:moveTo>
                  <a:lnTo>
                    <a:pt x="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2" name="Freeform 2120">
              <a:extLst>
                <a:ext uri="{FF2B5EF4-FFF2-40B4-BE49-F238E27FC236}">
                  <a16:creationId xmlns:a16="http://schemas.microsoft.com/office/drawing/2014/main" id="{02C9B589-35E4-4C2F-9A2D-9B0CF621D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" y="2272"/>
              <a:ext cx="17" cy="28"/>
            </a:xfrm>
            <a:custGeom>
              <a:avLst/>
              <a:gdLst>
                <a:gd name="T0" fmla="*/ 0 w 17"/>
                <a:gd name="T1" fmla="*/ 28 h 28"/>
                <a:gd name="T2" fmla="*/ 0 w 17"/>
                <a:gd name="T3" fmla="*/ 0 h 28"/>
                <a:gd name="T4" fmla="*/ 17 w 17"/>
                <a:gd name="T5" fmla="*/ 0 h 28"/>
                <a:gd name="T6" fmla="*/ 0 w 1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8">
                  <a:moveTo>
                    <a:pt x="0" y="2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3" name="Freeform 2121">
              <a:extLst>
                <a:ext uri="{FF2B5EF4-FFF2-40B4-BE49-F238E27FC236}">
                  <a16:creationId xmlns:a16="http://schemas.microsoft.com/office/drawing/2014/main" id="{8958CA79-D289-4DA8-9615-183715746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" y="2272"/>
              <a:ext cx="17" cy="28"/>
            </a:xfrm>
            <a:custGeom>
              <a:avLst/>
              <a:gdLst>
                <a:gd name="T0" fmla="*/ 0 w 17"/>
                <a:gd name="T1" fmla="*/ 28 h 28"/>
                <a:gd name="T2" fmla="*/ 0 w 17"/>
                <a:gd name="T3" fmla="*/ 0 h 28"/>
                <a:gd name="T4" fmla="*/ 17 w 17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8">
                  <a:moveTo>
                    <a:pt x="0" y="28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4" name="Freeform 2122">
              <a:extLst>
                <a:ext uri="{FF2B5EF4-FFF2-40B4-BE49-F238E27FC236}">
                  <a16:creationId xmlns:a16="http://schemas.microsoft.com/office/drawing/2014/main" id="{901F30C7-5B18-42F0-B92B-C16CAA6D7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" y="2269"/>
              <a:ext cx="20" cy="31"/>
            </a:xfrm>
            <a:custGeom>
              <a:avLst/>
              <a:gdLst>
                <a:gd name="T0" fmla="*/ 3 w 20"/>
                <a:gd name="T1" fmla="*/ 31 h 31"/>
                <a:gd name="T2" fmla="*/ 3 w 20"/>
                <a:gd name="T3" fmla="*/ 3 h 31"/>
                <a:gd name="T4" fmla="*/ 20 w 20"/>
                <a:gd name="T5" fmla="*/ 3 h 31"/>
                <a:gd name="T6" fmla="*/ 20 w 20"/>
                <a:gd name="T7" fmla="*/ 0 h 31"/>
                <a:gd name="T8" fmla="*/ 0 w 20"/>
                <a:gd name="T9" fmla="*/ 0 h 31"/>
                <a:gd name="T10" fmla="*/ 0 w 20"/>
                <a:gd name="T11" fmla="*/ 31 h 31"/>
                <a:gd name="T12" fmla="*/ 3 w 20"/>
                <a:gd name="T13" fmla="*/ 31 h 31"/>
                <a:gd name="T14" fmla="*/ 3 w 20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1">
                  <a:moveTo>
                    <a:pt x="3" y="31"/>
                  </a:moveTo>
                  <a:lnTo>
                    <a:pt x="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5" name="Rectangle 2123">
              <a:extLst>
                <a:ext uri="{FF2B5EF4-FFF2-40B4-BE49-F238E27FC236}">
                  <a16:creationId xmlns:a16="http://schemas.microsoft.com/office/drawing/2014/main" id="{DBB16183-9A02-42E4-8025-2D80AFD51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1807"/>
              <a:ext cx="8" cy="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6" name="Freeform 2124">
              <a:extLst>
                <a:ext uri="{FF2B5EF4-FFF2-40B4-BE49-F238E27FC236}">
                  <a16:creationId xmlns:a16="http://schemas.microsoft.com/office/drawing/2014/main" id="{88A84B3D-1A28-4812-8590-7B73358C8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1807"/>
              <a:ext cx="8" cy="172"/>
            </a:xfrm>
            <a:custGeom>
              <a:avLst/>
              <a:gdLst>
                <a:gd name="T0" fmla="*/ 0 w 8"/>
                <a:gd name="T1" fmla="*/ 172 h 172"/>
                <a:gd name="T2" fmla="*/ 0 w 8"/>
                <a:gd name="T3" fmla="*/ 172 h 172"/>
                <a:gd name="T4" fmla="*/ 8 w 8"/>
                <a:gd name="T5" fmla="*/ 172 h 172"/>
                <a:gd name="T6" fmla="*/ 8 w 8"/>
                <a:gd name="T7" fmla="*/ 0 h 172"/>
                <a:gd name="T8" fmla="*/ 0 w 8"/>
                <a:gd name="T9" fmla="*/ 0 h 172"/>
                <a:gd name="T10" fmla="*/ 0 w 8"/>
                <a:gd name="T11" fmla="*/ 172 h 172"/>
                <a:gd name="T12" fmla="*/ 0 w 8"/>
                <a:gd name="T13" fmla="*/ 172 h 172"/>
                <a:gd name="T14" fmla="*/ 0 w 8"/>
                <a:gd name="T15" fmla="*/ 172 h 172"/>
                <a:gd name="T16" fmla="*/ 2 w 8"/>
                <a:gd name="T17" fmla="*/ 172 h 172"/>
                <a:gd name="T18" fmla="*/ 2 w 8"/>
                <a:gd name="T19" fmla="*/ 0 h 172"/>
                <a:gd name="T20" fmla="*/ 5 w 8"/>
                <a:gd name="T21" fmla="*/ 0 h 172"/>
                <a:gd name="T22" fmla="*/ 5 w 8"/>
                <a:gd name="T23" fmla="*/ 169 h 172"/>
                <a:gd name="T24" fmla="*/ 0 w 8"/>
                <a:gd name="T25" fmla="*/ 169 h 172"/>
                <a:gd name="T26" fmla="*/ 0 w 8"/>
                <a:gd name="T27" fmla="*/ 172 h 172"/>
                <a:gd name="T28" fmla="*/ 2 w 8"/>
                <a:gd name="T29" fmla="*/ 172 h 172"/>
                <a:gd name="T30" fmla="*/ 0 w 8"/>
                <a:gd name="T3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72">
                  <a:moveTo>
                    <a:pt x="0" y="172"/>
                  </a:moveTo>
                  <a:lnTo>
                    <a:pt x="0" y="172"/>
                  </a:lnTo>
                  <a:lnTo>
                    <a:pt x="8" y="172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169"/>
                  </a:lnTo>
                  <a:lnTo>
                    <a:pt x="0" y="169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0" y="17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7" name="Freeform 2125">
              <a:extLst>
                <a:ext uri="{FF2B5EF4-FFF2-40B4-BE49-F238E27FC236}">
                  <a16:creationId xmlns:a16="http://schemas.microsoft.com/office/drawing/2014/main" id="{6203787A-94F1-4A10-855D-F4BFCC5DA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1764"/>
              <a:ext cx="33" cy="32"/>
            </a:xfrm>
            <a:custGeom>
              <a:avLst/>
              <a:gdLst>
                <a:gd name="T0" fmla="*/ 8 w 13"/>
                <a:gd name="T1" fmla="*/ 13 h 13"/>
                <a:gd name="T2" fmla="*/ 13 w 13"/>
                <a:gd name="T3" fmla="*/ 7 h 13"/>
                <a:gd name="T4" fmla="*/ 6 w 13"/>
                <a:gd name="T5" fmla="*/ 0 h 13"/>
                <a:gd name="T6" fmla="*/ 0 w 13"/>
                <a:gd name="T7" fmla="*/ 7 h 13"/>
                <a:gd name="T8" fmla="*/ 5 w 13"/>
                <a:gd name="T9" fmla="*/ 13 h 13"/>
                <a:gd name="T10" fmla="*/ 5 w 13"/>
                <a:gd name="T11" fmla="*/ 12 h 13"/>
                <a:gd name="T12" fmla="*/ 1 w 13"/>
                <a:gd name="T13" fmla="*/ 7 h 13"/>
                <a:gd name="T14" fmla="*/ 2 w 13"/>
                <a:gd name="T15" fmla="*/ 3 h 13"/>
                <a:gd name="T16" fmla="*/ 6 w 13"/>
                <a:gd name="T17" fmla="*/ 1 h 13"/>
                <a:gd name="T18" fmla="*/ 10 w 13"/>
                <a:gd name="T19" fmla="*/ 3 h 13"/>
                <a:gd name="T20" fmla="*/ 12 w 13"/>
                <a:gd name="T21" fmla="*/ 7 h 13"/>
                <a:gd name="T22" fmla="*/ 8 w 13"/>
                <a:gd name="T23" fmla="*/ 12 h 13"/>
                <a:gd name="T24" fmla="*/ 8 w 13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8" y="13"/>
                  </a:moveTo>
                  <a:cubicBezTo>
                    <a:pt x="11" y="12"/>
                    <a:pt x="13" y="10"/>
                    <a:pt x="13" y="7"/>
                  </a:cubicBezTo>
                  <a:cubicBezTo>
                    <a:pt x="13" y="3"/>
                    <a:pt x="10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2" y="12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3" y="12"/>
                    <a:pt x="1" y="9"/>
                    <a:pt x="1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3" y="2"/>
                    <a:pt x="5" y="1"/>
                    <a:pt x="6" y="1"/>
                  </a:cubicBezTo>
                  <a:cubicBezTo>
                    <a:pt x="8" y="1"/>
                    <a:pt x="9" y="2"/>
                    <a:pt x="10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9"/>
                    <a:pt x="10" y="11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8" name="Freeform 2126">
              <a:extLst>
                <a:ext uri="{FF2B5EF4-FFF2-40B4-BE49-F238E27FC236}">
                  <a16:creationId xmlns:a16="http://schemas.microsoft.com/office/drawing/2014/main" id="{7D2EB556-5758-4AB2-9C40-972FD0633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" y="1751"/>
              <a:ext cx="63" cy="61"/>
            </a:xfrm>
            <a:custGeom>
              <a:avLst/>
              <a:gdLst>
                <a:gd name="T0" fmla="*/ 16 w 25"/>
                <a:gd name="T1" fmla="*/ 24 h 24"/>
                <a:gd name="T2" fmla="*/ 25 w 25"/>
                <a:gd name="T3" fmla="*/ 12 h 24"/>
                <a:gd name="T4" fmla="*/ 12 w 25"/>
                <a:gd name="T5" fmla="*/ 0 h 24"/>
                <a:gd name="T6" fmla="*/ 0 w 25"/>
                <a:gd name="T7" fmla="*/ 12 h 24"/>
                <a:gd name="T8" fmla="*/ 9 w 25"/>
                <a:gd name="T9" fmla="*/ 24 h 24"/>
                <a:gd name="T10" fmla="*/ 9 w 25"/>
                <a:gd name="T11" fmla="*/ 23 h 24"/>
                <a:gd name="T12" fmla="*/ 1 w 25"/>
                <a:gd name="T13" fmla="*/ 12 h 24"/>
                <a:gd name="T14" fmla="*/ 4 w 25"/>
                <a:gd name="T15" fmla="*/ 4 h 24"/>
                <a:gd name="T16" fmla="*/ 12 w 25"/>
                <a:gd name="T17" fmla="*/ 1 h 24"/>
                <a:gd name="T18" fmla="*/ 20 w 25"/>
                <a:gd name="T19" fmla="*/ 4 h 24"/>
                <a:gd name="T20" fmla="*/ 24 w 25"/>
                <a:gd name="T21" fmla="*/ 12 h 24"/>
                <a:gd name="T22" fmla="*/ 16 w 25"/>
                <a:gd name="T23" fmla="*/ 23 h 24"/>
                <a:gd name="T24" fmla="*/ 16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6" y="24"/>
                  </a:moveTo>
                  <a:cubicBezTo>
                    <a:pt x="21" y="22"/>
                    <a:pt x="25" y="17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7"/>
                    <a:pt x="4" y="22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1"/>
                    <a:pt x="1" y="17"/>
                    <a:pt x="1" y="12"/>
                  </a:cubicBezTo>
                  <a:cubicBezTo>
                    <a:pt x="1" y="9"/>
                    <a:pt x="2" y="6"/>
                    <a:pt x="4" y="4"/>
                  </a:cubicBezTo>
                  <a:cubicBezTo>
                    <a:pt x="6" y="2"/>
                    <a:pt x="9" y="1"/>
                    <a:pt x="12" y="1"/>
                  </a:cubicBezTo>
                  <a:cubicBezTo>
                    <a:pt x="16" y="1"/>
                    <a:pt x="18" y="2"/>
                    <a:pt x="20" y="4"/>
                  </a:cubicBezTo>
                  <a:cubicBezTo>
                    <a:pt x="22" y="6"/>
                    <a:pt x="24" y="9"/>
                    <a:pt x="24" y="12"/>
                  </a:cubicBezTo>
                  <a:cubicBezTo>
                    <a:pt x="24" y="17"/>
                    <a:pt x="20" y="21"/>
                    <a:pt x="16" y="23"/>
                  </a:cubicBezTo>
                  <a:cubicBezTo>
                    <a:pt x="16" y="24"/>
                    <a:pt x="16" y="24"/>
                    <a:pt x="16" y="2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9" name="Freeform 2127">
              <a:extLst>
                <a:ext uri="{FF2B5EF4-FFF2-40B4-BE49-F238E27FC236}">
                  <a16:creationId xmlns:a16="http://schemas.microsoft.com/office/drawing/2014/main" id="{ACB4B845-1E07-42F6-8C2F-554045A10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" y="1736"/>
              <a:ext cx="94" cy="88"/>
            </a:xfrm>
            <a:custGeom>
              <a:avLst/>
              <a:gdLst>
                <a:gd name="T0" fmla="*/ 24 w 37"/>
                <a:gd name="T1" fmla="*/ 35 h 35"/>
                <a:gd name="T2" fmla="*/ 37 w 37"/>
                <a:gd name="T3" fmla="*/ 18 h 35"/>
                <a:gd name="T4" fmla="*/ 18 w 37"/>
                <a:gd name="T5" fmla="*/ 0 h 35"/>
                <a:gd name="T6" fmla="*/ 0 w 37"/>
                <a:gd name="T7" fmla="*/ 18 h 35"/>
                <a:gd name="T8" fmla="*/ 13 w 37"/>
                <a:gd name="T9" fmla="*/ 35 h 35"/>
                <a:gd name="T10" fmla="*/ 14 w 37"/>
                <a:gd name="T11" fmla="*/ 35 h 35"/>
                <a:gd name="T12" fmla="*/ 1 w 37"/>
                <a:gd name="T13" fmla="*/ 18 h 35"/>
                <a:gd name="T14" fmla="*/ 6 w 37"/>
                <a:gd name="T15" fmla="*/ 6 h 35"/>
                <a:gd name="T16" fmla="*/ 18 w 37"/>
                <a:gd name="T17" fmla="*/ 1 h 35"/>
                <a:gd name="T18" fmla="*/ 31 w 37"/>
                <a:gd name="T19" fmla="*/ 6 h 35"/>
                <a:gd name="T20" fmla="*/ 36 w 37"/>
                <a:gd name="T21" fmla="*/ 18 h 35"/>
                <a:gd name="T22" fmla="*/ 23 w 37"/>
                <a:gd name="T23" fmla="*/ 34 h 35"/>
                <a:gd name="T24" fmla="*/ 24 w 3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35">
                  <a:moveTo>
                    <a:pt x="24" y="35"/>
                  </a:moveTo>
                  <a:cubicBezTo>
                    <a:pt x="31" y="33"/>
                    <a:pt x="37" y="26"/>
                    <a:pt x="37" y="18"/>
                  </a:cubicBezTo>
                  <a:cubicBezTo>
                    <a:pt x="37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6"/>
                    <a:pt x="6" y="33"/>
                    <a:pt x="13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6" y="32"/>
                    <a:pt x="1" y="26"/>
                    <a:pt x="1" y="18"/>
                  </a:cubicBezTo>
                  <a:cubicBezTo>
                    <a:pt x="1" y="13"/>
                    <a:pt x="3" y="9"/>
                    <a:pt x="6" y="6"/>
                  </a:cubicBezTo>
                  <a:cubicBezTo>
                    <a:pt x="9" y="2"/>
                    <a:pt x="14" y="1"/>
                    <a:pt x="18" y="1"/>
                  </a:cubicBezTo>
                  <a:cubicBezTo>
                    <a:pt x="23" y="1"/>
                    <a:pt x="28" y="2"/>
                    <a:pt x="31" y="6"/>
                  </a:cubicBezTo>
                  <a:cubicBezTo>
                    <a:pt x="34" y="9"/>
                    <a:pt x="36" y="13"/>
                    <a:pt x="36" y="18"/>
                  </a:cubicBezTo>
                  <a:cubicBezTo>
                    <a:pt x="36" y="26"/>
                    <a:pt x="31" y="32"/>
                    <a:pt x="23" y="34"/>
                  </a:cubicBezTo>
                  <a:cubicBezTo>
                    <a:pt x="24" y="35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0" name="Oval 2128">
              <a:extLst>
                <a:ext uri="{FF2B5EF4-FFF2-40B4-BE49-F238E27FC236}">
                  <a16:creationId xmlns:a16="http://schemas.microsoft.com/office/drawing/2014/main" id="{A85D962C-D816-44F4-BB25-E4A0CB780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1779"/>
              <a:ext cx="8" cy="5"/>
            </a:xfrm>
            <a:prstGeom prst="ellipse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1" name="Freeform 2129">
              <a:extLst>
                <a:ext uri="{FF2B5EF4-FFF2-40B4-BE49-F238E27FC236}">
                  <a16:creationId xmlns:a16="http://schemas.microsoft.com/office/drawing/2014/main" id="{83E8EBEC-3BF5-4D86-8DC1-8817D5D3C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" y="1779"/>
              <a:ext cx="33" cy="30"/>
            </a:xfrm>
            <a:custGeom>
              <a:avLst/>
              <a:gdLst>
                <a:gd name="T0" fmla="*/ 8 w 13"/>
                <a:gd name="T1" fmla="*/ 12 h 12"/>
                <a:gd name="T2" fmla="*/ 13 w 13"/>
                <a:gd name="T3" fmla="*/ 6 h 12"/>
                <a:gd name="T4" fmla="*/ 6 w 13"/>
                <a:gd name="T5" fmla="*/ 0 h 12"/>
                <a:gd name="T6" fmla="*/ 0 w 13"/>
                <a:gd name="T7" fmla="*/ 6 h 12"/>
                <a:gd name="T8" fmla="*/ 4 w 13"/>
                <a:gd name="T9" fmla="*/ 12 h 12"/>
                <a:gd name="T10" fmla="*/ 5 w 13"/>
                <a:gd name="T11" fmla="*/ 12 h 12"/>
                <a:gd name="T12" fmla="*/ 1 w 13"/>
                <a:gd name="T13" fmla="*/ 6 h 12"/>
                <a:gd name="T14" fmla="*/ 2 w 13"/>
                <a:gd name="T15" fmla="*/ 2 h 12"/>
                <a:gd name="T16" fmla="*/ 6 w 13"/>
                <a:gd name="T17" fmla="*/ 1 h 12"/>
                <a:gd name="T18" fmla="*/ 10 w 13"/>
                <a:gd name="T19" fmla="*/ 2 h 12"/>
                <a:gd name="T20" fmla="*/ 12 w 13"/>
                <a:gd name="T21" fmla="*/ 6 h 12"/>
                <a:gd name="T22" fmla="*/ 8 w 13"/>
                <a:gd name="T23" fmla="*/ 12 h 12"/>
                <a:gd name="T24" fmla="*/ 8 w 13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2">
                  <a:moveTo>
                    <a:pt x="8" y="12"/>
                  </a:moveTo>
                  <a:cubicBezTo>
                    <a:pt x="11" y="12"/>
                    <a:pt x="13" y="9"/>
                    <a:pt x="13" y="6"/>
                  </a:cubicBezTo>
                  <a:cubicBezTo>
                    <a:pt x="13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2" y="12"/>
                    <a:pt x="4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1" y="9"/>
                    <a:pt x="1" y="6"/>
                  </a:cubicBezTo>
                  <a:cubicBezTo>
                    <a:pt x="1" y="5"/>
                    <a:pt x="1" y="3"/>
                    <a:pt x="2" y="2"/>
                  </a:cubicBezTo>
                  <a:cubicBezTo>
                    <a:pt x="3" y="1"/>
                    <a:pt x="5" y="1"/>
                    <a:pt x="6" y="1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1" y="3"/>
                    <a:pt x="12" y="5"/>
                    <a:pt x="12" y="6"/>
                  </a:cubicBezTo>
                  <a:cubicBezTo>
                    <a:pt x="12" y="9"/>
                    <a:pt x="10" y="11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2" name="Freeform 2130">
              <a:extLst>
                <a:ext uri="{FF2B5EF4-FFF2-40B4-BE49-F238E27FC236}">
                  <a16:creationId xmlns:a16="http://schemas.microsoft.com/office/drawing/2014/main" id="{C55F7D56-6991-48BF-BE36-7A77732FD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" y="1764"/>
              <a:ext cx="63" cy="60"/>
            </a:xfrm>
            <a:custGeom>
              <a:avLst/>
              <a:gdLst>
                <a:gd name="T0" fmla="*/ 16 w 25"/>
                <a:gd name="T1" fmla="*/ 24 h 24"/>
                <a:gd name="T2" fmla="*/ 25 w 25"/>
                <a:gd name="T3" fmla="*/ 12 h 24"/>
                <a:gd name="T4" fmla="*/ 12 w 25"/>
                <a:gd name="T5" fmla="*/ 0 h 24"/>
                <a:gd name="T6" fmla="*/ 0 w 25"/>
                <a:gd name="T7" fmla="*/ 12 h 24"/>
                <a:gd name="T8" fmla="*/ 9 w 25"/>
                <a:gd name="T9" fmla="*/ 24 h 24"/>
                <a:gd name="T10" fmla="*/ 9 w 25"/>
                <a:gd name="T11" fmla="*/ 23 h 24"/>
                <a:gd name="T12" fmla="*/ 1 w 25"/>
                <a:gd name="T13" fmla="*/ 12 h 24"/>
                <a:gd name="T14" fmla="*/ 4 w 25"/>
                <a:gd name="T15" fmla="*/ 4 h 24"/>
                <a:gd name="T16" fmla="*/ 12 w 25"/>
                <a:gd name="T17" fmla="*/ 1 h 24"/>
                <a:gd name="T18" fmla="*/ 20 w 25"/>
                <a:gd name="T19" fmla="*/ 4 h 24"/>
                <a:gd name="T20" fmla="*/ 24 w 25"/>
                <a:gd name="T21" fmla="*/ 12 h 24"/>
                <a:gd name="T22" fmla="*/ 16 w 25"/>
                <a:gd name="T23" fmla="*/ 23 h 24"/>
                <a:gd name="T24" fmla="*/ 16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6" y="24"/>
                  </a:moveTo>
                  <a:cubicBezTo>
                    <a:pt x="21" y="22"/>
                    <a:pt x="25" y="18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8"/>
                    <a:pt x="4" y="23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22"/>
                    <a:pt x="1" y="17"/>
                    <a:pt x="1" y="12"/>
                  </a:cubicBezTo>
                  <a:cubicBezTo>
                    <a:pt x="1" y="9"/>
                    <a:pt x="2" y="6"/>
                    <a:pt x="4" y="4"/>
                  </a:cubicBezTo>
                  <a:cubicBezTo>
                    <a:pt x="6" y="2"/>
                    <a:pt x="9" y="1"/>
                    <a:pt x="12" y="1"/>
                  </a:cubicBezTo>
                  <a:cubicBezTo>
                    <a:pt x="15" y="1"/>
                    <a:pt x="18" y="2"/>
                    <a:pt x="20" y="4"/>
                  </a:cubicBezTo>
                  <a:cubicBezTo>
                    <a:pt x="22" y="6"/>
                    <a:pt x="24" y="9"/>
                    <a:pt x="24" y="12"/>
                  </a:cubicBezTo>
                  <a:cubicBezTo>
                    <a:pt x="24" y="17"/>
                    <a:pt x="20" y="22"/>
                    <a:pt x="16" y="23"/>
                  </a:cubicBezTo>
                  <a:cubicBezTo>
                    <a:pt x="16" y="24"/>
                    <a:pt x="16" y="24"/>
                    <a:pt x="16" y="24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3" name="Freeform 2131">
              <a:extLst>
                <a:ext uri="{FF2B5EF4-FFF2-40B4-BE49-F238E27FC236}">
                  <a16:creationId xmlns:a16="http://schemas.microsoft.com/office/drawing/2014/main" id="{EEDA222F-5048-4547-A6D6-FE0FC786B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0" y="1748"/>
              <a:ext cx="93" cy="91"/>
            </a:xfrm>
            <a:custGeom>
              <a:avLst/>
              <a:gdLst>
                <a:gd name="T0" fmla="*/ 24 w 37"/>
                <a:gd name="T1" fmla="*/ 36 h 36"/>
                <a:gd name="T2" fmla="*/ 37 w 37"/>
                <a:gd name="T3" fmla="*/ 18 h 36"/>
                <a:gd name="T4" fmla="*/ 18 w 37"/>
                <a:gd name="T5" fmla="*/ 0 h 36"/>
                <a:gd name="T6" fmla="*/ 0 w 37"/>
                <a:gd name="T7" fmla="*/ 18 h 36"/>
                <a:gd name="T8" fmla="*/ 13 w 37"/>
                <a:gd name="T9" fmla="*/ 36 h 36"/>
                <a:gd name="T10" fmla="*/ 14 w 37"/>
                <a:gd name="T11" fmla="*/ 35 h 36"/>
                <a:gd name="T12" fmla="*/ 1 w 37"/>
                <a:gd name="T13" fmla="*/ 18 h 36"/>
                <a:gd name="T14" fmla="*/ 6 w 37"/>
                <a:gd name="T15" fmla="*/ 6 h 36"/>
                <a:gd name="T16" fmla="*/ 18 w 37"/>
                <a:gd name="T17" fmla="*/ 1 h 36"/>
                <a:gd name="T18" fmla="*/ 31 w 37"/>
                <a:gd name="T19" fmla="*/ 6 h 36"/>
                <a:gd name="T20" fmla="*/ 36 w 37"/>
                <a:gd name="T21" fmla="*/ 18 h 36"/>
                <a:gd name="T22" fmla="*/ 23 w 37"/>
                <a:gd name="T23" fmla="*/ 35 h 36"/>
                <a:gd name="T24" fmla="*/ 24 w 3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36">
                  <a:moveTo>
                    <a:pt x="24" y="36"/>
                  </a:moveTo>
                  <a:cubicBezTo>
                    <a:pt x="31" y="33"/>
                    <a:pt x="37" y="26"/>
                    <a:pt x="37" y="18"/>
                  </a:cubicBezTo>
                  <a:cubicBezTo>
                    <a:pt x="37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7"/>
                    <a:pt x="6" y="34"/>
                    <a:pt x="13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6" y="33"/>
                    <a:pt x="1" y="26"/>
                    <a:pt x="1" y="18"/>
                  </a:cubicBezTo>
                  <a:cubicBezTo>
                    <a:pt x="1" y="13"/>
                    <a:pt x="3" y="9"/>
                    <a:pt x="6" y="6"/>
                  </a:cubicBezTo>
                  <a:cubicBezTo>
                    <a:pt x="9" y="3"/>
                    <a:pt x="13" y="1"/>
                    <a:pt x="18" y="1"/>
                  </a:cubicBezTo>
                  <a:cubicBezTo>
                    <a:pt x="23" y="1"/>
                    <a:pt x="27" y="3"/>
                    <a:pt x="31" y="6"/>
                  </a:cubicBezTo>
                  <a:cubicBezTo>
                    <a:pt x="34" y="9"/>
                    <a:pt x="36" y="13"/>
                    <a:pt x="36" y="18"/>
                  </a:cubicBezTo>
                  <a:cubicBezTo>
                    <a:pt x="36" y="26"/>
                    <a:pt x="30" y="33"/>
                    <a:pt x="23" y="35"/>
                  </a:cubicBezTo>
                  <a:cubicBezTo>
                    <a:pt x="24" y="36"/>
                    <a:pt x="24" y="36"/>
                    <a:pt x="24" y="3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4" name="Oval 2132">
              <a:extLst>
                <a:ext uri="{FF2B5EF4-FFF2-40B4-BE49-F238E27FC236}">
                  <a16:creationId xmlns:a16="http://schemas.microsoft.com/office/drawing/2014/main" id="{B6F7DB71-7266-434A-8AAE-DB1E6F6B66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3" y="1791"/>
              <a:ext cx="7" cy="5"/>
            </a:xfrm>
            <a:prstGeom prst="ellipse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5" name="Rectangle 2133">
              <a:extLst>
                <a:ext uri="{FF2B5EF4-FFF2-40B4-BE49-F238E27FC236}">
                  <a16:creationId xmlns:a16="http://schemas.microsoft.com/office/drawing/2014/main" id="{18EE6279-D515-4D65-903E-17988F1D3B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" y="2009"/>
              <a:ext cx="8" cy="1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6" name="Freeform 2134">
              <a:extLst>
                <a:ext uri="{FF2B5EF4-FFF2-40B4-BE49-F238E27FC236}">
                  <a16:creationId xmlns:a16="http://schemas.microsoft.com/office/drawing/2014/main" id="{3FB877CB-23C9-4ACD-849B-9F3210539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2006"/>
              <a:ext cx="8" cy="175"/>
            </a:xfrm>
            <a:custGeom>
              <a:avLst/>
              <a:gdLst>
                <a:gd name="T0" fmla="*/ 0 w 8"/>
                <a:gd name="T1" fmla="*/ 172 h 175"/>
                <a:gd name="T2" fmla="*/ 0 w 8"/>
                <a:gd name="T3" fmla="*/ 175 h 175"/>
                <a:gd name="T4" fmla="*/ 8 w 8"/>
                <a:gd name="T5" fmla="*/ 175 h 175"/>
                <a:gd name="T6" fmla="*/ 8 w 8"/>
                <a:gd name="T7" fmla="*/ 0 h 175"/>
                <a:gd name="T8" fmla="*/ 0 w 8"/>
                <a:gd name="T9" fmla="*/ 0 h 175"/>
                <a:gd name="T10" fmla="*/ 0 w 8"/>
                <a:gd name="T11" fmla="*/ 175 h 175"/>
                <a:gd name="T12" fmla="*/ 0 w 8"/>
                <a:gd name="T13" fmla="*/ 175 h 175"/>
                <a:gd name="T14" fmla="*/ 0 w 8"/>
                <a:gd name="T15" fmla="*/ 172 h 175"/>
                <a:gd name="T16" fmla="*/ 3 w 8"/>
                <a:gd name="T17" fmla="*/ 172 h 175"/>
                <a:gd name="T18" fmla="*/ 3 w 8"/>
                <a:gd name="T19" fmla="*/ 3 h 175"/>
                <a:gd name="T20" fmla="*/ 5 w 8"/>
                <a:gd name="T21" fmla="*/ 3 h 175"/>
                <a:gd name="T22" fmla="*/ 5 w 8"/>
                <a:gd name="T23" fmla="*/ 172 h 175"/>
                <a:gd name="T24" fmla="*/ 0 w 8"/>
                <a:gd name="T25" fmla="*/ 172 h 175"/>
                <a:gd name="T26" fmla="*/ 0 w 8"/>
                <a:gd name="T27" fmla="*/ 172 h 175"/>
                <a:gd name="T28" fmla="*/ 3 w 8"/>
                <a:gd name="T29" fmla="*/ 172 h 175"/>
                <a:gd name="T30" fmla="*/ 0 w 8"/>
                <a:gd name="T31" fmla="*/ 17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75">
                  <a:moveTo>
                    <a:pt x="0" y="172"/>
                  </a:moveTo>
                  <a:lnTo>
                    <a:pt x="0" y="175"/>
                  </a:lnTo>
                  <a:lnTo>
                    <a:pt x="8" y="175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2"/>
                  </a:lnTo>
                  <a:lnTo>
                    <a:pt x="3" y="172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17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3" y="172"/>
                  </a:lnTo>
                  <a:lnTo>
                    <a:pt x="0" y="172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7" name="Freeform 2135">
              <a:extLst>
                <a:ext uri="{FF2B5EF4-FFF2-40B4-BE49-F238E27FC236}">
                  <a16:creationId xmlns:a16="http://schemas.microsoft.com/office/drawing/2014/main" id="{C22BD838-5599-4A62-BDB8-277BA845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966"/>
              <a:ext cx="32" cy="33"/>
            </a:xfrm>
            <a:custGeom>
              <a:avLst/>
              <a:gdLst>
                <a:gd name="T0" fmla="*/ 8 w 13"/>
                <a:gd name="T1" fmla="*/ 13 h 13"/>
                <a:gd name="T2" fmla="*/ 13 w 13"/>
                <a:gd name="T3" fmla="*/ 7 h 13"/>
                <a:gd name="T4" fmla="*/ 7 w 13"/>
                <a:gd name="T5" fmla="*/ 0 h 13"/>
                <a:gd name="T6" fmla="*/ 0 w 13"/>
                <a:gd name="T7" fmla="*/ 7 h 13"/>
                <a:gd name="T8" fmla="*/ 5 w 13"/>
                <a:gd name="T9" fmla="*/ 13 h 13"/>
                <a:gd name="T10" fmla="*/ 5 w 13"/>
                <a:gd name="T11" fmla="*/ 12 h 13"/>
                <a:gd name="T12" fmla="*/ 1 w 13"/>
                <a:gd name="T13" fmla="*/ 7 h 13"/>
                <a:gd name="T14" fmla="*/ 3 w 13"/>
                <a:gd name="T15" fmla="*/ 3 h 13"/>
                <a:gd name="T16" fmla="*/ 7 w 13"/>
                <a:gd name="T17" fmla="*/ 1 h 13"/>
                <a:gd name="T18" fmla="*/ 10 w 13"/>
                <a:gd name="T19" fmla="*/ 3 h 13"/>
                <a:gd name="T20" fmla="*/ 12 w 13"/>
                <a:gd name="T21" fmla="*/ 7 h 13"/>
                <a:gd name="T22" fmla="*/ 8 w 13"/>
                <a:gd name="T23" fmla="*/ 12 h 13"/>
                <a:gd name="T24" fmla="*/ 8 w 13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8" y="13"/>
                  </a:moveTo>
                  <a:cubicBezTo>
                    <a:pt x="11" y="12"/>
                    <a:pt x="13" y="10"/>
                    <a:pt x="13" y="7"/>
                  </a:cubicBez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2" y="12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3" y="11"/>
                    <a:pt x="1" y="9"/>
                    <a:pt x="1" y="7"/>
                  </a:cubicBezTo>
                  <a:cubicBezTo>
                    <a:pt x="1" y="5"/>
                    <a:pt x="2" y="4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1"/>
                    <a:pt x="9" y="2"/>
                    <a:pt x="10" y="3"/>
                  </a:cubicBezTo>
                  <a:cubicBezTo>
                    <a:pt x="11" y="4"/>
                    <a:pt x="12" y="5"/>
                    <a:pt x="12" y="7"/>
                  </a:cubicBezTo>
                  <a:cubicBezTo>
                    <a:pt x="12" y="9"/>
                    <a:pt x="10" y="11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8" name="Freeform 2136">
              <a:extLst>
                <a:ext uri="{FF2B5EF4-FFF2-40B4-BE49-F238E27FC236}">
                  <a16:creationId xmlns:a16="http://schemas.microsoft.com/office/drawing/2014/main" id="{BEF08B25-1AB5-4ECA-A5AC-6FDB3A774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" y="1953"/>
              <a:ext cx="64" cy="61"/>
            </a:xfrm>
            <a:custGeom>
              <a:avLst/>
              <a:gdLst>
                <a:gd name="T0" fmla="*/ 16 w 25"/>
                <a:gd name="T1" fmla="*/ 23 h 24"/>
                <a:gd name="T2" fmla="*/ 25 w 25"/>
                <a:gd name="T3" fmla="*/ 12 h 24"/>
                <a:gd name="T4" fmla="*/ 13 w 25"/>
                <a:gd name="T5" fmla="*/ 0 h 24"/>
                <a:gd name="T6" fmla="*/ 0 w 25"/>
                <a:gd name="T7" fmla="*/ 12 h 24"/>
                <a:gd name="T8" fmla="*/ 9 w 25"/>
                <a:gd name="T9" fmla="*/ 24 h 24"/>
                <a:gd name="T10" fmla="*/ 9 w 25"/>
                <a:gd name="T11" fmla="*/ 23 h 24"/>
                <a:gd name="T12" fmla="*/ 1 w 25"/>
                <a:gd name="T13" fmla="*/ 12 h 24"/>
                <a:gd name="T14" fmla="*/ 5 w 25"/>
                <a:gd name="T15" fmla="*/ 4 h 24"/>
                <a:gd name="T16" fmla="*/ 13 w 25"/>
                <a:gd name="T17" fmla="*/ 0 h 24"/>
                <a:gd name="T18" fmla="*/ 21 w 25"/>
                <a:gd name="T19" fmla="*/ 4 h 24"/>
                <a:gd name="T20" fmla="*/ 24 w 25"/>
                <a:gd name="T21" fmla="*/ 12 h 24"/>
                <a:gd name="T22" fmla="*/ 16 w 25"/>
                <a:gd name="T23" fmla="*/ 23 h 24"/>
                <a:gd name="T24" fmla="*/ 16 w 25"/>
                <a:gd name="T2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6" y="23"/>
                  </a:moveTo>
                  <a:cubicBezTo>
                    <a:pt x="21" y="22"/>
                    <a:pt x="25" y="17"/>
                    <a:pt x="25" y="12"/>
                  </a:cubicBezTo>
                  <a:cubicBezTo>
                    <a:pt x="25" y="5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7"/>
                    <a:pt x="4" y="22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1"/>
                    <a:pt x="1" y="17"/>
                    <a:pt x="1" y="12"/>
                  </a:cubicBezTo>
                  <a:cubicBezTo>
                    <a:pt x="1" y="9"/>
                    <a:pt x="2" y="6"/>
                    <a:pt x="5" y="4"/>
                  </a:cubicBezTo>
                  <a:cubicBezTo>
                    <a:pt x="7" y="2"/>
                    <a:pt x="9" y="0"/>
                    <a:pt x="13" y="0"/>
                  </a:cubicBezTo>
                  <a:cubicBezTo>
                    <a:pt x="16" y="0"/>
                    <a:pt x="18" y="2"/>
                    <a:pt x="21" y="4"/>
                  </a:cubicBezTo>
                  <a:cubicBezTo>
                    <a:pt x="23" y="6"/>
                    <a:pt x="24" y="9"/>
                    <a:pt x="24" y="12"/>
                  </a:cubicBezTo>
                  <a:cubicBezTo>
                    <a:pt x="24" y="17"/>
                    <a:pt x="20" y="21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9" name="Freeform 2137">
              <a:extLst>
                <a:ext uri="{FF2B5EF4-FFF2-40B4-BE49-F238E27FC236}">
                  <a16:creationId xmlns:a16="http://schemas.microsoft.com/office/drawing/2014/main" id="{797D1C34-B8EB-465A-8F27-B5B75C11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1936"/>
              <a:ext cx="94" cy="91"/>
            </a:xfrm>
            <a:custGeom>
              <a:avLst/>
              <a:gdLst>
                <a:gd name="T0" fmla="*/ 24 w 37"/>
                <a:gd name="T1" fmla="*/ 36 h 36"/>
                <a:gd name="T2" fmla="*/ 37 w 37"/>
                <a:gd name="T3" fmla="*/ 19 h 36"/>
                <a:gd name="T4" fmla="*/ 19 w 37"/>
                <a:gd name="T5" fmla="*/ 0 h 36"/>
                <a:gd name="T6" fmla="*/ 0 w 37"/>
                <a:gd name="T7" fmla="*/ 19 h 36"/>
                <a:gd name="T8" fmla="*/ 14 w 37"/>
                <a:gd name="T9" fmla="*/ 36 h 36"/>
                <a:gd name="T10" fmla="*/ 14 w 37"/>
                <a:gd name="T11" fmla="*/ 35 h 36"/>
                <a:gd name="T12" fmla="*/ 1 w 37"/>
                <a:gd name="T13" fmla="*/ 19 h 36"/>
                <a:gd name="T14" fmla="*/ 6 w 37"/>
                <a:gd name="T15" fmla="*/ 7 h 36"/>
                <a:gd name="T16" fmla="*/ 19 w 37"/>
                <a:gd name="T17" fmla="*/ 1 h 36"/>
                <a:gd name="T18" fmla="*/ 31 w 37"/>
                <a:gd name="T19" fmla="*/ 7 h 36"/>
                <a:gd name="T20" fmla="*/ 36 w 37"/>
                <a:gd name="T21" fmla="*/ 19 h 36"/>
                <a:gd name="T22" fmla="*/ 24 w 37"/>
                <a:gd name="T23" fmla="*/ 35 h 36"/>
                <a:gd name="T24" fmla="*/ 24 w 3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36">
                  <a:moveTo>
                    <a:pt x="24" y="36"/>
                  </a:moveTo>
                  <a:cubicBezTo>
                    <a:pt x="31" y="34"/>
                    <a:pt x="37" y="27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7"/>
                    <a:pt x="6" y="34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7" y="33"/>
                    <a:pt x="1" y="27"/>
                    <a:pt x="1" y="19"/>
                  </a:cubicBezTo>
                  <a:cubicBezTo>
                    <a:pt x="1" y="14"/>
                    <a:pt x="3" y="10"/>
                    <a:pt x="6" y="7"/>
                  </a:cubicBezTo>
                  <a:cubicBezTo>
                    <a:pt x="9" y="3"/>
                    <a:pt x="14" y="1"/>
                    <a:pt x="19" y="1"/>
                  </a:cubicBezTo>
                  <a:cubicBezTo>
                    <a:pt x="23" y="1"/>
                    <a:pt x="28" y="3"/>
                    <a:pt x="31" y="7"/>
                  </a:cubicBezTo>
                  <a:cubicBezTo>
                    <a:pt x="34" y="10"/>
                    <a:pt x="36" y="14"/>
                    <a:pt x="36" y="19"/>
                  </a:cubicBezTo>
                  <a:cubicBezTo>
                    <a:pt x="36" y="27"/>
                    <a:pt x="31" y="33"/>
                    <a:pt x="24" y="35"/>
                  </a:cubicBezTo>
                  <a:cubicBezTo>
                    <a:pt x="24" y="36"/>
                    <a:pt x="24" y="36"/>
                    <a:pt x="24" y="3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0" name="Oval 2138">
              <a:extLst>
                <a:ext uri="{FF2B5EF4-FFF2-40B4-BE49-F238E27FC236}">
                  <a16:creationId xmlns:a16="http://schemas.microsoft.com/office/drawing/2014/main" id="{29F6CDEC-B82F-4D8B-A7FD-047FDBFEA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" y="1981"/>
              <a:ext cx="8" cy="5"/>
            </a:xfrm>
            <a:prstGeom prst="ellipse">
              <a:avLst/>
            </a:pr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1" name="Freeform 2139">
              <a:extLst>
                <a:ext uri="{FF2B5EF4-FFF2-40B4-BE49-F238E27FC236}">
                  <a16:creationId xmlns:a16="http://schemas.microsoft.com/office/drawing/2014/main" id="{5198D472-F38F-4336-B6FA-33353330D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  <a:gd name="T6" fmla="*/ 0 w 18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2" name="Freeform 2140">
              <a:extLst>
                <a:ext uri="{FF2B5EF4-FFF2-40B4-BE49-F238E27FC236}">
                  <a16:creationId xmlns:a16="http://schemas.microsoft.com/office/drawing/2014/main" id="{231F2B1C-D9B5-4AF5-A0B8-49F234E7A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3" name="Freeform 2141">
              <a:extLst>
                <a:ext uri="{FF2B5EF4-FFF2-40B4-BE49-F238E27FC236}">
                  <a16:creationId xmlns:a16="http://schemas.microsoft.com/office/drawing/2014/main" id="{184EB235-043E-40A5-975C-43BEADC08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3 h 33"/>
                <a:gd name="T4" fmla="*/ 18 w 18"/>
                <a:gd name="T5" fmla="*/ 3 h 33"/>
                <a:gd name="T6" fmla="*/ 18 w 18"/>
                <a:gd name="T7" fmla="*/ 0 h 33"/>
                <a:gd name="T8" fmla="*/ 0 w 18"/>
                <a:gd name="T9" fmla="*/ 0 h 33"/>
                <a:gd name="T10" fmla="*/ 0 w 18"/>
                <a:gd name="T11" fmla="*/ 33 h 33"/>
                <a:gd name="T12" fmla="*/ 0 w 18"/>
                <a:gd name="T13" fmla="*/ 33 h 33"/>
                <a:gd name="T14" fmla="*/ 0 w 18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4" name="Freeform 2142">
              <a:extLst>
                <a:ext uri="{FF2B5EF4-FFF2-40B4-BE49-F238E27FC236}">
                  <a16:creationId xmlns:a16="http://schemas.microsoft.com/office/drawing/2014/main" id="{98B7CB63-63DC-43A6-BEA1-B5B934126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  <a:gd name="T6" fmla="*/ 0 w 18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5" name="Freeform 2143">
              <a:extLst>
                <a:ext uri="{FF2B5EF4-FFF2-40B4-BE49-F238E27FC236}">
                  <a16:creationId xmlns:a16="http://schemas.microsoft.com/office/drawing/2014/main" id="{58C3E0A6-776B-4CF5-9FC1-34C89761E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6" name="Freeform 2144">
              <a:extLst>
                <a:ext uri="{FF2B5EF4-FFF2-40B4-BE49-F238E27FC236}">
                  <a16:creationId xmlns:a16="http://schemas.microsoft.com/office/drawing/2014/main" id="{D678B738-3C7E-4E1D-888E-F46F3DF58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3 h 33"/>
                <a:gd name="T4" fmla="*/ 18 w 18"/>
                <a:gd name="T5" fmla="*/ 3 h 33"/>
                <a:gd name="T6" fmla="*/ 18 w 18"/>
                <a:gd name="T7" fmla="*/ 0 h 33"/>
                <a:gd name="T8" fmla="*/ 0 w 18"/>
                <a:gd name="T9" fmla="*/ 0 h 33"/>
                <a:gd name="T10" fmla="*/ 0 w 18"/>
                <a:gd name="T11" fmla="*/ 33 h 33"/>
                <a:gd name="T12" fmla="*/ 0 w 18"/>
                <a:gd name="T13" fmla="*/ 33 h 33"/>
                <a:gd name="T14" fmla="*/ 0 w 18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7" name="Freeform 2145">
              <a:extLst>
                <a:ext uri="{FF2B5EF4-FFF2-40B4-BE49-F238E27FC236}">
                  <a16:creationId xmlns:a16="http://schemas.microsoft.com/office/drawing/2014/main" id="{F221EE39-F846-4DC9-BD5E-CA757D6A5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001"/>
              <a:ext cx="17" cy="33"/>
            </a:xfrm>
            <a:custGeom>
              <a:avLst/>
              <a:gdLst>
                <a:gd name="T0" fmla="*/ 0 w 17"/>
                <a:gd name="T1" fmla="*/ 33 h 33"/>
                <a:gd name="T2" fmla="*/ 0 w 17"/>
                <a:gd name="T3" fmla="*/ 0 h 33"/>
                <a:gd name="T4" fmla="*/ 17 w 17"/>
                <a:gd name="T5" fmla="*/ 0 h 33"/>
                <a:gd name="T6" fmla="*/ 0 w 17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3">
                  <a:moveTo>
                    <a:pt x="0" y="33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8" name="Freeform 2146">
              <a:extLst>
                <a:ext uri="{FF2B5EF4-FFF2-40B4-BE49-F238E27FC236}">
                  <a16:creationId xmlns:a16="http://schemas.microsoft.com/office/drawing/2014/main" id="{13558EE7-5C67-4E60-84E2-EAFEEDE0B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001"/>
              <a:ext cx="17" cy="33"/>
            </a:xfrm>
            <a:custGeom>
              <a:avLst/>
              <a:gdLst>
                <a:gd name="T0" fmla="*/ 0 w 17"/>
                <a:gd name="T1" fmla="*/ 33 h 33"/>
                <a:gd name="T2" fmla="*/ 0 w 17"/>
                <a:gd name="T3" fmla="*/ 0 h 33"/>
                <a:gd name="T4" fmla="*/ 17 w 17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33">
                  <a:moveTo>
                    <a:pt x="0" y="33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9" name="Freeform 2147">
              <a:extLst>
                <a:ext uri="{FF2B5EF4-FFF2-40B4-BE49-F238E27FC236}">
                  <a16:creationId xmlns:a16="http://schemas.microsoft.com/office/drawing/2014/main" id="{1F313100-A61E-442E-8319-649E275B0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001"/>
              <a:ext cx="17" cy="33"/>
            </a:xfrm>
            <a:custGeom>
              <a:avLst/>
              <a:gdLst>
                <a:gd name="T0" fmla="*/ 0 w 17"/>
                <a:gd name="T1" fmla="*/ 33 h 33"/>
                <a:gd name="T2" fmla="*/ 0 w 17"/>
                <a:gd name="T3" fmla="*/ 3 h 33"/>
                <a:gd name="T4" fmla="*/ 17 w 17"/>
                <a:gd name="T5" fmla="*/ 3 h 33"/>
                <a:gd name="T6" fmla="*/ 17 w 17"/>
                <a:gd name="T7" fmla="*/ 0 h 33"/>
                <a:gd name="T8" fmla="*/ 0 w 17"/>
                <a:gd name="T9" fmla="*/ 0 h 33"/>
                <a:gd name="T10" fmla="*/ 0 w 17"/>
                <a:gd name="T11" fmla="*/ 33 h 33"/>
                <a:gd name="T12" fmla="*/ 0 w 17"/>
                <a:gd name="T13" fmla="*/ 33 h 33"/>
                <a:gd name="T14" fmla="*/ 0 w 17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33">
                  <a:moveTo>
                    <a:pt x="0" y="33"/>
                  </a:moveTo>
                  <a:lnTo>
                    <a:pt x="0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0" name="Freeform 2148">
              <a:extLst>
                <a:ext uri="{FF2B5EF4-FFF2-40B4-BE49-F238E27FC236}">
                  <a16:creationId xmlns:a16="http://schemas.microsoft.com/office/drawing/2014/main" id="{305F83AF-6ACB-4E8D-831A-4FF0599D4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  <a:gd name="T6" fmla="*/ 0 w 18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1" name="Freeform 2149">
              <a:extLst>
                <a:ext uri="{FF2B5EF4-FFF2-40B4-BE49-F238E27FC236}">
                  <a16:creationId xmlns:a16="http://schemas.microsoft.com/office/drawing/2014/main" id="{3F765525-1C83-46B9-9ECE-B893F21B5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2" name="Freeform 2150">
              <a:extLst>
                <a:ext uri="{FF2B5EF4-FFF2-40B4-BE49-F238E27FC236}">
                  <a16:creationId xmlns:a16="http://schemas.microsoft.com/office/drawing/2014/main" id="{8E5D8C5D-89CB-4262-8391-E151DB7E2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3 h 33"/>
                <a:gd name="T4" fmla="*/ 18 w 18"/>
                <a:gd name="T5" fmla="*/ 3 h 33"/>
                <a:gd name="T6" fmla="*/ 18 w 18"/>
                <a:gd name="T7" fmla="*/ 0 h 33"/>
                <a:gd name="T8" fmla="*/ 0 w 18"/>
                <a:gd name="T9" fmla="*/ 0 h 33"/>
                <a:gd name="T10" fmla="*/ 0 w 18"/>
                <a:gd name="T11" fmla="*/ 33 h 33"/>
                <a:gd name="T12" fmla="*/ 0 w 18"/>
                <a:gd name="T13" fmla="*/ 33 h 33"/>
                <a:gd name="T14" fmla="*/ 0 w 18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3" name="Freeform 2151">
              <a:extLst>
                <a:ext uri="{FF2B5EF4-FFF2-40B4-BE49-F238E27FC236}">
                  <a16:creationId xmlns:a16="http://schemas.microsoft.com/office/drawing/2014/main" id="{2F3851B6-08E5-4227-9755-FE4FAC94F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  <a:gd name="T6" fmla="*/ 0 w 18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4" name="Freeform 2152">
              <a:extLst>
                <a:ext uri="{FF2B5EF4-FFF2-40B4-BE49-F238E27FC236}">
                  <a16:creationId xmlns:a16="http://schemas.microsoft.com/office/drawing/2014/main" id="{780C8DE2-4F45-42D2-8D31-AB8B197DE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0 h 33"/>
                <a:gd name="T4" fmla="*/ 18 w 18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0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5" name="Freeform 2153">
              <a:extLst>
                <a:ext uri="{FF2B5EF4-FFF2-40B4-BE49-F238E27FC236}">
                  <a16:creationId xmlns:a16="http://schemas.microsoft.com/office/drawing/2014/main" id="{5C8E0F62-8772-48A5-B77F-D46BE7EFD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001"/>
              <a:ext cx="18" cy="33"/>
            </a:xfrm>
            <a:custGeom>
              <a:avLst/>
              <a:gdLst>
                <a:gd name="T0" fmla="*/ 0 w 18"/>
                <a:gd name="T1" fmla="*/ 33 h 33"/>
                <a:gd name="T2" fmla="*/ 0 w 18"/>
                <a:gd name="T3" fmla="*/ 3 h 33"/>
                <a:gd name="T4" fmla="*/ 18 w 18"/>
                <a:gd name="T5" fmla="*/ 3 h 33"/>
                <a:gd name="T6" fmla="*/ 18 w 18"/>
                <a:gd name="T7" fmla="*/ 0 h 33"/>
                <a:gd name="T8" fmla="*/ 0 w 18"/>
                <a:gd name="T9" fmla="*/ 0 h 33"/>
                <a:gd name="T10" fmla="*/ 0 w 18"/>
                <a:gd name="T11" fmla="*/ 33 h 33"/>
                <a:gd name="T12" fmla="*/ 0 w 18"/>
                <a:gd name="T13" fmla="*/ 33 h 33"/>
                <a:gd name="T14" fmla="*/ 0 w 18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0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6" name="Freeform 2154">
              <a:extLst>
                <a:ext uri="{FF2B5EF4-FFF2-40B4-BE49-F238E27FC236}">
                  <a16:creationId xmlns:a16="http://schemas.microsoft.com/office/drawing/2014/main" id="{C54A3D55-259B-469B-ABF5-2ED2ADD37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" y="2100"/>
              <a:ext cx="17" cy="58"/>
            </a:xfrm>
            <a:custGeom>
              <a:avLst/>
              <a:gdLst>
                <a:gd name="T0" fmla="*/ 0 w 17"/>
                <a:gd name="T1" fmla="*/ 58 h 58"/>
                <a:gd name="T2" fmla="*/ 0 w 17"/>
                <a:gd name="T3" fmla="*/ 0 h 58"/>
                <a:gd name="T4" fmla="*/ 17 w 17"/>
                <a:gd name="T5" fmla="*/ 0 h 58"/>
                <a:gd name="T6" fmla="*/ 0 w 17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58">
                  <a:moveTo>
                    <a:pt x="0" y="5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7" name="Freeform 2155">
              <a:extLst>
                <a:ext uri="{FF2B5EF4-FFF2-40B4-BE49-F238E27FC236}">
                  <a16:creationId xmlns:a16="http://schemas.microsoft.com/office/drawing/2014/main" id="{9B797BF0-0E89-4993-8DEE-A32A677C5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" y="2100"/>
              <a:ext cx="17" cy="58"/>
            </a:xfrm>
            <a:custGeom>
              <a:avLst/>
              <a:gdLst>
                <a:gd name="T0" fmla="*/ 0 w 17"/>
                <a:gd name="T1" fmla="*/ 58 h 58"/>
                <a:gd name="T2" fmla="*/ 0 w 17"/>
                <a:gd name="T3" fmla="*/ 0 h 58"/>
                <a:gd name="T4" fmla="*/ 17 w 17"/>
                <a:gd name="T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58">
                  <a:moveTo>
                    <a:pt x="0" y="58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8" name="Freeform 2156">
              <a:extLst>
                <a:ext uri="{FF2B5EF4-FFF2-40B4-BE49-F238E27FC236}">
                  <a16:creationId xmlns:a16="http://schemas.microsoft.com/office/drawing/2014/main" id="{61130103-E4FD-48DA-91A1-BC0B2304A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" y="2097"/>
              <a:ext cx="17" cy="61"/>
            </a:xfrm>
            <a:custGeom>
              <a:avLst/>
              <a:gdLst>
                <a:gd name="T0" fmla="*/ 2 w 17"/>
                <a:gd name="T1" fmla="*/ 61 h 61"/>
                <a:gd name="T2" fmla="*/ 2 w 17"/>
                <a:gd name="T3" fmla="*/ 3 h 61"/>
                <a:gd name="T4" fmla="*/ 17 w 17"/>
                <a:gd name="T5" fmla="*/ 3 h 61"/>
                <a:gd name="T6" fmla="*/ 17 w 17"/>
                <a:gd name="T7" fmla="*/ 0 h 61"/>
                <a:gd name="T8" fmla="*/ 0 w 17"/>
                <a:gd name="T9" fmla="*/ 0 h 61"/>
                <a:gd name="T10" fmla="*/ 0 w 17"/>
                <a:gd name="T11" fmla="*/ 61 h 61"/>
                <a:gd name="T12" fmla="*/ 2 w 17"/>
                <a:gd name="T13" fmla="*/ 61 h 61"/>
                <a:gd name="T14" fmla="*/ 2 w 17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61">
                  <a:moveTo>
                    <a:pt x="2" y="61"/>
                  </a:moveTo>
                  <a:lnTo>
                    <a:pt x="2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2" y="61"/>
                  </a:lnTo>
                  <a:lnTo>
                    <a:pt x="2" y="6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9" name="Freeform 2157">
              <a:extLst>
                <a:ext uri="{FF2B5EF4-FFF2-40B4-BE49-F238E27FC236}">
                  <a16:creationId xmlns:a16="http://schemas.microsoft.com/office/drawing/2014/main" id="{B20ACC43-C206-4FCA-A87B-A71928DE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" y="2100"/>
              <a:ext cx="17" cy="58"/>
            </a:xfrm>
            <a:custGeom>
              <a:avLst/>
              <a:gdLst>
                <a:gd name="T0" fmla="*/ 0 w 17"/>
                <a:gd name="T1" fmla="*/ 58 h 58"/>
                <a:gd name="T2" fmla="*/ 0 w 17"/>
                <a:gd name="T3" fmla="*/ 0 h 58"/>
                <a:gd name="T4" fmla="*/ 17 w 17"/>
                <a:gd name="T5" fmla="*/ 0 h 58"/>
                <a:gd name="T6" fmla="*/ 0 w 17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58">
                  <a:moveTo>
                    <a:pt x="0" y="5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0" name="Freeform 2158">
              <a:extLst>
                <a:ext uri="{FF2B5EF4-FFF2-40B4-BE49-F238E27FC236}">
                  <a16:creationId xmlns:a16="http://schemas.microsoft.com/office/drawing/2014/main" id="{00F77607-1D1C-4EC3-B0E8-0673C5DAC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" y="2100"/>
              <a:ext cx="17" cy="58"/>
            </a:xfrm>
            <a:custGeom>
              <a:avLst/>
              <a:gdLst>
                <a:gd name="T0" fmla="*/ 0 w 17"/>
                <a:gd name="T1" fmla="*/ 58 h 58"/>
                <a:gd name="T2" fmla="*/ 0 w 17"/>
                <a:gd name="T3" fmla="*/ 0 h 58"/>
                <a:gd name="T4" fmla="*/ 17 w 17"/>
                <a:gd name="T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58">
                  <a:moveTo>
                    <a:pt x="0" y="58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1" name="Freeform 2159">
              <a:extLst>
                <a:ext uri="{FF2B5EF4-FFF2-40B4-BE49-F238E27FC236}">
                  <a16:creationId xmlns:a16="http://schemas.microsoft.com/office/drawing/2014/main" id="{6D996082-21AE-492B-8518-40F2D4143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" y="2097"/>
              <a:ext cx="17" cy="61"/>
            </a:xfrm>
            <a:custGeom>
              <a:avLst/>
              <a:gdLst>
                <a:gd name="T0" fmla="*/ 0 w 17"/>
                <a:gd name="T1" fmla="*/ 61 h 61"/>
                <a:gd name="T2" fmla="*/ 0 w 17"/>
                <a:gd name="T3" fmla="*/ 3 h 61"/>
                <a:gd name="T4" fmla="*/ 17 w 17"/>
                <a:gd name="T5" fmla="*/ 3 h 61"/>
                <a:gd name="T6" fmla="*/ 17 w 17"/>
                <a:gd name="T7" fmla="*/ 0 h 61"/>
                <a:gd name="T8" fmla="*/ 0 w 17"/>
                <a:gd name="T9" fmla="*/ 0 h 61"/>
                <a:gd name="T10" fmla="*/ 0 w 17"/>
                <a:gd name="T11" fmla="*/ 61 h 61"/>
                <a:gd name="T12" fmla="*/ 0 w 17"/>
                <a:gd name="T13" fmla="*/ 61 h 61"/>
                <a:gd name="T14" fmla="*/ 0 w 17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61">
                  <a:moveTo>
                    <a:pt x="0" y="61"/>
                  </a:moveTo>
                  <a:lnTo>
                    <a:pt x="0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2" name="Freeform 2160">
              <a:extLst>
                <a:ext uri="{FF2B5EF4-FFF2-40B4-BE49-F238E27FC236}">
                  <a16:creationId xmlns:a16="http://schemas.microsoft.com/office/drawing/2014/main" id="{8BA1F0BD-DDF8-4F2E-BBEA-33EBFE1F9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5" y="2097"/>
              <a:ext cx="21" cy="61"/>
            </a:xfrm>
            <a:custGeom>
              <a:avLst/>
              <a:gdLst>
                <a:gd name="T0" fmla="*/ 3 w 21"/>
                <a:gd name="T1" fmla="*/ 61 h 61"/>
                <a:gd name="T2" fmla="*/ 3 w 21"/>
                <a:gd name="T3" fmla="*/ 3 h 61"/>
                <a:gd name="T4" fmla="*/ 21 w 21"/>
                <a:gd name="T5" fmla="*/ 3 h 61"/>
                <a:gd name="T6" fmla="*/ 21 w 21"/>
                <a:gd name="T7" fmla="*/ 0 h 61"/>
                <a:gd name="T8" fmla="*/ 0 w 21"/>
                <a:gd name="T9" fmla="*/ 0 h 61"/>
                <a:gd name="T10" fmla="*/ 0 w 21"/>
                <a:gd name="T11" fmla="*/ 61 h 61"/>
                <a:gd name="T12" fmla="*/ 3 w 21"/>
                <a:gd name="T13" fmla="*/ 61 h 61"/>
                <a:gd name="T14" fmla="*/ 3 w 21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61">
                  <a:moveTo>
                    <a:pt x="3" y="61"/>
                  </a:moveTo>
                  <a:lnTo>
                    <a:pt x="3" y="3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3" name="Freeform 2161">
              <a:extLst>
                <a:ext uri="{FF2B5EF4-FFF2-40B4-BE49-F238E27FC236}">
                  <a16:creationId xmlns:a16="http://schemas.microsoft.com/office/drawing/2014/main" id="{ABEBC079-3D37-4728-8714-E0E63C31A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2100"/>
              <a:ext cx="20" cy="5"/>
            </a:xfrm>
            <a:custGeom>
              <a:avLst/>
              <a:gdLst>
                <a:gd name="T0" fmla="*/ 8 w 8"/>
                <a:gd name="T1" fmla="*/ 1 h 2"/>
                <a:gd name="T2" fmla="*/ 4 w 8"/>
                <a:gd name="T3" fmla="*/ 0 h 2"/>
                <a:gd name="T4" fmla="*/ 0 w 8"/>
                <a:gd name="T5" fmla="*/ 2 h 2"/>
                <a:gd name="T6" fmla="*/ 1 w 8"/>
                <a:gd name="T7" fmla="*/ 2 h 2"/>
                <a:gd name="T8" fmla="*/ 4 w 8"/>
                <a:gd name="T9" fmla="*/ 1 h 2"/>
                <a:gd name="T10" fmla="*/ 7 w 8"/>
                <a:gd name="T11" fmla="*/ 2 h 2"/>
                <a:gd name="T12" fmla="*/ 8 w 8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8" y="1"/>
                  </a:moveTo>
                  <a:cubicBezTo>
                    <a:pt x="7" y="0"/>
                    <a:pt x="6" y="0"/>
                    <a:pt x="4" y="0"/>
                  </a:cubicBezTo>
                  <a:cubicBezTo>
                    <a:pt x="3" y="0"/>
                    <a:pt x="1" y="0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1"/>
                    <a:pt x="6" y="1"/>
                    <a:pt x="7" y="2"/>
                  </a:cubicBezTo>
                  <a:cubicBezTo>
                    <a:pt x="8" y="1"/>
                    <a:pt x="8" y="1"/>
                    <a:pt x="8" y="1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4" name="Freeform 2162">
              <a:extLst>
                <a:ext uri="{FF2B5EF4-FFF2-40B4-BE49-F238E27FC236}">
                  <a16:creationId xmlns:a16="http://schemas.microsoft.com/office/drawing/2014/main" id="{0024B38B-284B-420B-9F88-6DD320F2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090"/>
              <a:ext cx="36" cy="10"/>
            </a:xfrm>
            <a:custGeom>
              <a:avLst/>
              <a:gdLst>
                <a:gd name="T0" fmla="*/ 14 w 14"/>
                <a:gd name="T1" fmla="*/ 3 h 4"/>
                <a:gd name="T2" fmla="*/ 7 w 14"/>
                <a:gd name="T3" fmla="*/ 0 h 4"/>
                <a:gd name="T4" fmla="*/ 0 w 14"/>
                <a:gd name="T5" fmla="*/ 3 h 4"/>
                <a:gd name="T6" fmla="*/ 1 w 14"/>
                <a:gd name="T7" fmla="*/ 4 h 4"/>
                <a:gd name="T8" fmla="*/ 7 w 14"/>
                <a:gd name="T9" fmla="*/ 1 h 4"/>
                <a:gd name="T10" fmla="*/ 13 w 14"/>
                <a:gd name="T11" fmla="*/ 4 h 4"/>
                <a:gd name="T12" fmla="*/ 14 w 14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14" y="3"/>
                  </a:moveTo>
                  <a:cubicBezTo>
                    <a:pt x="12" y="1"/>
                    <a:pt x="10" y="0"/>
                    <a:pt x="7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2"/>
                    <a:pt x="5" y="1"/>
                    <a:pt x="7" y="1"/>
                  </a:cubicBezTo>
                  <a:cubicBezTo>
                    <a:pt x="10" y="1"/>
                    <a:pt x="12" y="2"/>
                    <a:pt x="13" y="4"/>
                  </a:cubicBezTo>
                  <a:cubicBezTo>
                    <a:pt x="14" y="3"/>
                    <a:pt x="14" y="3"/>
                    <a:pt x="14" y="3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5" name="Freeform 2163">
              <a:extLst>
                <a:ext uri="{FF2B5EF4-FFF2-40B4-BE49-F238E27FC236}">
                  <a16:creationId xmlns:a16="http://schemas.microsoft.com/office/drawing/2014/main" id="{DB0AFC48-0A52-49F9-9A22-E38FD6892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2077"/>
              <a:ext cx="50" cy="15"/>
            </a:xfrm>
            <a:custGeom>
              <a:avLst/>
              <a:gdLst>
                <a:gd name="T0" fmla="*/ 20 w 20"/>
                <a:gd name="T1" fmla="*/ 6 h 6"/>
                <a:gd name="T2" fmla="*/ 10 w 20"/>
                <a:gd name="T3" fmla="*/ 0 h 6"/>
                <a:gd name="T4" fmla="*/ 0 w 20"/>
                <a:gd name="T5" fmla="*/ 6 h 6"/>
                <a:gd name="T6" fmla="*/ 1 w 20"/>
                <a:gd name="T7" fmla="*/ 6 h 6"/>
                <a:gd name="T8" fmla="*/ 10 w 20"/>
                <a:gd name="T9" fmla="*/ 1 h 6"/>
                <a:gd name="T10" fmla="*/ 20 w 20"/>
                <a:gd name="T11" fmla="*/ 6 h 6"/>
                <a:gd name="T12" fmla="*/ 20 w 2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20" y="6"/>
                  </a:moveTo>
                  <a:cubicBezTo>
                    <a:pt x="18" y="2"/>
                    <a:pt x="14" y="0"/>
                    <a:pt x="10" y="0"/>
                  </a:cubicBezTo>
                  <a:cubicBezTo>
                    <a:pt x="6" y="0"/>
                    <a:pt x="2" y="2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3"/>
                    <a:pt x="6" y="1"/>
                    <a:pt x="10" y="1"/>
                  </a:cubicBezTo>
                  <a:cubicBezTo>
                    <a:pt x="14" y="1"/>
                    <a:pt x="17" y="3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6" name="Rectangle 2164">
              <a:extLst>
                <a:ext uri="{FF2B5EF4-FFF2-40B4-BE49-F238E27FC236}">
                  <a16:creationId xmlns:a16="http://schemas.microsoft.com/office/drawing/2014/main" id="{D98DD16D-324F-4AF0-9432-AEE084226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" y="2110"/>
              <a:ext cx="129" cy="7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7" name="Freeform 2165">
              <a:extLst>
                <a:ext uri="{FF2B5EF4-FFF2-40B4-BE49-F238E27FC236}">
                  <a16:creationId xmlns:a16="http://schemas.microsoft.com/office/drawing/2014/main" id="{2393E340-AE16-4600-B80C-4EFBC9757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2110"/>
              <a:ext cx="134" cy="76"/>
            </a:xfrm>
            <a:custGeom>
              <a:avLst/>
              <a:gdLst>
                <a:gd name="T0" fmla="*/ 132 w 134"/>
                <a:gd name="T1" fmla="*/ 73 h 76"/>
                <a:gd name="T2" fmla="*/ 132 w 134"/>
                <a:gd name="T3" fmla="*/ 73 h 76"/>
                <a:gd name="T4" fmla="*/ 3 w 134"/>
                <a:gd name="T5" fmla="*/ 73 h 76"/>
                <a:gd name="T6" fmla="*/ 3 w 134"/>
                <a:gd name="T7" fmla="*/ 3 h 76"/>
                <a:gd name="T8" fmla="*/ 132 w 134"/>
                <a:gd name="T9" fmla="*/ 3 h 76"/>
                <a:gd name="T10" fmla="*/ 132 w 134"/>
                <a:gd name="T11" fmla="*/ 73 h 76"/>
                <a:gd name="T12" fmla="*/ 132 w 134"/>
                <a:gd name="T13" fmla="*/ 73 h 76"/>
                <a:gd name="T14" fmla="*/ 132 w 134"/>
                <a:gd name="T15" fmla="*/ 73 h 76"/>
                <a:gd name="T16" fmla="*/ 132 w 134"/>
                <a:gd name="T17" fmla="*/ 73 h 76"/>
                <a:gd name="T18" fmla="*/ 134 w 134"/>
                <a:gd name="T19" fmla="*/ 73 h 76"/>
                <a:gd name="T20" fmla="*/ 134 w 134"/>
                <a:gd name="T21" fmla="*/ 0 h 76"/>
                <a:gd name="T22" fmla="*/ 0 w 134"/>
                <a:gd name="T23" fmla="*/ 0 h 76"/>
                <a:gd name="T24" fmla="*/ 0 w 134"/>
                <a:gd name="T25" fmla="*/ 76 h 76"/>
                <a:gd name="T26" fmla="*/ 134 w 134"/>
                <a:gd name="T27" fmla="*/ 76 h 76"/>
                <a:gd name="T28" fmla="*/ 134 w 134"/>
                <a:gd name="T29" fmla="*/ 73 h 76"/>
                <a:gd name="T30" fmla="*/ 132 w 134"/>
                <a:gd name="T31" fmla="*/ 7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4" h="76">
                  <a:moveTo>
                    <a:pt x="132" y="73"/>
                  </a:moveTo>
                  <a:lnTo>
                    <a:pt x="132" y="73"/>
                  </a:lnTo>
                  <a:lnTo>
                    <a:pt x="3" y="73"/>
                  </a:lnTo>
                  <a:lnTo>
                    <a:pt x="3" y="3"/>
                  </a:lnTo>
                  <a:lnTo>
                    <a:pt x="132" y="3"/>
                  </a:lnTo>
                  <a:lnTo>
                    <a:pt x="132" y="73"/>
                  </a:lnTo>
                  <a:lnTo>
                    <a:pt x="132" y="73"/>
                  </a:lnTo>
                  <a:lnTo>
                    <a:pt x="132" y="73"/>
                  </a:lnTo>
                  <a:lnTo>
                    <a:pt x="132" y="73"/>
                  </a:lnTo>
                  <a:lnTo>
                    <a:pt x="134" y="73"/>
                  </a:lnTo>
                  <a:lnTo>
                    <a:pt x="134" y="0"/>
                  </a:lnTo>
                  <a:lnTo>
                    <a:pt x="0" y="0"/>
                  </a:lnTo>
                  <a:lnTo>
                    <a:pt x="0" y="76"/>
                  </a:lnTo>
                  <a:lnTo>
                    <a:pt x="134" y="76"/>
                  </a:lnTo>
                  <a:lnTo>
                    <a:pt x="134" y="73"/>
                  </a:lnTo>
                  <a:lnTo>
                    <a:pt x="132" y="73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8" name="Rectangle 2166">
              <a:extLst>
                <a:ext uri="{FF2B5EF4-FFF2-40B4-BE49-F238E27FC236}">
                  <a16:creationId xmlns:a16="http://schemas.microsoft.com/office/drawing/2014/main" id="{D0D4472F-1AFB-4A6D-BFE2-BC40170AF5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20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9" name="Freeform 2167">
              <a:extLst>
                <a:ext uri="{FF2B5EF4-FFF2-40B4-BE49-F238E27FC236}">
                  <a16:creationId xmlns:a16="http://schemas.microsoft.com/office/drawing/2014/main" id="{3C07EBC6-E2E7-4CFF-8BC2-272DE1885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20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0" name="Rectangle 2168">
              <a:extLst>
                <a:ext uri="{FF2B5EF4-FFF2-40B4-BE49-F238E27FC236}">
                  <a16:creationId xmlns:a16="http://schemas.microsoft.com/office/drawing/2014/main" id="{114554C4-A85A-47E9-8AEA-173B87F79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30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1" name="Freeform 2169">
              <a:extLst>
                <a:ext uri="{FF2B5EF4-FFF2-40B4-BE49-F238E27FC236}">
                  <a16:creationId xmlns:a16="http://schemas.microsoft.com/office/drawing/2014/main" id="{A4A200A5-149B-40EF-8760-C23FFB38D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30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2" name="Rectangle 2170">
              <a:extLst>
                <a:ext uri="{FF2B5EF4-FFF2-40B4-BE49-F238E27FC236}">
                  <a16:creationId xmlns:a16="http://schemas.microsoft.com/office/drawing/2014/main" id="{48E99275-87F3-491D-A7C1-4471D0811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38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3" name="Freeform 2171">
              <a:extLst>
                <a:ext uri="{FF2B5EF4-FFF2-40B4-BE49-F238E27FC236}">
                  <a16:creationId xmlns:a16="http://schemas.microsoft.com/office/drawing/2014/main" id="{3F37064F-A382-49CF-B41C-74E15F6CA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38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4" name="Rectangle 2172">
              <a:extLst>
                <a:ext uri="{FF2B5EF4-FFF2-40B4-BE49-F238E27FC236}">
                  <a16:creationId xmlns:a16="http://schemas.microsoft.com/office/drawing/2014/main" id="{9EE64FDF-96ED-4612-B4F3-98CF480A7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48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5" name="Freeform 2173">
              <a:extLst>
                <a:ext uri="{FF2B5EF4-FFF2-40B4-BE49-F238E27FC236}">
                  <a16:creationId xmlns:a16="http://schemas.microsoft.com/office/drawing/2014/main" id="{AB87A17E-45F2-4CB4-8890-8A43E8A45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48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6" name="Rectangle 2174">
              <a:extLst>
                <a:ext uri="{FF2B5EF4-FFF2-40B4-BE49-F238E27FC236}">
                  <a16:creationId xmlns:a16="http://schemas.microsoft.com/office/drawing/2014/main" id="{FFFFA476-91CD-4086-AC65-73CDCA0CF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56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7" name="Freeform 2175">
              <a:extLst>
                <a:ext uri="{FF2B5EF4-FFF2-40B4-BE49-F238E27FC236}">
                  <a16:creationId xmlns:a16="http://schemas.microsoft.com/office/drawing/2014/main" id="{8EA48267-D281-4FC5-8294-19B5B3BC2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56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8" name="Rectangle 2176">
              <a:extLst>
                <a:ext uri="{FF2B5EF4-FFF2-40B4-BE49-F238E27FC236}">
                  <a16:creationId xmlns:a16="http://schemas.microsoft.com/office/drawing/2014/main" id="{9DD44AC4-F0C7-4F9F-8139-5DB2B7E51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66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9" name="Freeform 2177">
              <a:extLst>
                <a:ext uri="{FF2B5EF4-FFF2-40B4-BE49-F238E27FC236}">
                  <a16:creationId xmlns:a16="http://schemas.microsoft.com/office/drawing/2014/main" id="{9EB1AA40-09F9-4B17-A33E-C515EEC0C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66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0" name="Rectangle 2178">
              <a:extLst>
                <a:ext uri="{FF2B5EF4-FFF2-40B4-BE49-F238E27FC236}">
                  <a16:creationId xmlns:a16="http://schemas.microsoft.com/office/drawing/2014/main" id="{EA80ECA7-EFBB-4F75-9B47-A0EC6A996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173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1" name="Freeform 2179">
              <a:extLst>
                <a:ext uri="{FF2B5EF4-FFF2-40B4-BE49-F238E27FC236}">
                  <a16:creationId xmlns:a16="http://schemas.microsoft.com/office/drawing/2014/main" id="{7E07E933-AB1B-4B29-8912-5141F5BC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173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2" name="Rectangle 2180">
              <a:extLst>
                <a:ext uri="{FF2B5EF4-FFF2-40B4-BE49-F238E27FC236}">
                  <a16:creationId xmlns:a16="http://schemas.microsoft.com/office/drawing/2014/main" id="{92893924-E398-463E-9F48-C874B4471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20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3" name="Freeform 2181">
              <a:extLst>
                <a:ext uri="{FF2B5EF4-FFF2-40B4-BE49-F238E27FC236}">
                  <a16:creationId xmlns:a16="http://schemas.microsoft.com/office/drawing/2014/main" id="{DDF56C74-E55E-4165-8A5D-5BA6E68EC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20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4" name="Rectangle 2182">
              <a:extLst>
                <a:ext uri="{FF2B5EF4-FFF2-40B4-BE49-F238E27FC236}">
                  <a16:creationId xmlns:a16="http://schemas.microsoft.com/office/drawing/2014/main" id="{67238F0F-25FF-4530-9386-65A1FBF0B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30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5" name="Freeform 2183">
              <a:extLst>
                <a:ext uri="{FF2B5EF4-FFF2-40B4-BE49-F238E27FC236}">
                  <a16:creationId xmlns:a16="http://schemas.microsoft.com/office/drawing/2014/main" id="{569BCE3F-AE74-4684-B4ED-4ECE9078D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30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6" name="Rectangle 2184">
              <a:extLst>
                <a:ext uri="{FF2B5EF4-FFF2-40B4-BE49-F238E27FC236}">
                  <a16:creationId xmlns:a16="http://schemas.microsoft.com/office/drawing/2014/main" id="{163D20CF-261F-4167-A903-FC106C3F3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38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7" name="Freeform 2185">
              <a:extLst>
                <a:ext uri="{FF2B5EF4-FFF2-40B4-BE49-F238E27FC236}">
                  <a16:creationId xmlns:a16="http://schemas.microsoft.com/office/drawing/2014/main" id="{168ADF21-4266-4870-BC29-B6861B671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38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8" name="Rectangle 2186">
              <a:extLst>
                <a:ext uri="{FF2B5EF4-FFF2-40B4-BE49-F238E27FC236}">
                  <a16:creationId xmlns:a16="http://schemas.microsoft.com/office/drawing/2014/main" id="{3F1CE4F0-D659-4C29-B35B-4A003604BE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48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9" name="Freeform 2187">
              <a:extLst>
                <a:ext uri="{FF2B5EF4-FFF2-40B4-BE49-F238E27FC236}">
                  <a16:creationId xmlns:a16="http://schemas.microsoft.com/office/drawing/2014/main" id="{271229AD-1E73-473E-B032-0C3F2589F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48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0" name="Rectangle 2188">
              <a:extLst>
                <a:ext uri="{FF2B5EF4-FFF2-40B4-BE49-F238E27FC236}">
                  <a16:creationId xmlns:a16="http://schemas.microsoft.com/office/drawing/2014/main" id="{4D304BC1-4B48-4B8B-AC2E-ACAD99DA5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56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1" name="Freeform 2189">
              <a:extLst>
                <a:ext uri="{FF2B5EF4-FFF2-40B4-BE49-F238E27FC236}">
                  <a16:creationId xmlns:a16="http://schemas.microsoft.com/office/drawing/2014/main" id="{1A013AAE-72AB-4762-BE42-290B53F22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56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2" name="Rectangle 2190">
              <a:extLst>
                <a:ext uri="{FF2B5EF4-FFF2-40B4-BE49-F238E27FC236}">
                  <a16:creationId xmlns:a16="http://schemas.microsoft.com/office/drawing/2014/main" id="{D21F3026-71C5-4FE0-8B0A-DE870C5D4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66"/>
              <a:ext cx="10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3" name="Freeform 2191">
              <a:extLst>
                <a:ext uri="{FF2B5EF4-FFF2-40B4-BE49-F238E27FC236}">
                  <a16:creationId xmlns:a16="http://schemas.microsoft.com/office/drawing/2014/main" id="{75C3260F-E96F-4C2A-8DDA-A1BA7E57A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66"/>
              <a:ext cx="10" cy="2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10 w 10"/>
                <a:gd name="T5" fmla="*/ 0 h 2"/>
                <a:gd name="T6" fmla="*/ 0 w 10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4" name="Rectangle 2192">
              <a:extLst>
                <a:ext uri="{FF2B5EF4-FFF2-40B4-BE49-F238E27FC236}">
                  <a16:creationId xmlns:a16="http://schemas.microsoft.com/office/drawing/2014/main" id="{7DD0503A-FCC9-4EF0-978E-FAB329F35D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3" y="2173"/>
              <a:ext cx="10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5" name="Freeform 2193">
              <a:extLst>
                <a:ext uri="{FF2B5EF4-FFF2-40B4-BE49-F238E27FC236}">
                  <a16:creationId xmlns:a16="http://schemas.microsoft.com/office/drawing/2014/main" id="{F77C25C1-083A-4D52-9749-7D00D0F61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2173"/>
              <a:ext cx="10" cy="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10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6" name="Rectangle 2194">
              <a:extLst>
                <a:ext uri="{FF2B5EF4-FFF2-40B4-BE49-F238E27FC236}">
                  <a16:creationId xmlns:a16="http://schemas.microsoft.com/office/drawing/2014/main" id="{75CE5F24-B980-4EA4-9BDD-551A39C14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20"/>
              <a:ext cx="7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7" name="Freeform 2195">
              <a:extLst>
                <a:ext uri="{FF2B5EF4-FFF2-40B4-BE49-F238E27FC236}">
                  <a16:creationId xmlns:a16="http://schemas.microsoft.com/office/drawing/2014/main" id="{38FF9873-B6D8-4428-978F-C04077A6F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20"/>
              <a:ext cx="7" cy="3"/>
            </a:xfrm>
            <a:custGeom>
              <a:avLst/>
              <a:gdLst>
                <a:gd name="T0" fmla="*/ 0 w 7"/>
                <a:gd name="T1" fmla="*/ 3 h 3"/>
                <a:gd name="T2" fmla="*/ 7 w 7"/>
                <a:gd name="T3" fmla="*/ 3 h 3"/>
                <a:gd name="T4" fmla="*/ 7 w 7"/>
                <a:gd name="T5" fmla="*/ 0 h 3"/>
                <a:gd name="T6" fmla="*/ 0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8" name="Rectangle 2196">
              <a:extLst>
                <a:ext uri="{FF2B5EF4-FFF2-40B4-BE49-F238E27FC236}">
                  <a16:creationId xmlns:a16="http://schemas.microsoft.com/office/drawing/2014/main" id="{71384EF7-3F92-40A2-A774-8C2205E3A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30"/>
              <a:ext cx="7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9" name="Freeform 2197">
              <a:extLst>
                <a:ext uri="{FF2B5EF4-FFF2-40B4-BE49-F238E27FC236}">
                  <a16:creationId xmlns:a16="http://schemas.microsoft.com/office/drawing/2014/main" id="{59BC282A-BBD7-48E1-B436-DEE51CB46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30"/>
              <a:ext cx="7" cy="3"/>
            </a:xfrm>
            <a:custGeom>
              <a:avLst/>
              <a:gdLst>
                <a:gd name="T0" fmla="*/ 0 w 7"/>
                <a:gd name="T1" fmla="*/ 3 h 3"/>
                <a:gd name="T2" fmla="*/ 7 w 7"/>
                <a:gd name="T3" fmla="*/ 3 h 3"/>
                <a:gd name="T4" fmla="*/ 7 w 7"/>
                <a:gd name="T5" fmla="*/ 0 h 3"/>
                <a:gd name="T6" fmla="*/ 0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0" name="Rectangle 2198">
              <a:extLst>
                <a:ext uri="{FF2B5EF4-FFF2-40B4-BE49-F238E27FC236}">
                  <a16:creationId xmlns:a16="http://schemas.microsoft.com/office/drawing/2014/main" id="{B043ED66-8ED8-4F55-A47F-201FB5822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38"/>
              <a:ext cx="7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1" name="Freeform 2199">
              <a:extLst>
                <a:ext uri="{FF2B5EF4-FFF2-40B4-BE49-F238E27FC236}">
                  <a16:creationId xmlns:a16="http://schemas.microsoft.com/office/drawing/2014/main" id="{4CC5E77A-68D5-4B59-84D4-F992D1BB2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38"/>
              <a:ext cx="7" cy="2"/>
            </a:xfrm>
            <a:custGeom>
              <a:avLst/>
              <a:gdLst>
                <a:gd name="T0" fmla="*/ 0 w 7"/>
                <a:gd name="T1" fmla="*/ 2 h 2"/>
                <a:gd name="T2" fmla="*/ 7 w 7"/>
                <a:gd name="T3" fmla="*/ 2 h 2"/>
                <a:gd name="T4" fmla="*/ 7 w 7"/>
                <a:gd name="T5" fmla="*/ 0 h 2"/>
                <a:gd name="T6" fmla="*/ 0 w 7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2" name="Rectangle 2200">
              <a:extLst>
                <a:ext uri="{FF2B5EF4-FFF2-40B4-BE49-F238E27FC236}">
                  <a16:creationId xmlns:a16="http://schemas.microsoft.com/office/drawing/2014/main" id="{97FF415F-2FD0-4624-B6FE-CE8DDD5D7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48"/>
              <a:ext cx="7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3" name="Freeform 2201">
              <a:extLst>
                <a:ext uri="{FF2B5EF4-FFF2-40B4-BE49-F238E27FC236}">
                  <a16:creationId xmlns:a16="http://schemas.microsoft.com/office/drawing/2014/main" id="{F6EF9737-B79B-4755-93D6-A7E68DCED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48"/>
              <a:ext cx="7" cy="3"/>
            </a:xfrm>
            <a:custGeom>
              <a:avLst/>
              <a:gdLst>
                <a:gd name="T0" fmla="*/ 0 w 7"/>
                <a:gd name="T1" fmla="*/ 3 h 3"/>
                <a:gd name="T2" fmla="*/ 7 w 7"/>
                <a:gd name="T3" fmla="*/ 3 h 3"/>
                <a:gd name="T4" fmla="*/ 7 w 7"/>
                <a:gd name="T5" fmla="*/ 0 h 3"/>
                <a:gd name="T6" fmla="*/ 0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4" name="Rectangle 2202">
              <a:extLst>
                <a:ext uri="{FF2B5EF4-FFF2-40B4-BE49-F238E27FC236}">
                  <a16:creationId xmlns:a16="http://schemas.microsoft.com/office/drawing/2014/main" id="{15AAF414-2F53-4143-A6AA-06B177162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56"/>
              <a:ext cx="7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5" name="Freeform 2203">
              <a:extLst>
                <a:ext uri="{FF2B5EF4-FFF2-40B4-BE49-F238E27FC236}">
                  <a16:creationId xmlns:a16="http://schemas.microsoft.com/office/drawing/2014/main" id="{21D18B4F-D170-4946-87B4-7BC925B7D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56"/>
              <a:ext cx="7" cy="2"/>
            </a:xfrm>
            <a:custGeom>
              <a:avLst/>
              <a:gdLst>
                <a:gd name="T0" fmla="*/ 0 w 7"/>
                <a:gd name="T1" fmla="*/ 2 h 2"/>
                <a:gd name="T2" fmla="*/ 7 w 7"/>
                <a:gd name="T3" fmla="*/ 2 h 2"/>
                <a:gd name="T4" fmla="*/ 7 w 7"/>
                <a:gd name="T5" fmla="*/ 0 h 2"/>
                <a:gd name="T6" fmla="*/ 0 w 7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6" name="Rectangle 2204">
              <a:extLst>
                <a:ext uri="{FF2B5EF4-FFF2-40B4-BE49-F238E27FC236}">
                  <a16:creationId xmlns:a16="http://schemas.microsoft.com/office/drawing/2014/main" id="{8B092A67-5F42-4556-BCF9-87A780F7A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66"/>
              <a:ext cx="7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7" name="Freeform 2205">
              <a:extLst>
                <a:ext uri="{FF2B5EF4-FFF2-40B4-BE49-F238E27FC236}">
                  <a16:creationId xmlns:a16="http://schemas.microsoft.com/office/drawing/2014/main" id="{1B8BACE1-1567-4BD2-ADAD-10B62F01C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66"/>
              <a:ext cx="7" cy="2"/>
            </a:xfrm>
            <a:custGeom>
              <a:avLst/>
              <a:gdLst>
                <a:gd name="T0" fmla="*/ 0 w 7"/>
                <a:gd name="T1" fmla="*/ 2 h 2"/>
                <a:gd name="T2" fmla="*/ 7 w 7"/>
                <a:gd name="T3" fmla="*/ 2 h 2"/>
                <a:gd name="T4" fmla="*/ 7 w 7"/>
                <a:gd name="T5" fmla="*/ 0 h 2"/>
                <a:gd name="T6" fmla="*/ 0 w 7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8" name="Rectangle 2206">
              <a:extLst>
                <a:ext uri="{FF2B5EF4-FFF2-40B4-BE49-F238E27FC236}">
                  <a16:creationId xmlns:a16="http://schemas.microsoft.com/office/drawing/2014/main" id="{3A83EF7C-D8DB-4689-9047-C95C5912B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9" y="2173"/>
              <a:ext cx="7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9" name="Freeform 2207">
              <a:extLst>
                <a:ext uri="{FF2B5EF4-FFF2-40B4-BE49-F238E27FC236}">
                  <a16:creationId xmlns:a16="http://schemas.microsoft.com/office/drawing/2014/main" id="{C48F5D8D-E1C7-4586-AC32-4EAA73BB1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173"/>
              <a:ext cx="7" cy="3"/>
            </a:xfrm>
            <a:custGeom>
              <a:avLst/>
              <a:gdLst>
                <a:gd name="T0" fmla="*/ 0 w 7"/>
                <a:gd name="T1" fmla="*/ 3 h 3"/>
                <a:gd name="T2" fmla="*/ 7 w 7"/>
                <a:gd name="T3" fmla="*/ 3 h 3"/>
                <a:gd name="T4" fmla="*/ 7 w 7"/>
                <a:gd name="T5" fmla="*/ 0 h 3"/>
                <a:gd name="T6" fmla="*/ 0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0" name="Rectangle 2208">
              <a:extLst>
                <a:ext uri="{FF2B5EF4-FFF2-40B4-BE49-F238E27FC236}">
                  <a16:creationId xmlns:a16="http://schemas.microsoft.com/office/drawing/2014/main" id="{C2EBA2EB-DED5-4D57-B986-F0E30EBB1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20"/>
              <a:ext cx="51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1" name="Freeform 2209">
              <a:extLst>
                <a:ext uri="{FF2B5EF4-FFF2-40B4-BE49-F238E27FC236}">
                  <a16:creationId xmlns:a16="http://schemas.microsoft.com/office/drawing/2014/main" id="{9D3B6D80-5C4C-4177-AF2E-D22D51FAB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20"/>
              <a:ext cx="51" cy="3"/>
            </a:xfrm>
            <a:custGeom>
              <a:avLst/>
              <a:gdLst>
                <a:gd name="T0" fmla="*/ 0 w 51"/>
                <a:gd name="T1" fmla="*/ 3 h 3"/>
                <a:gd name="T2" fmla="*/ 51 w 51"/>
                <a:gd name="T3" fmla="*/ 3 h 3"/>
                <a:gd name="T4" fmla="*/ 51 w 51"/>
                <a:gd name="T5" fmla="*/ 0 h 3"/>
                <a:gd name="T6" fmla="*/ 0 w 5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">
                  <a:moveTo>
                    <a:pt x="0" y="3"/>
                  </a:moveTo>
                  <a:lnTo>
                    <a:pt x="51" y="3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2" name="Rectangle 2210">
              <a:extLst>
                <a:ext uri="{FF2B5EF4-FFF2-40B4-BE49-F238E27FC236}">
                  <a16:creationId xmlns:a16="http://schemas.microsoft.com/office/drawing/2014/main" id="{5D200FBF-1185-4D41-8262-23D01062CC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30"/>
              <a:ext cx="51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3" name="Freeform 2211">
              <a:extLst>
                <a:ext uri="{FF2B5EF4-FFF2-40B4-BE49-F238E27FC236}">
                  <a16:creationId xmlns:a16="http://schemas.microsoft.com/office/drawing/2014/main" id="{18E568A8-05A7-41EC-9933-DF3F5C36F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30"/>
              <a:ext cx="51" cy="3"/>
            </a:xfrm>
            <a:custGeom>
              <a:avLst/>
              <a:gdLst>
                <a:gd name="T0" fmla="*/ 0 w 51"/>
                <a:gd name="T1" fmla="*/ 3 h 3"/>
                <a:gd name="T2" fmla="*/ 51 w 51"/>
                <a:gd name="T3" fmla="*/ 3 h 3"/>
                <a:gd name="T4" fmla="*/ 51 w 51"/>
                <a:gd name="T5" fmla="*/ 0 h 3"/>
                <a:gd name="T6" fmla="*/ 0 w 5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">
                  <a:moveTo>
                    <a:pt x="0" y="3"/>
                  </a:moveTo>
                  <a:lnTo>
                    <a:pt x="51" y="3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4" name="Rectangle 2212">
              <a:extLst>
                <a:ext uri="{FF2B5EF4-FFF2-40B4-BE49-F238E27FC236}">
                  <a16:creationId xmlns:a16="http://schemas.microsoft.com/office/drawing/2014/main" id="{F310997C-E449-47C8-8F52-030584F5F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38"/>
              <a:ext cx="5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5" name="Freeform 2213">
              <a:extLst>
                <a:ext uri="{FF2B5EF4-FFF2-40B4-BE49-F238E27FC236}">
                  <a16:creationId xmlns:a16="http://schemas.microsoft.com/office/drawing/2014/main" id="{4D630863-1607-4E8D-AD5C-04DBC07C0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38"/>
              <a:ext cx="51" cy="2"/>
            </a:xfrm>
            <a:custGeom>
              <a:avLst/>
              <a:gdLst>
                <a:gd name="T0" fmla="*/ 0 w 51"/>
                <a:gd name="T1" fmla="*/ 2 h 2"/>
                <a:gd name="T2" fmla="*/ 51 w 51"/>
                <a:gd name="T3" fmla="*/ 2 h 2"/>
                <a:gd name="T4" fmla="*/ 51 w 51"/>
                <a:gd name="T5" fmla="*/ 0 h 2"/>
                <a:gd name="T6" fmla="*/ 0 w 5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2">
                  <a:moveTo>
                    <a:pt x="0" y="2"/>
                  </a:moveTo>
                  <a:lnTo>
                    <a:pt x="51" y="2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6" name="Rectangle 2214">
              <a:extLst>
                <a:ext uri="{FF2B5EF4-FFF2-40B4-BE49-F238E27FC236}">
                  <a16:creationId xmlns:a16="http://schemas.microsoft.com/office/drawing/2014/main" id="{17EA1C0C-C484-4318-A5F8-C78B9505E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48"/>
              <a:ext cx="51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43" name="Group 2416">
            <a:extLst>
              <a:ext uri="{FF2B5EF4-FFF2-40B4-BE49-F238E27FC236}">
                <a16:creationId xmlns:a16="http://schemas.microsoft.com/office/drawing/2014/main" id="{5B8B1DC5-367E-4311-8026-565B207960CE}"/>
              </a:ext>
            </a:extLst>
          </p:cNvPr>
          <p:cNvGrpSpPr>
            <a:grpSpLocks/>
          </p:cNvGrpSpPr>
          <p:nvPr/>
        </p:nvGrpSpPr>
        <p:grpSpPr bwMode="auto">
          <a:xfrm>
            <a:off x="778705" y="3348100"/>
            <a:ext cx="7435811" cy="1137630"/>
            <a:chOff x="999" y="1986"/>
            <a:chExt cx="3360" cy="514"/>
          </a:xfrm>
        </p:grpSpPr>
        <p:sp>
          <p:nvSpPr>
            <p:cNvPr id="144" name="Freeform 2216">
              <a:extLst>
                <a:ext uri="{FF2B5EF4-FFF2-40B4-BE49-F238E27FC236}">
                  <a16:creationId xmlns:a16="http://schemas.microsoft.com/office/drawing/2014/main" id="{EB27D9AC-25D5-4E10-9B2C-F2399F069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48"/>
              <a:ext cx="51" cy="3"/>
            </a:xfrm>
            <a:custGeom>
              <a:avLst/>
              <a:gdLst>
                <a:gd name="T0" fmla="*/ 0 w 51"/>
                <a:gd name="T1" fmla="*/ 3 h 3"/>
                <a:gd name="T2" fmla="*/ 51 w 51"/>
                <a:gd name="T3" fmla="*/ 3 h 3"/>
                <a:gd name="T4" fmla="*/ 51 w 51"/>
                <a:gd name="T5" fmla="*/ 0 h 3"/>
                <a:gd name="T6" fmla="*/ 0 w 5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">
                  <a:moveTo>
                    <a:pt x="0" y="3"/>
                  </a:moveTo>
                  <a:lnTo>
                    <a:pt x="51" y="3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5" name="Rectangle 2217">
              <a:extLst>
                <a:ext uri="{FF2B5EF4-FFF2-40B4-BE49-F238E27FC236}">
                  <a16:creationId xmlns:a16="http://schemas.microsoft.com/office/drawing/2014/main" id="{2B83A205-73E6-45DF-A65F-09D268B45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56"/>
              <a:ext cx="5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6" name="Freeform 2218">
              <a:extLst>
                <a:ext uri="{FF2B5EF4-FFF2-40B4-BE49-F238E27FC236}">
                  <a16:creationId xmlns:a16="http://schemas.microsoft.com/office/drawing/2014/main" id="{B5646CA8-8866-41C0-A06A-C0FA97B38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56"/>
              <a:ext cx="51" cy="2"/>
            </a:xfrm>
            <a:custGeom>
              <a:avLst/>
              <a:gdLst>
                <a:gd name="T0" fmla="*/ 0 w 51"/>
                <a:gd name="T1" fmla="*/ 2 h 2"/>
                <a:gd name="T2" fmla="*/ 51 w 51"/>
                <a:gd name="T3" fmla="*/ 2 h 2"/>
                <a:gd name="T4" fmla="*/ 51 w 51"/>
                <a:gd name="T5" fmla="*/ 0 h 2"/>
                <a:gd name="T6" fmla="*/ 0 w 5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2">
                  <a:moveTo>
                    <a:pt x="0" y="2"/>
                  </a:moveTo>
                  <a:lnTo>
                    <a:pt x="51" y="2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7" name="Rectangle 2219">
              <a:extLst>
                <a:ext uri="{FF2B5EF4-FFF2-40B4-BE49-F238E27FC236}">
                  <a16:creationId xmlns:a16="http://schemas.microsoft.com/office/drawing/2014/main" id="{8F0C149D-CE54-40DA-83D9-E72BA72089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66"/>
              <a:ext cx="51" cy="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8" name="Freeform 2220">
              <a:extLst>
                <a:ext uri="{FF2B5EF4-FFF2-40B4-BE49-F238E27FC236}">
                  <a16:creationId xmlns:a16="http://schemas.microsoft.com/office/drawing/2014/main" id="{26EDC0A1-3E67-40B8-9153-485386110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66"/>
              <a:ext cx="51" cy="2"/>
            </a:xfrm>
            <a:custGeom>
              <a:avLst/>
              <a:gdLst>
                <a:gd name="T0" fmla="*/ 0 w 51"/>
                <a:gd name="T1" fmla="*/ 2 h 2"/>
                <a:gd name="T2" fmla="*/ 51 w 51"/>
                <a:gd name="T3" fmla="*/ 2 h 2"/>
                <a:gd name="T4" fmla="*/ 51 w 51"/>
                <a:gd name="T5" fmla="*/ 0 h 2"/>
                <a:gd name="T6" fmla="*/ 0 w 5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2">
                  <a:moveTo>
                    <a:pt x="0" y="2"/>
                  </a:moveTo>
                  <a:lnTo>
                    <a:pt x="51" y="2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9" name="Rectangle 2221">
              <a:extLst>
                <a:ext uri="{FF2B5EF4-FFF2-40B4-BE49-F238E27FC236}">
                  <a16:creationId xmlns:a16="http://schemas.microsoft.com/office/drawing/2014/main" id="{8432B417-8727-4216-A777-1AB3753258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2173"/>
              <a:ext cx="51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0" name="Freeform 2222">
              <a:extLst>
                <a:ext uri="{FF2B5EF4-FFF2-40B4-BE49-F238E27FC236}">
                  <a16:creationId xmlns:a16="http://schemas.microsoft.com/office/drawing/2014/main" id="{B224B382-9FCA-4767-97ED-D20CEB881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" y="2173"/>
              <a:ext cx="51" cy="3"/>
            </a:xfrm>
            <a:custGeom>
              <a:avLst/>
              <a:gdLst>
                <a:gd name="T0" fmla="*/ 0 w 51"/>
                <a:gd name="T1" fmla="*/ 3 h 3"/>
                <a:gd name="T2" fmla="*/ 51 w 51"/>
                <a:gd name="T3" fmla="*/ 3 h 3"/>
                <a:gd name="T4" fmla="*/ 51 w 51"/>
                <a:gd name="T5" fmla="*/ 0 h 3"/>
                <a:gd name="T6" fmla="*/ 0 w 5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">
                  <a:moveTo>
                    <a:pt x="0" y="3"/>
                  </a:moveTo>
                  <a:lnTo>
                    <a:pt x="51" y="3"/>
                  </a:lnTo>
                  <a:lnTo>
                    <a:pt x="5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" name="Freeform 2223">
              <a:extLst>
                <a:ext uri="{FF2B5EF4-FFF2-40B4-BE49-F238E27FC236}">
                  <a16:creationId xmlns:a16="http://schemas.microsoft.com/office/drawing/2014/main" id="{14F81A1E-5C31-482E-928E-751C0133B2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0" y="1986"/>
              <a:ext cx="13" cy="15"/>
            </a:xfrm>
            <a:custGeom>
              <a:avLst/>
              <a:gdLst>
                <a:gd name="T0" fmla="*/ 1 w 5"/>
                <a:gd name="T1" fmla="*/ 1 h 6"/>
                <a:gd name="T2" fmla="*/ 0 w 5"/>
                <a:gd name="T3" fmla="*/ 3 h 6"/>
                <a:gd name="T4" fmla="*/ 1 w 5"/>
                <a:gd name="T5" fmla="*/ 5 h 6"/>
                <a:gd name="T6" fmla="*/ 1 w 5"/>
                <a:gd name="T7" fmla="*/ 1 h 6"/>
                <a:gd name="T8" fmla="*/ 2 w 5"/>
                <a:gd name="T9" fmla="*/ 0 h 6"/>
                <a:gd name="T10" fmla="*/ 2 w 5"/>
                <a:gd name="T11" fmla="*/ 0 h 6"/>
                <a:gd name="T12" fmla="*/ 2 w 5"/>
                <a:gd name="T13" fmla="*/ 6 h 6"/>
                <a:gd name="T14" fmla="*/ 2 w 5"/>
                <a:gd name="T15" fmla="*/ 6 h 6"/>
                <a:gd name="T16" fmla="*/ 5 w 5"/>
                <a:gd name="T17" fmla="*/ 3 h 6"/>
                <a:gd name="T18" fmla="*/ 2 w 5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6">
                  <a:moveTo>
                    <a:pt x="1" y="1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5" y="5"/>
                    <a:pt x="5" y="3"/>
                  </a:cubicBezTo>
                  <a:cubicBezTo>
                    <a:pt x="5" y="2"/>
                    <a:pt x="4" y="0"/>
                    <a:pt x="2" y="0"/>
                  </a:cubicBezTo>
                </a:path>
              </a:pathLst>
            </a:custGeom>
            <a:solidFill>
              <a:srgbClr val="ABB1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" name="Freeform 2224">
              <a:extLst>
                <a:ext uri="{FF2B5EF4-FFF2-40B4-BE49-F238E27FC236}">
                  <a16:creationId xmlns:a16="http://schemas.microsoft.com/office/drawing/2014/main" id="{58132045-89D8-4200-8ED5-0BE31DB6F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1986"/>
              <a:ext cx="2" cy="15"/>
            </a:xfrm>
            <a:custGeom>
              <a:avLst/>
              <a:gdLst>
                <a:gd name="T0" fmla="*/ 1 w 1"/>
                <a:gd name="T1" fmla="*/ 0 h 6"/>
                <a:gd name="T2" fmla="*/ 0 w 1"/>
                <a:gd name="T3" fmla="*/ 1 h 6"/>
                <a:gd name="T4" fmla="*/ 0 w 1"/>
                <a:gd name="T5" fmla="*/ 5 h 6"/>
                <a:gd name="T6" fmla="*/ 1 w 1"/>
                <a:gd name="T7" fmla="*/ 6 h 6"/>
                <a:gd name="T8" fmla="*/ 1 w 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" name="Freeform 2225">
              <a:extLst>
                <a:ext uri="{FF2B5EF4-FFF2-40B4-BE49-F238E27FC236}">
                  <a16:creationId xmlns:a16="http://schemas.microsoft.com/office/drawing/2014/main" id="{AF9DEE27-61A1-40C0-A291-0A5437168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" y="2004"/>
              <a:ext cx="28" cy="12"/>
            </a:xfrm>
            <a:custGeom>
              <a:avLst/>
              <a:gdLst>
                <a:gd name="T0" fmla="*/ 7 w 11"/>
                <a:gd name="T1" fmla="*/ 0 h 5"/>
                <a:gd name="T2" fmla="*/ 5 w 11"/>
                <a:gd name="T3" fmla="*/ 0 h 5"/>
                <a:gd name="T4" fmla="*/ 5 w 11"/>
                <a:gd name="T5" fmla="*/ 5 h 5"/>
                <a:gd name="T6" fmla="*/ 5 w 11"/>
                <a:gd name="T7" fmla="*/ 5 h 5"/>
                <a:gd name="T8" fmla="*/ 4 w 11"/>
                <a:gd name="T9" fmla="*/ 5 h 5"/>
                <a:gd name="T10" fmla="*/ 4 w 11"/>
                <a:gd name="T11" fmla="*/ 0 h 5"/>
                <a:gd name="T12" fmla="*/ 3 w 11"/>
                <a:gd name="T13" fmla="*/ 0 h 5"/>
                <a:gd name="T14" fmla="*/ 0 w 11"/>
                <a:gd name="T15" fmla="*/ 3 h 5"/>
                <a:gd name="T16" fmla="*/ 0 w 11"/>
                <a:gd name="T17" fmla="*/ 5 h 5"/>
                <a:gd name="T18" fmla="*/ 11 w 11"/>
                <a:gd name="T19" fmla="*/ 5 h 5"/>
                <a:gd name="T20" fmla="*/ 11 w 11"/>
                <a:gd name="T21" fmla="*/ 3 h 5"/>
                <a:gd name="T22" fmla="*/ 7 w 11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5">
                  <a:moveTo>
                    <a:pt x="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9" y="0"/>
                    <a:pt x="7" y="0"/>
                  </a:cubicBezTo>
                </a:path>
              </a:pathLst>
            </a:custGeom>
            <a:solidFill>
              <a:srgbClr val="ABB1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4" name="Rectangle 2226">
              <a:extLst>
                <a:ext uri="{FF2B5EF4-FFF2-40B4-BE49-F238E27FC236}">
                  <a16:creationId xmlns:a16="http://schemas.microsoft.com/office/drawing/2014/main" id="{077D469C-6106-4999-928A-7084459F5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" y="2016"/>
              <a:ext cx="28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5" name="Rectangle 2227">
              <a:extLst>
                <a:ext uri="{FF2B5EF4-FFF2-40B4-BE49-F238E27FC236}">
                  <a16:creationId xmlns:a16="http://schemas.microsoft.com/office/drawing/2014/main" id="{5D9E6FA4-B734-4A6E-8ACB-F2346C1BF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3" y="2016"/>
              <a:ext cx="28" cy="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6" name="Line 2228">
              <a:extLst>
                <a:ext uri="{FF2B5EF4-FFF2-40B4-BE49-F238E27FC236}">
                  <a16:creationId xmlns:a16="http://schemas.microsoft.com/office/drawing/2014/main" id="{58301C0D-3DED-410C-8402-D56591AFEC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5" y="20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7" name="Line 2229">
              <a:extLst>
                <a:ext uri="{FF2B5EF4-FFF2-40B4-BE49-F238E27FC236}">
                  <a16:creationId xmlns:a16="http://schemas.microsoft.com/office/drawing/2014/main" id="{F52165D9-B6D7-4D6D-BA68-A8990D1430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5" y="20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8" name="Freeform 2230">
              <a:extLst>
                <a:ext uri="{FF2B5EF4-FFF2-40B4-BE49-F238E27FC236}">
                  <a16:creationId xmlns:a16="http://schemas.microsoft.com/office/drawing/2014/main" id="{F8FDB584-2471-4B65-9961-F91DF1943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004"/>
              <a:ext cx="2" cy="12"/>
            </a:xfrm>
            <a:custGeom>
              <a:avLst/>
              <a:gdLst>
                <a:gd name="T0" fmla="*/ 2 w 2"/>
                <a:gd name="T1" fmla="*/ 0 h 12"/>
                <a:gd name="T2" fmla="*/ 0 w 2"/>
                <a:gd name="T3" fmla="*/ 0 h 12"/>
                <a:gd name="T4" fmla="*/ 0 w 2"/>
                <a:gd name="T5" fmla="*/ 12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2">
                  <a:moveTo>
                    <a:pt x="2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" name="Freeform 2231">
              <a:extLst>
                <a:ext uri="{FF2B5EF4-FFF2-40B4-BE49-F238E27FC236}">
                  <a16:creationId xmlns:a16="http://schemas.microsoft.com/office/drawing/2014/main" id="{5F0B3376-2D48-4498-8294-9E57B9013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004"/>
              <a:ext cx="2" cy="12"/>
            </a:xfrm>
            <a:custGeom>
              <a:avLst/>
              <a:gdLst>
                <a:gd name="T0" fmla="*/ 2 w 2"/>
                <a:gd name="T1" fmla="*/ 0 h 12"/>
                <a:gd name="T2" fmla="*/ 0 w 2"/>
                <a:gd name="T3" fmla="*/ 0 h 12"/>
                <a:gd name="T4" fmla="*/ 0 w 2"/>
                <a:gd name="T5" fmla="*/ 12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2">
                  <a:moveTo>
                    <a:pt x="2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" name="Freeform 2232">
              <a:extLst>
                <a:ext uri="{FF2B5EF4-FFF2-40B4-BE49-F238E27FC236}">
                  <a16:creationId xmlns:a16="http://schemas.microsoft.com/office/drawing/2014/main" id="{29FD726D-5834-4396-918D-58E295DE1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7" y="1986"/>
              <a:ext cx="16" cy="15"/>
            </a:xfrm>
            <a:custGeom>
              <a:avLst/>
              <a:gdLst>
                <a:gd name="T0" fmla="*/ 5 w 6"/>
                <a:gd name="T1" fmla="*/ 1 h 6"/>
                <a:gd name="T2" fmla="*/ 5 w 6"/>
                <a:gd name="T3" fmla="*/ 5 h 6"/>
                <a:gd name="T4" fmla="*/ 6 w 6"/>
                <a:gd name="T5" fmla="*/ 3 h 6"/>
                <a:gd name="T6" fmla="*/ 5 w 6"/>
                <a:gd name="T7" fmla="*/ 1 h 6"/>
                <a:gd name="T8" fmla="*/ 3 w 6"/>
                <a:gd name="T9" fmla="*/ 0 h 6"/>
                <a:gd name="T10" fmla="*/ 0 w 6"/>
                <a:gd name="T11" fmla="*/ 3 h 6"/>
                <a:gd name="T12" fmla="*/ 3 w 6"/>
                <a:gd name="T13" fmla="*/ 6 h 6"/>
                <a:gd name="T14" fmla="*/ 4 w 6"/>
                <a:gd name="T15" fmla="*/ 5 h 6"/>
                <a:gd name="T16" fmla="*/ 4 w 6"/>
                <a:gd name="T17" fmla="*/ 1 h 6"/>
                <a:gd name="T18" fmla="*/ 3 w 6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6" y="4"/>
                    <a:pt x="6" y="3"/>
                  </a:cubicBezTo>
                  <a:cubicBezTo>
                    <a:pt x="6" y="2"/>
                    <a:pt x="5" y="2"/>
                    <a:pt x="5" y="1"/>
                  </a:cubicBezTo>
                  <a:moveTo>
                    <a:pt x="3" y="0"/>
                  </a:move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</a:path>
              </a:pathLst>
            </a:custGeom>
            <a:solidFill>
              <a:srgbClr val="ABB1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1" name="Freeform 2233">
              <a:extLst>
                <a:ext uri="{FF2B5EF4-FFF2-40B4-BE49-F238E27FC236}">
                  <a16:creationId xmlns:a16="http://schemas.microsoft.com/office/drawing/2014/main" id="{8F274DD5-24F8-4512-BCB0-6D594F63C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1989"/>
              <a:ext cx="2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1 w 1"/>
                <a:gd name="T5" fmla="*/ 4 h 4"/>
                <a:gd name="T6" fmla="*/ 1 w 1"/>
                <a:gd name="T7" fmla="*/ 0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2" name="Freeform 2234">
              <a:extLst>
                <a:ext uri="{FF2B5EF4-FFF2-40B4-BE49-F238E27FC236}">
                  <a16:creationId xmlns:a16="http://schemas.microsoft.com/office/drawing/2014/main" id="{0D614F70-A9B4-45E0-A3F9-4C7AEEB2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" y="2004"/>
              <a:ext cx="28" cy="12"/>
            </a:xfrm>
            <a:custGeom>
              <a:avLst/>
              <a:gdLst>
                <a:gd name="T0" fmla="*/ 6 w 11"/>
                <a:gd name="T1" fmla="*/ 0 h 5"/>
                <a:gd name="T2" fmla="*/ 3 w 11"/>
                <a:gd name="T3" fmla="*/ 0 h 5"/>
                <a:gd name="T4" fmla="*/ 0 w 11"/>
                <a:gd name="T5" fmla="*/ 2 h 5"/>
                <a:gd name="T6" fmla="*/ 0 w 11"/>
                <a:gd name="T7" fmla="*/ 5 h 5"/>
                <a:gd name="T8" fmla="*/ 11 w 11"/>
                <a:gd name="T9" fmla="*/ 5 h 5"/>
                <a:gd name="T10" fmla="*/ 11 w 11"/>
                <a:gd name="T11" fmla="*/ 3 h 5"/>
                <a:gd name="T12" fmla="*/ 7 w 11"/>
                <a:gd name="T13" fmla="*/ 0 h 5"/>
                <a:gd name="T14" fmla="*/ 7 w 11"/>
                <a:gd name="T15" fmla="*/ 5 h 5"/>
                <a:gd name="T16" fmla="*/ 7 w 11"/>
                <a:gd name="T17" fmla="*/ 5 h 5"/>
                <a:gd name="T18" fmla="*/ 6 w 11"/>
                <a:gd name="T19" fmla="*/ 5 h 5"/>
                <a:gd name="T20" fmla="*/ 6 w 11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5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BB1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" name="Rectangle 2235">
              <a:extLst>
                <a:ext uri="{FF2B5EF4-FFF2-40B4-BE49-F238E27FC236}">
                  <a16:creationId xmlns:a16="http://schemas.microsoft.com/office/drawing/2014/main" id="{B9A0D289-0594-4F5F-9C9E-3B35817A40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2016"/>
              <a:ext cx="28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" name="Rectangle 2236">
              <a:extLst>
                <a:ext uri="{FF2B5EF4-FFF2-40B4-BE49-F238E27FC236}">
                  <a16:creationId xmlns:a16="http://schemas.microsoft.com/office/drawing/2014/main" id="{9D523582-5E1F-4378-AD5E-493EAFDDF4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2016"/>
              <a:ext cx="28" cy="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" name="Line 2237">
              <a:extLst>
                <a:ext uri="{FF2B5EF4-FFF2-40B4-BE49-F238E27FC236}">
                  <a16:creationId xmlns:a16="http://schemas.microsoft.com/office/drawing/2014/main" id="{13F57C78-22F7-45BE-A557-25427D7D77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0" y="20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" name="Line 2238">
              <a:extLst>
                <a:ext uri="{FF2B5EF4-FFF2-40B4-BE49-F238E27FC236}">
                  <a16:creationId xmlns:a16="http://schemas.microsoft.com/office/drawing/2014/main" id="{8EB51B3E-23E5-4880-9E56-3C820DFC4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0" y="20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" name="Freeform 2239">
              <a:extLst>
                <a:ext uri="{FF2B5EF4-FFF2-40B4-BE49-F238E27FC236}">
                  <a16:creationId xmlns:a16="http://schemas.microsoft.com/office/drawing/2014/main" id="{3E1F510D-6C47-4357-92CC-7B414FF25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004"/>
              <a:ext cx="2" cy="12"/>
            </a:xfrm>
            <a:custGeom>
              <a:avLst/>
              <a:gdLst>
                <a:gd name="T0" fmla="*/ 1 w 1"/>
                <a:gd name="T1" fmla="*/ 0 h 5"/>
                <a:gd name="T2" fmla="*/ 0 w 1"/>
                <a:gd name="T3" fmla="*/ 0 h 5"/>
                <a:gd name="T4" fmla="*/ 0 w 1"/>
                <a:gd name="T5" fmla="*/ 5 h 5"/>
                <a:gd name="T6" fmla="*/ 1 w 1"/>
                <a:gd name="T7" fmla="*/ 5 h 5"/>
                <a:gd name="T8" fmla="*/ 1 w 1"/>
                <a:gd name="T9" fmla="*/ 5 h 5"/>
                <a:gd name="T10" fmla="*/ 1 w 1"/>
                <a:gd name="T11" fmla="*/ 0 h 5"/>
                <a:gd name="T12" fmla="*/ 1 w 1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" name="Oval 2240">
              <a:extLst>
                <a:ext uri="{FF2B5EF4-FFF2-40B4-BE49-F238E27FC236}">
                  <a16:creationId xmlns:a16="http://schemas.microsoft.com/office/drawing/2014/main" id="{FB565F9C-67F5-42CA-A864-5A1287A1A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4" y="2186"/>
              <a:ext cx="20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" name="Freeform 2241">
              <a:extLst>
                <a:ext uri="{FF2B5EF4-FFF2-40B4-BE49-F238E27FC236}">
                  <a16:creationId xmlns:a16="http://schemas.microsoft.com/office/drawing/2014/main" id="{0ECB25CA-21AD-49D2-9EF7-B11F6CF18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186"/>
              <a:ext cx="20" cy="20"/>
            </a:xfrm>
            <a:custGeom>
              <a:avLst/>
              <a:gdLst>
                <a:gd name="T0" fmla="*/ 8 w 8"/>
                <a:gd name="T1" fmla="*/ 4 h 8"/>
                <a:gd name="T2" fmla="*/ 7 w 8"/>
                <a:gd name="T3" fmla="*/ 4 h 8"/>
                <a:gd name="T4" fmla="*/ 4 w 8"/>
                <a:gd name="T5" fmla="*/ 7 h 8"/>
                <a:gd name="T6" fmla="*/ 0 w 8"/>
                <a:gd name="T7" fmla="*/ 4 h 8"/>
                <a:gd name="T8" fmla="*/ 4 w 8"/>
                <a:gd name="T9" fmla="*/ 1 h 8"/>
                <a:gd name="T10" fmla="*/ 7 w 8"/>
                <a:gd name="T11" fmla="*/ 4 h 8"/>
                <a:gd name="T12" fmla="*/ 8 w 8"/>
                <a:gd name="T13" fmla="*/ 4 h 8"/>
                <a:gd name="T14" fmla="*/ 8 w 8"/>
                <a:gd name="T15" fmla="*/ 4 h 8"/>
                <a:gd name="T16" fmla="*/ 4 w 8"/>
                <a:gd name="T17" fmla="*/ 0 h 8"/>
                <a:gd name="T18" fmla="*/ 0 w 8"/>
                <a:gd name="T19" fmla="*/ 4 h 8"/>
                <a:gd name="T20" fmla="*/ 4 w 8"/>
                <a:gd name="T21" fmla="*/ 8 h 8"/>
                <a:gd name="T22" fmla="*/ 8 w 8"/>
                <a:gd name="T2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6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1"/>
                    <a:pt x="4" y="1"/>
                  </a:cubicBezTo>
                  <a:cubicBezTo>
                    <a:pt x="6" y="1"/>
                    <a:pt x="7" y="2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6" y="8"/>
                    <a:pt x="8" y="6"/>
                    <a:pt x="8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" name="Freeform 2242">
              <a:extLst>
                <a:ext uri="{FF2B5EF4-FFF2-40B4-BE49-F238E27FC236}">
                  <a16:creationId xmlns:a16="http://schemas.microsoft.com/office/drawing/2014/main" id="{060E1571-D8A0-46FF-A07D-186F80610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3" y="2209"/>
              <a:ext cx="41" cy="88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15 h 35"/>
                <a:gd name="T4" fmla="*/ 2 w 16"/>
                <a:gd name="T5" fmla="*/ 17 h 35"/>
                <a:gd name="T6" fmla="*/ 3 w 16"/>
                <a:gd name="T7" fmla="*/ 17 h 35"/>
                <a:gd name="T8" fmla="*/ 3 w 16"/>
                <a:gd name="T9" fmla="*/ 19 h 35"/>
                <a:gd name="T10" fmla="*/ 3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9 h 35"/>
                <a:gd name="T18" fmla="*/ 9 w 16"/>
                <a:gd name="T19" fmla="*/ 19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9 h 35"/>
                <a:gd name="T28" fmla="*/ 13 w 16"/>
                <a:gd name="T29" fmla="*/ 17 h 35"/>
                <a:gd name="T30" fmla="*/ 14 w 16"/>
                <a:gd name="T31" fmla="*/ 17 h 35"/>
                <a:gd name="T32" fmla="*/ 16 w 16"/>
                <a:gd name="T33" fmla="*/ 15 h 35"/>
                <a:gd name="T34" fmla="*/ 16 w 16"/>
                <a:gd name="T35" fmla="*/ 5 h 35"/>
                <a:gd name="T36" fmla="*/ 11 w 16"/>
                <a:gd name="T37" fmla="*/ 0 h 35"/>
                <a:gd name="T38" fmla="*/ 5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6" y="16"/>
                    <a:pt x="16" y="1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3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" name="Freeform 2243">
              <a:extLst>
                <a:ext uri="{FF2B5EF4-FFF2-40B4-BE49-F238E27FC236}">
                  <a16:creationId xmlns:a16="http://schemas.microsoft.com/office/drawing/2014/main" id="{0C17E004-D739-4F0C-AD41-092BD7125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2209"/>
              <a:ext cx="43" cy="88"/>
            </a:xfrm>
            <a:custGeom>
              <a:avLst/>
              <a:gdLst>
                <a:gd name="T0" fmla="*/ 1 w 17"/>
                <a:gd name="T1" fmla="*/ 5 h 35"/>
                <a:gd name="T2" fmla="*/ 0 w 17"/>
                <a:gd name="T3" fmla="*/ 5 h 35"/>
                <a:gd name="T4" fmla="*/ 0 w 17"/>
                <a:gd name="T5" fmla="*/ 15 h 35"/>
                <a:gd name="T6" fmla="*/ 3 w 17"/>
                <a:gd name="T7" fmla="*/ 17 h 35"/>
                <a:gd name="T8" fmla="*/ 4 w 17"/>
                <a:gd name="T9" fmla="*/ 17 h 35"/>
                <a:gd name="T10" fmla="*/ 4 w 17"/>
                <a:gd name="T11" fmla="*/ 19 h 35"/>
                <a:gd name="T12" fmla="*/ 4 w 17"/>
                <a:gd name="T13" fmla="*/ 33 h 35"/>
                <a:gd name="T14" fmla="*/ 6 w 17"/>
                <a:gd name="T15" fmla="*/ 35 h 35"/>
                <a:gd name="T16" fmla="*/ 8 w 17"/>
                <a:gd name="T17" fmla="*/ 33 h 35"/>
                <a:gd name="T18" fmla="*/ 8 w 17"/>
                <a:gd name="T19" fmla="*/ 19 h 35"/>
                <a:gd name="T20" fmla="*/ 9 w 17"/>
                <a:gd name="T21" fmla="*/ 19 h 35"/>
                <a:gd name="T22" fmla="*/ 9 w 17"/>
                <a:gd name="T23" fmla="*/ 33 h 35"/>
                <a:gd name="T24" fmla="*/ 12 w 17"/>
                <a:gd name="T25" fmla="*/ 35 h 35"/>
                <a:gd name="T26" fmla="*/ 14 w 17"/>
                <a:gd name="T27" fmla="*/ 33 h 35"/>
                <a:gd name="T28" fmla="*/ 14 w 17"/>
                <a:gd name="T29" fmla="*/ 19 h 35"/>
                <a:gd name="T30" fmla="*/ 14 w 17"/>
                <a:gd name="T31" fmla="*/ 17 h 35"/>
                <a:gd name="T32" fmla="*/ 15 w 17"/>
                <a:gd name="T33" fmla="*/ 17 h 35"/>
                <a:gd name="T34" fmla="*/ 17 w 17"/>
                <a:gd name="T35" fmla="*/ 15 h 35"/>
                <a:gd name="T36" fmla="*/ 17 w 17"/>
                <a:gd name="T37" fmla="*/ 5 h 35"/>
                <a:gd name="T38" fmla="*/ 12 w 17"/>
                <a:gd name="T39" fmla="*/ 0 h 35"/>
                <a:gd name="T40" fmla="*/ 6 w 17"/>
                <a:gd name="T41" fmla="*/ 0 h 35"/>
                <a:gd name="T42" fmla="*/ 0 w 17"/>
                <a:gd name="T43" fmla="*/ 5 h 35"/>
                <a:gd name="T44" fmla="*/ 1 w 17"/>
                <a:gd name="T45" fmla="*/ 5 h 35"/>
                <a:gd name="T46" fmla="*/ 1 w 17"/>
                <a:gd name="T47" fmla="*/ 5 h 35"/>
                <a:gd name="T48" fmla="*/ 6 w 17"/>
                <a:gd name="T49" fmla="*/ 1 h 35"/>
                <a:gd name="T50" fmla="*/ 12 w 17"/>
                <a:gd name="T51" fmla="*/ 1 h 35"/>
                <a:gd name="T52" fmla="*/ 16 w 17"/>
                <a:gd name="T53" fmla="*/ 5 h 35"/>
                <a:gd name="T54" fmla="*/ 16 w 17"/>
                <a:gd name="T55" fmla="*/ 15 h 35"/>
                <a:gd name="T56" fmla="*/ 15 w 17"/>
                <a:gd name="T57" fmla="*/ 16 h 35"/>
                <a:gd name="T58" fmla="*/ 14 w 17"/>
                <a:gd name="T59" fmla="*/ 16 h 35"/>
                <a:gd name="T60" fmla="*/ 13 w 17"/>
                <a:gd name="T61" fmla="*/ 16 h 35"/>
                <a:gd name="T62" fmla="*/ 13 w 17"/>
                <a:gd name="T63" fmla="*/ 19 h 35"/>
                <a:gd name="T64" fmla="*/ 13 w 17"/>
                <a:gd name="T65" fmla="*/ 33 h 35"/>
                <a:gd name="T66" fmla="*/ 12 w 17"/>
                <a:gd name="T67" fmla="*/ 35 h 35"/>
                <a:gd name="T68" fmla="*/ 10 w 17"/>
                <a:gd name="T69" fmla="*/ 33 h 35"/>
                <a:gd name="T70" fmla="*/ 10 w 17"/>
                <a:gd name="T71" fmla="*/ 18 h 35"/>
                <a:gd name="T72" fmla="*/ 7 w 17"/>
                <a:gd name="T73" fmla="*/ 18 h 35"/>
                <a:gd name="T74" fmla="*/ 7 w 17"/>
                <a:gd name="T75" fmla="*/ 33 h 35"/>
                <a:gd name="T76" fmla="*/ 6 w 17"/>
                <a:gd name="T77" fmla="*/ 35 h 35"/>
                <a:gd name="T78" fmla="*/ 4 w 17"/>
                <a:gd name="T79" fmla="*/ 33 h 35"/>
                <a:gd name="T80" fmla="*/ 4 w 17"/>
                <a:gd name="T81" fmla="*/ 19 h 35"/>
                <a:gd name="T82" fmla="*/ 4 w 17"/>
                <a:gd name="T83" fmla="*/ 16 h 35"/>
                <a:gd name="T84" fmla="*/ 3 w 17"/>
                <a:gd name="T85" fmla="*/ 16 h 35"/>
                <a:gd name="T86" fmla="*/ 1 w 17"/>
                <a:gd name="T87" fmla="*/ 15 h 35"/>
                <a:gd name="T88" fmla="*/ 1 w 17"/>
                <a:gd name="T8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" h="35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2" y="17"/>
                    <a:pt x="3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5" y="35"/>
                    <a:pt x="6" y="35"/>
                  </a:cubicBezTo>
                  <a:cubicBezTo>
                    <a:pt x="7" y="35"/>
                    <a:pt x="8" y="34"/>
                    <a:pt x="8" y="3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2" y="35"/>
                  </a:cubicBezTo>
                  <a:cubicBezTo>
                    <a:pt x="13" y="35"/>
                    <a:pt x="14" y="34"/>
                    <a:pt x="14" y="33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7" y="16"/>
                    <a:pt x="17" y="1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5" y="0"/>
                    <a:pt x="1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1"/>
                    <a:pt x="16" y="3"/>
                    <a:pt x="16" y="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4"/>
                    <a:pt x="12" y="35"/>
                    <a:pt x="12" y="35"/>
                  </a:cubicBezTo>
                  <a:cubicBezTo>
                    <a:pt x="11" y="35"/>
                    <a:pt x="10" y="34"/>
                    <a:pt x="10" y="33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4"/>
                    <a:pt x="7" y="35"/>
                    <a:pt x="6" y="35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" name="Rectangle 2244">
              <a:extLst>
                <a:ext uri="{FF2B5EF4-FFF2-40B4-BE49-F238E27FC236}">
                  <a16:creationId xmlns:a16="http://schemas.microsoft.com/office/drawing/2014/main" id="{3B10BC7A-8FE5-4472-8D8F-1441E1E2B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1" y="2224"/>
              <a:ext cx="1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" name="Freeform 2245">
              <a:extLst>
                <a:ext uri="{FF2B5EF4-FFF2-40B4-BE49-F238E27FC236}">
                  <a16:creationId xmlns:a16="http://schemas.microsoft.com/office/drawing/2014/main" id="{8606478E-710B-492E-BC7C-E1EE65848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1" y="2224"/>
              <a:ext cx="0" cy="28"/>
            </a:xfrm>
            <a:custGeom>
              <a:avLst/>
              <a:gdLst>
                <a:gd name="T0" fmla="*/ 28 h 28"/>
                <a:gd name="T1" fmla="*/ 0 h 28"/>
                <a:gd name="T2" fmla="*/ 0 h 28"/>
                <a:gd name="T3" fmla="*/ 28 h 2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8">
                  <a:moveTo>
                    <a:pt x="0" y="28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4" name="Rectangle 2246">
              <a:extLst>
                <a:ext uri="{FF2B5EF4-FFF2-40B4-BE49-F238E27FC236}">
                  <a16:creationId xmlns:a16="http://schemas.microsoft.com/office/drawing/2014/main" id="{D85345B2-1EB0-4C45-8685-78B09B76C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4" y="2224"/>
              <a:ext cx="2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5" name="Freeform 2247">
              <a:extLst>
                <a:ext uri="{FF2B5EF4-FFF2-40B4-BE49-F238E27FC236}">
                  <a16:creationId xmlns:a16="http://schemas.microsoft.com/office/drawing/2014/main" id="{32102AA0-069D-4FD0-A414-CDAF9EA56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2224"/>
              <a:ext cx="2" cy="28"/>
            </a:xfrm>
            <a:custGeom>
              <a:avLst/>
              <a:gdLst>
                <a:gd name="T0" fmla="*/ 2 w 2"/>
                <a:gd name="T1" fmla="*/ 28 h 28"/>
                <a:gd name="T2" fmla="*/ 2 w 2"/>
                <a:gd name="T3" fmla="*/ 0 h 28"/>
                <a:gd name="T4" fmla="*/ 0 w 2"/>
                <a:gd name="T5" fmla="*/ 0 h 28"/>
                <a:gd name="T6" fmla="*/ 0 w 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8">
                  <a:moveTo>
                    <a:pt x="2" y="2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6" name="Freeform 2248">
              <a:extLst>
                <a:ext uri="{FF2B5EF4-FFF2-40B4-BE49-F238E27FC236}">
                  <a16:creationId xmlns:a16="http://schemas.microsoft.com/office/drawing/2014/main" id="{4EB485E6-0F4E-4F19-9050-A4B259E2D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" y="2199"/>
              <a:ext cx="10" cy="7"/>
            </a:xfrm>
            <a:custGeom>
              <a:avLst/>
              <a:gdLst>
                <a:gd name="T0" fmla="*/ 1 w 4"/>
                <a:gd name="T1" fmla="*/ 0 h 3"/>
                <a:gd name="T2" fmla="*/ 0 w 4"/>
                <a:gd name="T3" fmla="*/ 2 h 3"/>
                <a:gd name="T4" fmla="*/ 4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1" y="3"/>
                    <a:pt x="4" y="3"/>
                    <a:pt x="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7" name="Freeform 2249">
              <a:extLst>
                <a:ext uri="{FF2B5EF4-FFF2-40B4-BE49-F238E27FC236}">
                  <a16:creationId xmlns:a16="http://schemas.microsoft.com/office/drawing/2014/main" id="{9B3724FA-2964-4952-86BC-DA142FBC6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" y="2199"/>
              <a:ext cx="10" cy="10"/>
            </a:xfrm>
            <a:custGeom>
              <a:avLst/>
              <a:gdLst>
                <a:gd name="T0" fmla="*/ 1 w 4"/>
                <a:gd name="T1" fmla="*/ 0 h 4"/>
                <a:gd name="T2" fmla="*/ 0 w 4"/>
                <a:gd name="T3" fmla="*/ 2 h 4"/>
                <a:gd name="T4" fmla="*/ 0 w 4"/>
                <a:gd name="T5" fmla="*/ 2 h 4"/>
                <a:gd name="T6" fmla="*/ 0 w 4"/>
                <a:gd name="T7" fmla="*/ 3 h 4"/>
                <a:gd name="T8" fmla="*/ 2 w 4"/>
                <a:gd name="T9" fmla="*/ 3 h 4"/>
                <a:gd name="T10" fmla="*/ 4 w 4"/>
                <a:gd name="T11" fmla="*/ 4 h 4"/>
                <a:gd name="T12" fmla="*/ 4 w 4"/>
                <a:gd name="T13" fmla="*/ 3 h 4"/>
                <a:gd name="T14" fmla="*/ 2 w 4"/>
                <a:gd name="T15" fmla="*/ 2 h 4"/>
                <a:gd name="T16" fmla="*/ 1 w 4"/>
                <a:gd name="T17" fmla="*/ 2 h 4"/>
                <a:gd name="T18" fmla="*/ 0 w 4"/>
                <a:gd name="T19" fmla="*/ 2 h 4"/>
                <a:gd name="T20" fmla="*/ 1 w 4"/>
                <a:gd name="T21" fmla="*/ 3 h 4"/>
                <a:gd name="T22" fmla="*/ 2 w 4"/>
                <a:gd name="T23" fmla="*/ 0 h 4"/>
                <a:gd name="T24" fmla="*/ 1 w 4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8" name="Freeform 2250">
              <a:extLst>
                <a:ext uri="{FF2B5EF4-FFF2-40B4-BE49-F238E27FC236}">
                  <a16:creationId xmlns:a16="http://schemas.microsoft.com/office/drawing/2014/main" id="{7398C541-8867-4863-AC6A-D4D3C3D3F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" y="2199"/>
              <a:ext cx="10" cy="7"/>
            </a:xfrm>
            <a:custGeom>
              <a:avLst/>
              <a:gdLst>
                <a:gd name="T0" fmla="*/ 3 w 4"/>
                <a:gd name="T1" fmla="*/ 0 h 3"/>
                <a:gd name="T2" fmla="*/ 4 w 4"/>
                <a:gd name="T3" fmla="*/ 2 h 3"/>
                <a:gd name="T4" fmla="*/ 0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1"/>
                    <a:pt x="4" y="2"/>
                    <a:pt x="4" y="2"/>
                  </a:cubicBezTo>
                  <a:cubicBezTo>
                    <a:pt x="3" y="3"/>
                    <a:pt x="1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9" name="Freeform 2251">
              <a:extLst>
                <a:ext uri="{FF2B5EF4-FFF2-40B4-BE49-F238E27FC236}">
                  <a16:creationId xmlns:a16="http://schemas.microsoft.com/office/drawing/2014/main" id="{73BB1EB4-7375-4DC4-8911-2CFECBCC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" y="2199"/>
              <a:ext cx="13" cy="10"/>
            </a:xfrm>
            <a:custGeom>
              <a:avLst/>
              <a:gdLst>
                <a:gd name="T0" fmla="*/ 3 w 5"/>
                <a:gd name="T1" fmla="*/ 0 h 4"/>
                <a:gd name="T2" fmla="*/ 4 w 5"/>
                <a:gd name="T3" fmla="*/ 3 h 4"/>
                <a:gd name="T4" fmla="*/ 4 w 5"/>
                <a:gd name="T5" fmla="*/ 2 h 4"/>
                <a:gd name="T6" fmla="*/ 4 w 5"/>
                <a:gd name="T7" fmla="*/ 2 h 4"/>
                <a:gd name="T8" fmla="*/ 2 w 5"/>
                <a:gd name="T9" fmla="*/ 2 h 4"/>
                <a:gd name="T10" fmla="*/ 0 w 5"/>
                <a:gd name="T11" fmla="*/ 3 h 4"/>
                <a:gd name="T12" fmla="*/ 0 w 5"/>
                <a:gd name="T13" fmla="*/ 4 h 4"/>
                <a:gd name="T14" fmla="*/ 2 w 5"/>
                <a:gd name="T15" fmla="*/ 3 h 4"/>
                <a:gd name="T16" fmla="*/ 5 w 5"/>
                <a:gd name="T17" fmla="*/ 3 h 4"/>
                <a:gd name="T18" fmla="*/ 5 w 5"/>
                <a:gd name="T19" fmla="*/ 2 h 4"/>
                <a:gd name="T20" fmla="*/ 5 w 5"/>
                <a:gd name="T21" fmla="*/ 2 h 4"/>
                <a:gd name="T22" fmla="*/ 4 w 5"/>
                <a:gd name="T23" fmla="*/ 0 h 4"/>
                <a:gd name="T24" fmla="*/ 3 w 5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4">
                  <a:moveTo>
                    <a:pt x="3" y="0"/>
                  </a:moveTo>
                  <a:cubicBezTo>
                    <a:pt x="3" y="1"/>
                    <a:pt x="3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3" y="3"/>
                    <a:pt x="4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0" name="Oval 2252">
              <a:extLst>
                <a:ext uri="{FF2B5EF4-FFF2-40B4-BE49-F238E27FC236}">
                  <a16:creationId xmlns:a16="http://schemas.microsoft.com/office/drawing/2014/main" id="{D7591C1A-F28B-4486-841C-1B55439BD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4" y="2188"/>
              <a:ext cx="18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1" name="Freeform 2253">
              <a:extLst>
                <a:ext uri="{FF2B5EF4-FFF2-40B4-BE49-F238E27FC236}">
                  <a16:creationId xmlns:a16="http://schemas.microsoft.com/office/drawing/2014/main" id="{D7844C9E-B068-4EFE-94D6-C8F3333CD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4" y="2188"/>
              <a:ext cx="20" cy="21"/>
            </a:xfrm>
            <a:custGeom>
              <a:avLst/>
              <a:gdLst>
                <a:gd name="T0" fmla="*/ 7 w 8"/>
                <a:gd name="T1" fmla="*/ 4 h 8"/>
                <a:gd name="T2" fmla="*/ 7 w 8"/>
                <a:gd name="T3" fmla="*/ 4 h 8"/>
                <a:gd name="T4" fmla="*/ 4 w 8"/>
                <a:gd name="T5" fmla="*/ 7 h 8"/>
                <a:gd name="T6" fmla="*/ 1 w 8"/>
                <a:gd name="T7" fmla="*/ 4 h 8"/>
                <a:gd name="T8" fmla="*/ 4 w 8"/>
                <a:gd name="T9" fmla="*/ 1 h 8"/>
                <a:gd name="T10" fmla="*/ 7 w 8"/>
                <a:gd name="T11" fmla="*/ 4 h 8"/>
                <a:gd name="T12" fmla="*/ 7 w 8"/>
                <a:gd name="T13" fmla="*/ 4 h 8"/>
                <a:gd name="T14" fmla="*/ 8 w 8"/>
                <a:gd name="T15" fmla="*/ 4 h 8"/>
                <a:gd name="T16" fmla="*/ 4 w 8"/>
                <a:gd name="T17" fmla="*/ 0 h 8"/>
                <a:gd name="T18" fmla="*/ 0 w 8"/>
                <a:gd name="T19" fmla="*/ 4 h 8"/>
                <a:gd name="T20" fmla="*/ 4 w 8"/>
                <a:gd name="T21" fmla="*/ 8 h 8"/>
                <a:gd name="T22" fmla="*/ 8 w 8"/>
                <a:gd name="T23" fmla="*/ 4 h 8"/>
                <a:gd name="T24" fmla="*/ 7 w 8"/>
                <a:gd name="T2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8">
                  <a:moveTo>
                    <a:pt x="7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6" y="7"/>
                    <a:pt x="4" y="7"/>
                  </a:cubicBezTo>
                  <a:cubicBezTo>
                    <a:pt x="2" y="7"/>
                    <a:pt x="1" y="5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6" y="1"/>
                    <a:pt x="7" y="2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6" y="8"/>
                    <a:pt x="8" y="6"/>
                    <a:pt x="8" y="4"/>
                  </a:cubicBezTo>
                  <a:lnTo>
                    <a:pt x="7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2" name="Freeform 2254">
              <a:extLst>
                <a:ext uri="{FF2B5EF4-FFF2-40B4-BE49-F238E27FC236}">
                  <a16:creationId xmlns:a16="http://schemas.microsoft.com/office/drawing/2014/main" id="{FB9E5DE0-C7D9-4691-BEC3-D79FF90AA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2211"/>
              <a:ext cx="38" cy="86"/>
            </a:xfrm>
            <a:custGeom>
              <a:avLst/>
              <a:gdLst>
                <a:gd name="T0" fmla="*/ 0 w 15"/>
                <a:gd name="T1" fmla="*/ 5 h 34"/>
                <a:gd name="T2" fmla="*/ 0 w 15"/>
                <a:gd name="T3" fmla="*/ 11 h 34"/>
                <a:gd name="T4" fmla="*/ 2 w 15"/>
                <a:gd name="T5" fmla="*/ 13 h 34"/>
                <a:gd name="T6" fmla="*/ 3 w 15"/>
                <a:gd name="T7" fmla="*/ 13 h 34"/>
                <a:gd name="T8" fmla="*/ 2 w 15"/>
                <a:gd name="T9" fmla="*/ 20 h 34"/>
                <a:gd name="T10" fmla="*/ 4 w 15"/>
                <a:gd name="T11" fmla="*/ 20 h 34"/>
                <a:gd name="T12" fmla="*/ 4 w 15"/>
                <a:gd name="T13" fmla="*/ 32 h 34"/>
                <a:gd name="T14" fmla="*/ 5 w 15"/>
                <a:gd name="T15" fmla="*/ 34 h 34"/>
                <a:gd name="T16" fmla="*/ 7 w 15"/>
                <a:gd name="T17" fmla="*/ 32 h 34"/>
                <a:gd name="T18" fmla="*/ 7 w 15"/>
                <a:gd name="T19" fmla="*/ 20 h 34"/>
                <a:gd name="T20" fmla="*/ 9 w 15"/>
                <a:gd name="T21" fmla="*/ 20 h 34"/>
                <a:gd name="T22" fmla="*/ 9 w 15"/>
                <a:gd name="T23" fmla="*/ 32 h 34"/>
                <a:gd name="T24" fmla="*/ 10 w 15"/>
                <a:gd name="T25" fmla="*/ 34 h 34"/>
                <a:gd name="T26" fmla="*/ 12 w 15"/>
                <a:gd name="T27" fmla="*/ 32 h 34"/>
                <a:gd name="T28" fmla="*/ 12 w 15"/>
                <a:gd name="T29" fmla="*/ 20 h 34"/>
                <a:gd name="T30" fmla="*/ 14 w 15"/>
                <a:gd name="T31" fmla="*/ 20 h 34"/>
                <a:gd name="T32" fmla="*/ 12 w 15"/>
                <a:gd name="T33" fmla="*/ 13 h 34"/>
                <a:gd name="T34" fmla="*/ 13 w 15"/>
                <a:gd name="T35" fmla="*/ 13 h 34"/>
                <a:gd name="T36" fmla="*/ 15 w 15"/>
                <a:gd name="T37" fmla="*/ 11 h 34"/>
                <a:gd name="T38" fmla="*/ 15 w 15"/>
                <a:gd name="T39" fmla="*/ 5 h 34"/>
                <a:gd name="T40" fmla="*/ 10 w 15"/>
                <a:gd name="T41" fmla="*/ 0 h 34"/>
                <a:gd name="T42" fmla="*/ 5 w 15"/>
                <a:gd name="T43" fmla="*/ 0 h 34"/>
                <a:gd name="T44" fmla="*/ 0 w 15"/>
                <a:gd name="T45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34">
                  <a:moveTo>
                    <a:pt x="0" y="5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4"/>
                    <a:pt x="5" y="34"/>
                  </a:cubicBezTo>
                  <a:cubicBezTo>
                    <a:pt x="6" y="34"/>
                    <a:pt x="7" y="33"/>
                    <a:pt x="7" y="32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3"/>
                    <a:pt x="9" y="34"/>
                    <a:pt x="10" y="34"/>
                  </a:cubicBezTo>
                  <a:cubicBezTo>
                    <a:pt x="11" y="34"/>
                    <a:pt x="12" y="33"/>
                    <a:pt x="12" y="32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5" y="12"/>
                    <a:pt x="15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3" y="0"/>
                    <a:pt x="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3" name="Freeform 2255">
              <a:extLst>
                <a:ext uri="{FF2B5EF4-FFF2-40B4-BE49-F238E27FC236}">
                  <a16:creationId xmlns:a16="http://schemas.microsoft.com/office/drawing/2014/main" id="{C64ED726-9A20-434B-AF49-E7B16FD96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2209"/>
              <a:ext cx="40" cy="88"/>
            </a:xfrm>
            <a:custGeom>
              <a:avLst/>
              <a:gdLst>
                <a:gd name="T0" fmla="*/ 0 w 16"/>
                <a:gd name="T1" fmla="*/ 6 h 35"/>
                <a:gd name="T2" fmla="*/ 0 w 16"/>
                <a:gd name="T3" fmla="*/ 6 h 35"/>
                <a:gd name="T4" fmla="*/ 0 w 16"/>
                <a:gd name="T5" fmla="*/ 12 h 35"/>
                <a:gd name="T6" fmla="*/ 2 w 16"/>
                <a:gd name="T7" fmla="*/ 14 h 35"/>
                <a:gd name="T8" fmla="*/ 3 w 16"/>
                <a:gd name="T9" fmla="*/ 14 h 35"/>
                <a:gd name="T10" fmla="*/ 1 w 16"/>
                <a:gd name="T11" fmla="*/ 22 h 35"/>
                <a:gd name="T12" fmla="*/ 3 w 16"/>
                <a:gd name="T13" fmla="*/ 22 h 35"/>
                <a:gd name="T14" fmla="*/ 3 w 16"/>
                <a:gd name="T15" fmla="*/ 33 h 35"/>
                <a:gd name="T16" fmla="*/ 5 w 16"/>
                <a:gd name="T17" fmla="*/ 35 h 35"/>
                <a:gd name="T18" fmla="*/ 8 w 16"/>
                <a:gd name="T19" fmla="*/ 33 h 35"/>
                <a:gd name="T20" fmla="*/ 8 w 16"/>
                <a:gd name="T21" fmla="*/ 22 h 35"/>
                <a:gd name="T22" fmla="*/ 8 w 16"/>
                <a:gd name="T23" fmla="*/ 22 h 35"/>
                <a:gd name="T24" fmla="*/ 8 w 16"/>
                <a:gd name="T25" fmla="*/ 33 h 35"/>
                <a:gd name="T26" fmla="*/ 10 w 16"/>
                <a:gd name="T27" fmla="*/ 35 h 35"/>
                <a:gd name="T28" fmla="*/ 13 w 16"/>
                <a:gd name="T29" fmla="*/ 33 h 35"/>
                <a:gd name="T30" fmla="*/ 13 w 16"/>
                <a:gd name="T31" fmla="*/ 22 h 35"/>
                <a:gd name="T32" fmla="*/ 14 w 16"/>
                <a:gd name="T33" fmla="*/ 22 h 35"/>
                <a:gd name="T34" fmla="*/ 14 w 16"/>
                <a:gd name="T35" fmla="*/ 22 h 35"/>
                <a:gd name="T36" fmla="*/ 13 w 16"/>
                <a:gd name="T37" fmla="*/ 14 h 35"/>
                <a:gd name="T38" fmla="*/ 13 w 16"/>
                <a:gd name="T39" fmla="*/ 14 h 35"/>
                <a:gd name="T40" fmla="*/ 16 w 16"/>
                <a:gd name="T41" fmla="*/ 12 h 35"/>
                <a:gd name="T42" fmla="*/ 16 w 16"/>
                <a:gd name="T43" fmla="*/ 6 h 35"/>
                <a:gd name="T44" fmla="*/ 10 w 16"/>
                <a:gd name="T45" fmla="*/ 0 h 35"/>
                <a:gd name="T46" fmla="*/ 5 w 16"/>
                <a:gd name="T47" fmla="*/ 0 h 35"/>
                <a:gd name="T48" fmla="*/ 0 w 16"/>
                <a:gd name="T49" fmla="*/ 6 h 35"/>
                <a:gd name="T50" fmla="*/ 0 w 16"/>
                <a:gd name="T51" fmla="*/ 6 h 35"/>
                <a:gd name="T52" fmla="*/ 1 w 16"/>
                <a:gd name="T53" fmla="*/ 6 h 35"/>
                <a:gd name="T54" fmla="*/ 5 w 16"/>
                <a:gd name="T55" fmla="*/ 1 h 35"/>
                <a:gd name="T56" fmla="*/ 10 w 16"/>
                <a:gd name="T57" fmla="*/ 1 h 35"/>
                <a:gd name="T58" fmla="*/ 15 w 16"/>
                <a:gd name="T59" fmla="*/ 6 h 35"/>
                <a:gd name="T60" fmla="*/ 15 w 16"/>
                <a:gd name="T61" fmla="*/ 12 h 35"/>
                <a:gd name="T62" fmla="*/ 13 w 16"/>
                <a:gd name="T63" fmla="*/ 13 h 35"/>
                <a:gd name="T64" fmla="*/ 12 w 16"/>
                <a:gd name="T65" fmla="*/ 13 h 35"/>
                <a:gd name="T66" fmla="*/ 12 w 16"/>
                <a:gd name="T67" fmla="*/ 13 h 35"/>
                <a:gd name="T68" fmla="*/ 13 w 16"/>
                <a:gd name="T69" fmla="*/ 21 h 35"/>
                <a:gd name="T70" fmla="*/ 12 w 16"/>
                <a:gd name="T71" fmla="*/ 21 h 35"/>
                <a:gd name="T72" fmla="*/ 12 w 16"/>
                <a:gd name="T73" fmla="*/ 21 h 35"/>
                <a:gd name="T74" fmla="*/ 12 w 16"/>
                <a:gd name="T75" fmla="*/ 33 h 35"/>
                <a:gd name="T76" fmla="*/ 10 w 16"/>
                <a:gd name="T77" fmla="*/ 35 h 35"/>
                <a:gd name="T78" fmla="*/ 9 w 16"/>
                <a:gd name="T79" fmla="*/ 33 h 35"/>
                <a:gd name="T80" fmla="*/ 9 w 16"/>
                <a:gd name="T81" fmla="*/ 21 h 35"/>
                <a:gd name="T82" fmla="*/ 7 w 16"/>
                <a:gd name="T83" fmla="*/ 21 h 35"/>
                <a:gd name="T84" fmla="*/ 7 w 16"/>
                <a:gd name="T85" fmla="*/ 33 h 35"/>
                <a:gd name="T86" fmla="*/ 5 w 16"/>
                <a:gd name="T87" fmla="*/ 35 h 35"/>
                <a:gd name="T88" fmla="*/ 4 w 16"/>
                <a:gd name="T89" fmla="*/ 33 h 35"/>
                <a:gd name="T90" fmla="*/ 4 w 16"/>
                <a:gd name="T91" fmla="*/ 21 h 35"/>
                <a:gd name="T92" fmla="*/ 2 w 16"/>
                <a:gd name="T93" fmla="*/ 21 h 35"/>
                <a:gd name="T94" fmla="*/ 4 w 16"/>
                <a:gd name="T95" fmla="*/ 13 h 35"/>
                <a:gd name="T96" fmla="*/ 2 w 16"/>
                <a:gd name="T97" fmla="*/ 13 h 35"/>
                <a:gd name="T98" fmla="*/ 1 w 16"/>
                <a:gd name="T99" fmla="*/ 12 h 35"/>
                <a:gd name="T100" fmla="*/ 1 w 16"/>
                <a:gd name="T101" fmla="*/ 6 h 35"/>
                <a:gd name="T102" fmla="*/ 0 w 16"/>
                <a:gd name="T103" fmla="*/ 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35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7" y="35"/>
                    <a:pt x="8" y="34"/>
                    <a:pt x="8" y="3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4"/>
                    <a:pt x="9" y="35"/>
                    <a:pt x="10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3" y="0"/>
                    <a:pt x="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3" y="1"/>
                    <a:pt x="15" y="3"/>
                    <a:pt x="15" y="6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4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4"/>
                    <a:pt x="11" y="35"/>
                    <a:pt x="10" y="35"/>
                  </a:cubicBezTo>
                  <a:cubicBezTo>
                    <a:pt x="10" y="35"/>
                    <a:pt x="9" y="34"/>
                    <a:pt x="9" y="3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4"/>
                    <a:pt x="6" y="35"/>
                    <a:pt x="5" y="35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1" y="6"/>
                    <a:pt x="1" y="6"/>
                    <a:pt x="1" y="6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4" name="Rectangle 2256">
              <a:extLst>
                <a:ext uri="{FF2B5EF4-FFF2-40B4-BE49-F238E27FC236}">
                  <a16:creationId xmlns:a16="http://schemas.microsoft.com/office/drawing/2014/main" id="{3BBAD21A-6999-4227-8DF5-556F7C3F9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4" y="2224"/>
              <a:ext cx="3" cy="2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5" name="Freeform 2257">
              <a:extLst>
                <a:ext uri="{FF2B5EF4-FFF2-40B4-BE49-F238E27FC236}">
                  <a16:creationId xmlns:a16="http://schemas.microsoft.com/office/drawing/2014/main" id="{7AF63407-49F4-48FF-BDEB-6060DBC8E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224"/>
              <a:ext cx="3" cy="20"/>
            </a:xfrm>
            <a:custGeom>
              <a:avLst/>
              <a:gdLst>
                <a:gd name="T0" fmla="*/ 3 w 3"/>
                <a:gd name="T1" fmla="*/ 20 h 20"/>
                <a:gd name="T2" fmla="*/ 3 w 3"/>
                <a:gd name="T3" fmla="*/ 0 h 20"/>
                <a:gd name="T4" fmla="*/ 0 w 3"/>
                <a:gd name="T5" fmla="*/ 0 h 20"/>
                <a:gd name="T6" fmla="*/ 0 w 3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0">
                  <a:moveTo>
                    <a:pt x="3" y="2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6" name="Rectangle 2258">
              <a:extLst>
                <a:ext uri="{FF2B5EF4-FFF2-40B4-BE49-F238E27FC236}">
                  <a16:creationId xmlns:a16="http://schemas.microsoft.com/office/drawing/2014/main" id="{A0F0E404-637C-460E-950A-A8BE566E39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2" y="2224"/>
              <a:ext cx="2" cy="20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7" name="Freeform 2259">
              <a:extLst>
                <a:ext uri="{FF2B5EF4-FFF2-40B4-BE49-F238E27FC236}">
                  <a16:creationId xmlns:a16="http://schemas.microsoft.com/office/drawing/2014/main" id="{4C4462EB-BFD2-4C07-8C93-15D88EAE0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" y="2224"/>
              <a:ext cx="2" cy="20"/>
            </a:xfrm>
            <a:custGeom>
              <a:avLst/>
              <a:gdLst>
                <a:gd name="T0" fmla="*/ 2 w 2"/>
                <a:gd name="T1" fmla="*/ 20 h 20"/>
                <a:gd name="T2" fmla="*/ 2 w 2"/>
                <a:gd name="T3" fmla="*/ 0 h 20"/>
                <a:gd name="T4" fmla="*/ 0 w 2"/>
                <a:gd name="T5" fmla="*/ 0 h 20"/>
                <a:gd name="T6" fmla="*/ 0 w 2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0">
                  <a:moveTo>
                    <a:pt x="2" y="2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8" name="Freeform 2260">
              <a:extLst>
                <a:ext uri="{FF2B5EF4-FFF2-40B4-BE49-F238E27FC236}">
                  <a16:creationId xmlns:a16="http://schemas.microsoft.com/office/drawing/2014/main" id="{8AE4C4B4-831C-4F6E-98FC-5C927ED88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9" y="2191"/>
              <a:ext cx="13" cy="8"/>
            </a:xfrm>
            <a:custGeom>
              <a:avLst/>
              <a:gdLst>
                <a:gd name="T0" fmla="*/ 0 w 5"/>
                <a:gd name="T1" fmla="*/ 0 h 3"/>
                <a:gd name="T2" fmla="*/ 5 w 5"/>
                <a:gd name="T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1" y="1"/>
                    <a:pt x="3" y="2"/>
                    <a:pt x="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9" name="Freeform 2261">
              <a:extLst>
                <a:ext uri="{FF2B5EF4-FFF2-40B4-BE49-F238E27FC236}">
                  <a16:creationId xmlns:a16="http://schemas.microsoft.com/office/drawing/2014/main" id="{6AB3882D-AF49-46F6-9028-10176E6CB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2191"/>
              <a:ext cx="17" cy="8"/>
            </a:xfrm>
            <a:custGeom>
              <a:avLst/>
              <a:gdLst>
                <a:gd name="T0" fmla="*/ 0 w 7"/>
                <a:gd name="T1" fmla="*/ 0 h 3"/>
                <a:gd name="T2" fmla="*/ 6 w 7"/>
                <a:gd name="T3" fmla="*/ 3 h 3"/>
                <a:gd name="T4" fmla="*/ 7 w 7"/>
                <a:gd name="T5" fmla="*/ 2 h 3"/>
                <a:gd name="T6" fmla="*/ 1 w 7"/>
                <a:gd name="T7" fmla="*/ 0 h 3"/>
                <a:gd name="T8" fmla="*/ 0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cubicBezTo>
                    <a:pt x="2" y="1"/>
                    <a:pt x="4" y="3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4" y="2"/>
                    <a:pt x="2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0" name="Oval 2262">
              <a:extLst>
                <a:ext uri="{FF2B5EF4-FFF2-40B4-BE49-F238E27FC236}">
                  <a16:creationId xmlns:a16="http://schemas.microsoft.com/office/drawing/2014/main" id="{23BBBA60-6EC0-4CBD-8156-4304591CB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4" y="2226"/>
              <a:ext cx="15" cy="1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1" name="Freeform 2263">
              <a:extLst>
                <a:ext uri="{FF2B5EF4-FFF2-40B4-BE49-F238E27FC236}">
                  <a16:creationId xmlns:a16="http://schemas.microsoft.com/office/drawing/2014/main" id="{30B18442-F445-450F-B00D-345FC2A90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" y="2224"/>
              <a:ext cx="18" cy="18"/>
            </a:xfrm>
            <a:custGeom>
              <a:avLst/>
              <a:gdLst>
                <a:gd name="T0" fmla="*/ 7 w 7"/>
                <a:gd name="T1" fmla="*/ 4 h 7"/>
                <a:gd name="T2" fmla="*/ 6 w 7"/>
                <a:gd name="T3" fmla="*/ 4 h 7"/>
                <a:gd name="T4" fmla="*/ 4 w 7"/>
                <a:gd name="T5" fmla="*/ 6 h 7"/>
                <a:gd name="T6" fmla="*/ 1 w 7"/>
                <a:gd name="T7" fmla="*/ 4 h 7"/>
                <a:gd name="T8" fmla="*/ 4 w 7"/>
                <a:gd name="T9" fmla="*/ 1 h 7"/>
                <a:gd name="T10" fmla="*/ 6 w 7"/>
                <a:gd name="T11" fmla="*/ 4 h 7"/>
                <a:gd name="T12" fmla="*/ 7 w 7"/>
                <a:gd name="T13" fmla="*/ 4 h 7"/>
                <a:gd name="T14" fmla="*/ 7 w 7"/>
                <a:gd name="T15" fmla="*/ 4 h 7"/>
                <a:gd name="T16" fmla="*/ 4 w 7"/>
                <a:gd name="T17" fmla="*/ 0 h 7"/>
                <a:gd name="T18" fmla="*/ 0 w 7"/>
                <a:gd name="T19" fmla="*/ 4 h 7"/>
                <a:gd name="T20" fmla="*/ 4 w 7"/>
                <a:gd name="T21" fmla="*/ 7 h 7"/>
                <a:gd name="T22" fmla="*/ 7 w 7"/>
                <a:gd name="T2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7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5" y="1"/>
                    <a:pt x="6" y="2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5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  <a:cubicBezTo>
                    <a:pt x="5" y="7"/>
                    <a:pt x="7" y="6"/>
                    <a:pt x="7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2" name="Freeform 2264">
              <a:extLst>
                <a:ext uri="{FF2B5EF4-FFF2-40B4-BE49-F238E27FC236}">
                  <a16:creationId xmlns:a16="http://schemas.microsoft.com/office/drawing/2014/main" id="{F5C18A8D-E842-4DB3-B275-57514F439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" y="2244"/>
              <a:ext cx="28" cy="53"/>
            </a:xfrm>
            <a:custGeom>
              <a:avLst/>
              <a:gdLst>
                <a:gd name="T0" fmla="*/ 0 w 11"/>
                <a:gd name="T1" fmla="*/ 4 h 21"/>
                <a:gd name="T2" fmla="*/ 0 w 11"/>
                <a:gd name="T3" fmla="*/ 7 h 21"/>
                <a:gd name="T4" fmla="*/ 1 w 11"/>
                <a:gd name="T5" fmla="*/ 9 h 21"/>
                <a:gd name="T6" fmla="*/ 2 w 11"/>
                <a:gd name="T7" fmla="*/ 9 h 21"/>
                <a:gd name="T8" fmla="*/ 1 w 11"/>
                <a:gd name="T9" fmla="*/ 12 h 21"/>
                <a:gd name="T10" fmla="*/ 2 w 11"/>
                <a:gd name="T11" fmla="*/ 12 h 21"/>
                <a:gd name="T12" fmla="*/ 2 w 11"/>
                <a:gd name="T13" fmla="*/ 20 h 21"/>
                <a:gd name="T14" fmla="*/ 4 w 11"/>
                <a:gd name="T15" fmla="*/ 21 h 21"/>
                <a:gd name="T16" fmla="*/ 5 w 11"/>
                <a:gd name="T17" fmla="*/ 20 h 21"/>
                <a:gd name="T18" fmla="*/ 5 w 11"/>
                <a:gd name="T19" fmla="*/ 13 h 21"/>
                <a:gd name="T20" fmla="*/ 6 w 11"/>
                <a:gd name="T21" fmla="*/ 13 h 21"/>
                <a:gd name="T22" fmla="*/ 6 w 11"/>
                <a:gd name="T23" fmla="*/ 20 h 21"/>
                <a:gd name="T24" fmla="*/ 7 w 11"/>
                <a:gd name="T25" fmla="*/ 21 h 21"/>
                <a:gd name="T26" fmla="*/ 9 w 11"/>
                <a:gd name="T27" fmla="*/ 20 h 21"/>
                <a:gd name="T28" fmla="*/ 9 w 11"/>
                <a:gd name="T29" fmla="*/ 12 h 21"/>
                <a:gd name="T30" fmla="*/ 10 w 11"/>
                <a:gd name="T31" fmla="*/ 12 h 21"/>
                <a:gd name="T32" fmla="*/ 9 w 11"/>
                <a:gd name="T33" fmla="*/ 9 h 21"/>
                <a:gd name="T34" fmla="*/ 10 w 11"/>
                <a:gd name="T35" fmla="*/ 9 h 21"/>
                <a:gd name="T36" fmla="*/ 11 w 11"/>
                <a:gd name="T37" fmla="*/ 7 h 21"/>
                <a:gd name="T38" fmla="*/ 11 w 11"/>
                <a:gd name="T39" fmla="*/ 4 h 21"/>
                <a:gd name="T40" fmla="*/ 7 w 11"/>
                <a:gd name="T41" fmla="*/ 0 h 21"/>
                <a:gd name="T42" fmla="*/ 4 w 11"/>
                <a:gd name="T43" fmla="*/ 0 h 21"/>
                <a:gd name="T44" fmla="*/ 0 w 11"/>
                <a:gd name="T45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21">
                  <a:moveTo>
                    <a:pt x="0" y="4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4" y="21"/>
                    <a:pt x="5" y="21"/>
                    <a:pt x="5" y="20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7" y="21"/>
                    <a:pt x="7" y="21"/>
                  </a:cubicBezTo>
                  <a:cubicBezTo>
                    <a:pt x="8" y="21"/>
                    <a:pt x="9" y="21"/>
                    <a:pt x="9" y="20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1" y="8"/>
                    <a:pt x="11" y="7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3" name="Freeform 2265">
              <a:extLst>
                <a:ext uri="{FF2B5EF4-FFF2-40B4-BE49-F238E27FC236}">
                  <a16:creationId xmlns:a16="http://schemas.microsoft.com/office/drawing/2014/main" id="{F4C5DB52-D2A5-44C2-8E31-5E2146735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" y="2242"/>
              <a:ext cx="33" cy="58"/>
            </a:xfrm>
            <a:custGeom>
              <a:avLst/>
              <a:gdLst>
                <a:gd name="T0" fmla="*/ 1 w 13"/>
                <a:gd name="T1" fmla="*/ 5 h 23"/>
                <a:gd name="T2" fmla="*/ 0 w 13"/>
                <a:gd name="T3" fmla="*/ 5 h 23"/>
                <a:gd name="T4" fmla="*/ 0 w 13"/>
                <a:gd name="T5" fmla="*/ 8 h 23"/>
                <a:gd name="T6" fmla="*/ 2 w 13"/>
                <a:gd name="T7" fmla="*/ 10 h 23"/>
                <a:gd name="T8" fmla="*/ 2 w 13"/>
                <a:gd name="T9" fmla="*/ 10 h 23"/>
                <a:gd name="T10" fmla="*/ 1 w 13"/>
                <a:gd name="T11" fmla="*/ 14 h 23"/>
                <a:gd name="T12" fmla="*/ 3 w 13"/>
                <a:gd name="T13" fmla="*/ 14 h 23"/>
                <a:gd name="T14" fmla="*/ 3 w 13"/>
                <a:gd name="T15" fmla="*/ 21 h 23"/>
                <a:gd name="T16" fmla="*/ 5 w 13"/>
                <a:gd name="T17" fmla="*/ 23 h 23"/>
                <a:gd name="T18" fmla="*/ 6 w 13"/>
                <a:gd name="T19" fmla="*/ 21 h 23"/>
                <a:gd name="T20" fmla="*/ 6 w 13"/>
                <a:gd name="T21" fmla="*/ 14 h 23"/>
                <a:gd name="T22" fmla="*/ 7 w 13"/>
                <a:gd name="T23" fmla="*/ 14 h 23"/>
                <a:gd name="T24" fmla="*/ 7 w 13"/>
                <a:gd name="T25" fmla="*/ 21 h 23"/>
                <a:gd name="T26" fmla="*/ 8 w 13"/>
                <a:gd name="T27" fmla="*/ 23 h 23"/>
                <a:gd name="T28" fmla="*/ 10 w 13"/>
                <a:gd name="T29" fmla="*/ 21 h 23"/>
                <a:gd name="T30" fmla="*/ 10 w 13"/>
                <a:gd name="T31" fmla="*/ 14 h 23"/>
                <a:gd name="T32" fmla="*/ 11 w 13"/>
                <a:gd name="T33" fmla="*/ 14 h 23"/>
                <a:gd name="T34" fmla="*/ 11 w 13"/>
                <a:gd name="T35" fmla="*/ 14 h 23"/>
                <a:gd name="T36" fmla="*/ 11 w 13"/>
                <a:gd name="T37" fmla="*/ 10 h 23"/>
                <a:gd name="T38" fmla="*/ 11 w 13"/>
                <a:gd name="T39" fmla="*/ 10 h 23"/>
                <a:gd name="T40" fmla="*/ 13 w 13"/>
                <a:gd name="T41" fmla="*/ 8 h 23"/>
                <a:gd name="T42" fmla="*/ 13 w 13"/>
                <a:gd name="T43" fmla="*/ 5 h 23"/>
                <a:gd name="T44" fmla="*/ 8 w 13"/>
                <a:gd name="T45" fmla="*/ 0 h 23"/>
                <a:gd name="T46" fmla="*/ 5 w 13"/>
                <a:gd name="T47" fmla="*/ 0 h 23"/>
                <a:gd name="T48" fmla="*/ 0 w 13"/>
                <a:gd name="T49" fmla="*/ 5 h 23"/>
                <a:gd name="T50" fmla="*/ 1 w 13"/>
                <a:gd name="T51" fmla="*/ 5 h 23"/>
                <a:gd name="T52" fmla="*/ 1 w 13"/>
                <a:gd name="T53" fmla="*/ 5 h 23"/>
                <a:gd name="T54" fmla="*/ 5 w 13"/>
                <a:gd name="T55" fmla="*/ 1 h 23"/>
                <a:gd name="T56" fmla="*/ 8 w 13"/>
                <a:gd name="T57" fmla="*/ 1 h 23"/>
                <a:gd name="T58" fmla="*/ 12 w 13"/>
                <a:gd name="T59" fmla="*/ 5 h 23"/>
                <a:gd name="T60" fmla="*/ 12 w 13"/>
                <a:gd name="T61" fmla="*/ 8 h 23"/>
                <a:gd name="T62" fmla="*/ 11 w 13"/>
                <a:gd name="T63" fmla="*/ 9 h 23"/>
                <a:gd name="T64" fmla="*/ 10 w 13"/>
                <a:gd name="T65" fmla="*/ 9 h 23"/>
                <a:gd name="T66" fmla="*/ 9 w 13"/>
                <a:gd name="T67" fmla="*/ 9 h 23"/>
                <a:gd name="T68" fmla="*/ 10 w 13"/>
                <a:gd name="T69" fmla="*/ 13 h 23"/>
                <a:gd name="T70" fmla="*/ 10 w 13"/>
                <a:gd name="T71" fmla="*/ 13 h 23"/>
                <a:gd name="T72" fmla="*/ 9 w 13"/>
                <a:gd name="T73" fmla="*/ 13 h 23"/>
                <a:gd name="T74" fmla="*/ 9 w 13"/>
                <a:gd name="T75" fmla="*/ 21 h 23"/>
                <a:gd name="T76" fmla="*/ 8 w 13"/>
                <a:gd name="T77" fmla="*/ 22 h 23"/>
                <a:gd name="T78" fmla="*/ 8 w 13"/>
                <a:gd name="T79" fmla="*/ 21 h 23"/>
                <a:gd name="T80" fmla="*/ 8 w 13"/>
                <a:gd name="T81" fmla="*/ 13 h 23"/>
                <a:gd name="T82" fmla="*/ 6 w 13"/>
                <a:gd name="T83" fmla="*/ 13 h 23"/>
                <a:gd name="T84" fmla="*/ 6 w 13"/>
                <a:gd name="T85" fmla="*/ 13 h 23"/>
                <a:gd name="T86" fmla="*/ 6 w 13"/>
                <a:gd name="T87" fmla="*/ 21 h 23"/>
                <a:gd name="T88" fmla="*/ 5 w 13"/>
                <a:gd name="T89" fmla="*/ 22 h 23"/>
                <a:gd name="T90" fmla="*/ 4 w 13"/>
                <a:gd name="T91" fmla="*/ 21 h 23"/>
                <a:gd name="T92" fmla="*/ 4 w 13"/>
                <a:gd name="T93" fmla="*/ 13 h 23"/>
                <a:gd name="T94" fmla="*/ 3 w 13"/>
                <a:gd name="T95" fmla="*/ 13 h 23"/>
                <a:gd name="T96" fmla="*/ 4 w 13"/>
                <a:gd name="T97" fmla="*/ 9 h 23"/>
                <a:gd name="T98" fmla="*/ 2 w 13"/>
                <a:gd name="T99" fmla="*/ 9 h 23"/>
                <a:gd name="T100" fmla="*/ 1 w 13"/>
                <a:gd name="T101" fmla="*/ 8 h 23"/>
                <a:gd name="T102" fmla="*/ 1 w 13"/>
                <a:gd name="T10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" h="23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2"/>
                    <a:pt x="4" y="23"/>
                    <a:pt x="5" y="23"/>
                  </a:cubicBezTo>
                  <a:cubicBezTo>
                    <a:pt x="6" y="23"/>
                    <a:pt x="6" y="22"/>
                    <a:pt x="6" y="21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3"/>
                    <a:pt x="8" y="23"/>
                  </a:cubicBezTo>
                  <a:cubicBezTo>
                    <a:pt x="9" y="23"/>
                    <a:pt x="10" y="22"/>
                    <a:pt x="10" y="21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3" y="9"/>
                    <a:pt x="13" y="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1"/>
                    <a:pt x="12" y="3"/>
                    <a:pt x="12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2"/>
                    <a:pt x="8" y="22"/>
                  </a:cubicBezTo>
                  <a:cubicBezTo>
                    <a:pt x="8" y="22"/>
                    <a:pt x="8" y="21"/>
                    <a:pt x="8" y="2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5" y="22"/>
                    <a:pt x="5" y="22"/>
                  </a:cubicBezTo>
                  <a:cubicBezTo>
                    <a:pt x="4" y="22"/>
                    <a:pt x="4" y="21"/>
                    <a:pt x="4" y="2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9"/>
                    <a:pt x="1" y="8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" name="Rectangle 2266">
              <a:extLst>
                <a:ext uri="{FF2B5EF4-FFF2-40B4-BE49-F238E27FC236}">
                  <a16:creationId xmlns:a16="http://schemas.microsoft.com/office/drawing/2014/main" id="{61CE37B3-DEB9-4D43-A8F9-7BDC7AFE3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9" y="2254"/>
              <a:ext cx="1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" name="Freeform 2267">
              <a:extLst>
                <a:ext uri="{FF2B5EF4-FFF2-40B4-BE49-F238E27FC236}">
                  <a16:creationId xmlns:a16="http://schemas.microsoft.com/office/drawing/2014/main" id="{E8AF5C90-0C59-4426-9103-6BA0C8A06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2254"/>
              <a:ext cx="0" cy="13"/>
            </a:xfrm>
            <a:custGeom>
              <a:avLst/>
              <a:gdLst>
                <a:gd name="T0" fmla="*/ 13 h 13"/>
                <a:gd name="T1" fmla="*/ 0 h 13"/>
                <a:gd name="T2" fmla="*/ 0 h 13"/>
                <a:gd name="T3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3">
                  <a:moveTo>
                    <a:pt x="0" y="1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" name="Rectangle 2268">
              <a:extLst>
                <a:ext uri="{FF2B5EF4-FFF2-40B4-BE49-F238E27FC236}">
                  <a16:creationId xmlns:a16="http://schemas.microsoft.com/office/drawing/2014/main" id="{E75E5BC1-7888-4729-BF23-D3C3D079B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1" y="2254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" name="Freeform 2269">
              <a:extLst>
                <a:ext uri="{FF2B5EF4-FFF2-40B4-BE49-F238E27FC236}">
                  <a16:creationId xmlns:a16="http://schemas.microsoft.com/office/drawing/2014/main" id="{CE6765FE-9492-493B-A14F-51E6C720D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" y="2254"/>
              <a:ext cx="3" cy="13"/>
            </a:xfrm>
            <a:custGeom>
              <a:avLst/>
              <a:gdLst>
                <a:gd name="T0" fmla="*/ 3 w 3"/>
                <a:gd name="T1" fmla="*/ 13 h 13"/>
                <a:gd name="T2" fmla="*/ 3 w 3"/>
                <a:gd name="T3" fmla="*/ 0 h 13"/>
                <a:gd name="T4" fmla="*/ 0 w 3"/>
                <a:gd name="T5" fmla="*/ 0 h 13"/>
                <a:gd name="T6" fmla="*/ 0 w 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" name="Freeform 2270">
              <a:extLst>
                <a:ext uri="{FF2B5EF4-FFF2-40B4-BE49-F238E27FC236}">
                  <a16:creationId xmlns:a16="http://schemas.microsoft.com/office/drawing/2014/main" id="{4D6D998E-0BF0-4CB7-9A57-BABD0C31A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1991"/>
              <a:ext cx="88" cy="86"/>
            </a:xfrm>
            <a:custGeom>
              <a:avLst/>
              <a:gdLst>
                <a:gd name="T0" fmla="*/ 11 w 35"/>
                <a:gd name="T1" fmla="*/ 31 h 34"/>
                <a:gd name="T2" fmla="*/ 4 w 35"/>
                <a:gd name="T3" fmla="*/ 23 h 34"/>
                <a:gd name="T4" fmla="*/ 4 w 35"/>
                <a:gd name="T5" fmla="*/ 10 h 34"/>
                <a:gd name="T6" fmla="*/ 11 w 35"/>
                <a:gd name="T7" fmla="*/ 3 h 34"/>
                <a:gd name="T8" fmla="*/ 24 w 35"/>
                <a:gd name="T9" fmla="*/ 3 h 34"/>
                <a:gd name="T10" fmla="*/ 31 w 35"/>
                <a:gd name="T11" fmla="*/ 10 h 34"/>
                <a:gd name="T12" fmla="*/ 31 w 35"/>
                <a:gd name="T13" fmla="*/ 23 h 34"/>
                <a:gd name="T14" fmla="*/ 24 w 35"/>
                <a:gd name="T15" fmla="*/ 31 h 34"/>
                <a:gd name="T16" fmla="*/ 11 w 35"/>
                <a:gd name="T17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4">
                  <a:moveTo>
                    <a:pt x="11" y="31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0" y="20"/>
                    <a:pt x="0" y="14"/>
                    <a:pt x="4" y="1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5" y="0"/>
                    <a:pt x="21" y="0"/>
                    <a:pt x="24" y="3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5" y="14"/>
                    <a:pt x="35" y="20"/>
                    <a:pt x="31" y="23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1" y="34"/>
                    <a:pt x="15" y="34"/>
                    <a:pt x="1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" name="Freeform 2271">
              <a:extLst>
                <a:ext uri="{FF2B5EF4-FFF2-40B4-BE49-F238E27FC236}">
                  <a16:creationId xmlns:a16="http://schemas.microsoft.com/office/drawing/2014/main" id="{E9BDCDF7-7270-4974-90F1-83B7D8DCB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" y="1991"/>
              <a:ext cx="84" cy="86"/>
            </a:xfrm>
            <a:custGeom>
              <a:avLst/>
              <a:gdLst>
                <a:gd name="T0" fmla="*/ 10 w 33"/>
                <a:gd name="T1" fmla="*/ 31 h 34"/>
                <a:gd name="T2" fmla="*/ 11 w 33"/>
                <a:gd name="T3" fmla="*/ 30 h 34"/>
                <a:gd name="T4" fmla="*/ 3 w 33"/>
                <a:gd name="T5" fmla="*/ 23 h 34"/>
                <a:gd name="T6" fmla="*/ 1 w 33"/>
                <a:gd name="T7" fmla="*/ 17 h 34"/>
                <a:gd name="T8" fmla="*/ 3 w 33"/>
                <a:gd name="T9" fmla="*/ 11 h 34"/>
                <a:gd name="T10" fmla="*/ 11 w 33"/>
                <a:gd name="T11" fmla="*/ 4 h 34"/>
                <a:gd name="T12" fmla="*/ 17 w 33"/>
                <a:gd name="T13" fmla="*/ 1 h 34"/>
                <a:gd name="T14" fmla="*/ 23 w 33"/>
                <a:gd name="T15" fmla="*/ 4 h 34"/>
                <a:gd name="T16" fmla="*/ 30 w 33"/>
                <a:gd name="T17" fmla="*/ 11 h 34"/>
                <a:gd name="T18" fmla="*/ 33 w 33"/>
                <a:gd name="T19" fmla="*/ 17 h 34"/>
                <a:gd name="T20" fmla="*/ 30 w 33"/>
                <a:gd name="T21" fmla="*/ 23 h 34"/>
                <a:gd name="T22" fmla="*/ 23 w 33"/>
                <a:gd name="T23" fmla="*/ 30 h 34"/>
                <a:gd name="T24" fmla="*/ 17 w 33"/>
                <a:gd name="T25" fmla="*/ 33 h 34"/>
                <a:gd name="T26" fmla="*/ 11 w 33"/>
                <a:gd name="T27" fmla="*/ 30 h 34"/>
                <a:gd name="T28" fmla="*/ 10 w 33"/>
                <a:gd name="T29" fmla="*/ 31 h 34"/>
                <a:gd name="T30" fmla="*/ 10 w 33"/>
                <a:gd name="T31" fmla="*/ 31 h 34"/>
                <a:gd name="T32" fmla="*/ 17 w 33"/>
                <a:gd name="T33" fmla="*/ 34 h 34"/>
                <a:gd name="T34" fmla="*/ 23 w 33"/>
                <a:gd name="T35" fmla="*/ 31 h 34"/>
                <a:gd name="T36" fmla="*/ 31 w 33"/>
                <a:gd name="T37" fmla="*/ 24 h 34"/>
                <a:gd name="T38" fmla="*/ 33 w 33"/>
                <a:gd name="T39" fmla="*/ 17 h 34"/>
                <a:gd name="T40" fmla="*/ 31 w 33"/>
                <a:gd name="T41" fmla="*/ 10 h 34"/>
                <a:gd name="T42" fmla="*/ 23 w 33"/>
                <a:gd name="T43" fmla="*/ 3 h 34"/>
                <a:gd name="T44" fmla="*/ 17 w 33"/>
                <a:gd name="T45" fmla="*/ 0 h 34"/>
                <a:gd name="T46" fmla="*/ 10 w 33"/>
                <a:gd name="T47" fmla="*/ 3 h 34"/>
                <a:gd name="T48" fmla="*/ 3 w 33"/>
                <a:gd name="T49" fmla="*/ 10 h 34"/>
                <a:gd name="T50" fmla="*/ 0 w 33"/>
                <a:gd name="T51" fmla="*/ 17 h 34"/>
                <a:gd name="T52" fmla="*/ 3 w 33"/>
                <a:gd name="T53" fmla="*/ 24 h 34"/>
                <a:gd name="T54" fmla="*/ 10 w 33"/>
                <a:gd name="T55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" h="34">
                  <a:moveTo>
                    <a:pt x="10" y="31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1"/>
                    <a:pt x="1" y="19"/>
                    <a:pt x="1" y="17"/>
                  </a:cubicBezTo>
                  <a:cubicBezTo>
                    <a:pt x="1" y="15"/>
                    <a:pt x="2" y="12"/>
                    <a:pt x="3" y="1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2"/>
                    <a:pt x="14" y="1"/>
                    <a:pt x="17" y="1"/>
                  </a:cubicBezTo>
                  <a:cubicBezTo>
                    <a:pt x="19" y="1"/>
                    <a:pt x="21" y="2"/>
                    <a:pt x="23" y="4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2" y="12"/>
                    <a:pt x="33" y="15"/>
                    <a:pt x="33" y="17"/>
                  </a:cubicBezTo>
                  <a:cubicBezTo>
                    <a:pt x="33" y="19"/>
                    <a:pt x="32" y="21"/>
                    <a:pt x="30" y="2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1" y="32"/>
                    <a:pt x="19" y="33"/>
                    <a:pt x="17" y="33"/>
                  </a:cubicBezTo>
                  <a:cubicBezTo>
                    <a:pt x="14" y="33"/>
                    <a:pt x="12" y="32"/>
                    <a:pt x="11" y="30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2" y="33"/>
                    <a:pt x="14" y="34"/>
                    <a:pt x="17" y="34"/>
                  </a:cubicBezTo>
                  <a:cubicBezTo>
                    <a:pt x="19" y="34"/>
                    <a:pt x="22" y="33"/>
                    <a:pt x="23" y="31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3" y="22"/>
                    <a:pt x="33" y="19"/>
                    <a:pt x="33" y="17"/>
                  </a:cubicBezTo>
                  <a:cubicBezTo>
                    <a:pt x="33" y="14"/>
                    <a:pt x="33" y="12"/>
                    <a:pt x="31" y="1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19" y="0"/>
                    <a:pt x="17" y="0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10" y="31"/>
                    <a:pt x="10" y="31"/>
                    <a:pt x="10" y="3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" name="Freeform 2272">
              <a:extLst>
                <a:ext uri="{FF2B5EF4-FFF2-40B4-BE49-F238E27FC236}">
                  <a16:creationId xmlns:a16="http://schemas.microsoft.com/office/drawing/2014/main" id="{F1C91178-0334-4EB1-8459-DA24ADFB6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" y="2034"/>
              <a:ext cx="0" cy="101"/>
            </a:xfrm>
            <a:custGeom>
              <a:avLst/>
              <a:gdLst>
                <a:gd name="T0" fmla="*/ 0 h 101"/>
                <a:gd name="T1" fmla="*/ 101 h 101"/>
                <a:gd name="T2" fmla="*/ 0 h 10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1">
                  <a:moveTo>
                    <a:pt x="0" y="0"/>
                  </a:move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" name="Line 2273">
              <a:extLst>
                <a:ext uri="{FF2B5EF4-FFF2-40B4-BE49-F238E27FC236}">
                  <a16:creationId xmlns:a16="http://schemas.microsoft.com/office/drawing/2014/main" id="{D7261CEF-25C9-478A-835D-5785753E37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4" y="2034"/>
              <a:ext cx="0" cy="101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" name="Rectangle 2274">
              <a:extLst>
                <a:ext uri="{FF2B5EF4-FFF2-40B4-BE49-F238E27FC236}">
                  <a16:creationId xmlns:a16="http://schemas.microsoft.com/office/drawing/2014/main" id="{D8C98B1A-0CC0-44F0-BDA4-9B8C448AA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2" y="2034"/>
              <a:ext cx="2" cy="101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" name="Freeform 2275">
              <a:extLst>
                <a:ext uri="{FF2B5EF4-FFF2-40B4-BE49-F238E27FC236}">
                  <a16:creationId xmlns:a16="http://schemas.microsoft.com/office/drawing/2014/main" id="{1745BA12-E783-4942-9CD5-7F95D533E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2034"/>
              <a:ext cx="2" cy="101"/>
            </a:xfrm>
            <a:custGeom>
              <a:avLst/>
              <a:gdLst>
                <a:gd name="T0" fmla="*/ 0 w 2"/>
                <a:gd name="T1" fmla="*/ 0 h 101"/>
                <a:gd name="T2" fmla="*/ 0 w 2"/>
                <a:gd name="T3" fmla="*/ 101 h 101"/>
                <a:gd name="T4" fmla="*/ 2 w 2"/>
                <a:gd name="T5" fmla="*/ 101 h 101"/>
                <a:gd name="T6" fmla="*/ 2 w 2"/>
                <a:gd name="T7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1">
                  <a:moveTo>
                    <a:pt x="0" y="0"/>
                  </a:moveTo>
                  <a:lnTo>
                    <a:pt x="0" y="101"/>
                  </a:lnTo>
                  <a:lnTo>
                    <a:pt x="2" y="101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" name="Freeform 2276">
              <a:extLst>
                <a:ext uri="{FF2B5EF4-FFF2-40B4-BE49-F238E27FC236}">
                  <a16:creationId xmlns:a16="http://schemas.microsoft.com/office/drawing/2014/main" id="{26DC8B4E-6B20-4734-B942-607FF44F8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9"/>
              <a:ext cx="16" cy="43"/>
            </a:xfrm>
            <a:custGeom>
              <a:avLst/>
              <a:gdLst>
                <a:gd name="T0" fmla="*/ 6 w 6"/>
                <a:gd name="T1" fmla="*/ 16 h 17"/>
                <a:gd name="T2" fmla="*/ 6 w 6"/>
                <a:gd name="T3" fmla="*/ 16 h 17"/>
                <a:gd name="T4" fmla="*/ 1 w 6"/>
                <a:gd name="T5" fmla="*/ 12 h 17"/>
                <a:gd name="T6" fmla="*/ 1 w 6"/>
                <a:gd name="T7" fmla="*/ 0 h 17"/>
                <a:gd name="T8" fmla="*/ 0 w 6"/>
                <a:gd name="T9" fmla="*/ 0 h 17"/>
                <a:gd name="T10" fmla="*/ 0 w 6"/>
                <a:gd name="T11" fmla="*/ 12 h 17"/>
                <a:gd name="T12" fmla="*/ 6 w 6"/>
                <a:gd name="T13" fmla="*/ 17 h 17"/>
                <a:gd name="T14" fmla="*/ 6 w 6"/>
                <a:gd name="T15" fmla="*/ 17 h 17"/>
                <a:gd name="T16" fmla="*/ 6 w 6"/>
                <a:gd name="T1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7"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3" y="16"/>
                    <a:pt x="1" y="14"/>
                    <a:pt x="1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3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5" name="Freeform 2277">
              <a:extLst>
                <a:ext uri="{FF2B5EF4-FFF2-40B4-BE49-F238E27FC236}">
                  <a16:creationId xmlns:a16="http://schemas.microsoft.com/office/drawing/2014/main" id="{1E71DEE4-257A-41B6-A1E7-4B31889CA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2016"/>
              <a:ext cx="89" cy="89"/>
            </a:xfrm>
            <a:custGeom>
              <a:avLst/>
              <a:gdLst>
                <a:gd name="T0" fmla="*/ 11 w 35"/>
                <a:gd name="T1" fmla="*/ 31 h 35"/>
                <a:gd name="T2" fmla="*/ 4 w 35"/>
                <a:gd name="T3" fmla="*/ 24 h 35"/>
                <a:gd name="T4" fmla="*/ 4 w 35"/>
                <a:gd name="T5" fmla="*/ 11 h 35"/>
                <a:gd name="T6" fmla="*/ 11 w 35"/>
                <a:gd name="T7" fmla="*/ 4 h 35"/>
                <a:gd name="T8" fmla="*/ 24 w 35"/>
                <a:gd name="T9" fmla="*/ 4 h 35"/>
                <a:gd name="T10" fmla="*/ 31 w 35"/>
                <a:gd name="T11" fmla="*/ 11 h 35"/>
                <a:gd name="T12" fmla="*/ 31 w 35"/>
                <a:gd name="T13" fmla="*/ 24 h 35"/>
                <a:gd name="T14" fmla="*/ 24 w 35"/>
                <a:gd name="T15" fmla="*/ 31 h 35"/>
                <a:gd name="T16" fmla="*/ 11 w 35"/>
                <a:gd name="T17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5">
                  <a:moveTo>
                    <a:pt x="11" y="31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0" y="20"/>
                    <a:pt x="0" y="14"/>
                    <a:pt x="4" y="1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4" y="0"/>
                    <a:pt x="20" y="0"/>
                    <a:pt x="24" y="4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5" y="14"/>
                    <a:pt x="35" y="20"/>
                    <a:pt x="31" y="24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0" y="35"/>
                    <a:pt x="14" y="35"/>
                    <a:pt x="1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6" name="Freeform 2278">
              <a:extLst>
                <a:ext uri="{FF2B5EF4-FFF2-40B4-BE49-F238E27FC236}">
                  <a16:creationId xmlns:a16="http://schemas.microsoft.com/office/drawing/2014/main" id="{63245C41-D0EF-4174-944C-6A3A2FF3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" y="2019"/>
              <a:ext cx="83" cy="83"/>
            </a:xfrm>
            <a:custGeom>
              <a:avLst/>
              <a:gdLst>
                <a:gd name="T0" fmla="*/ 10 w 33"/>
                <a:gd name="T1" fmla="*/ 30 h 33"/>
                <a:gd name="T2" fmla="*/ 10 w 33"/>
                <a:gd name="T3" fmla="*/ 30 h 33"/>
                <a:gd name="T4" fmla="*/ 3 w 33"/>
                <a:gd name="T5" fmla="*/ 22 h 33"/>
                <a:gd name="T6" fmla="*/ 0 w 33"/>
                <a:gd name="T7" fmla="*/ 16 h 33"/>
                <a:gd name="T8" fmla="*/ 3 w 33"/>
                <a:gd name="T9" fmla="*/ 10 h 33"/>
                <a:gd name="T10" fmla="*/ 10 w 33"/>
                <a:gd name="T11" fmla="*/ 3 h 33"/>
                <a:gd name="T12" fmla="*/ 16 w 33"/>
                <a:gd name="T13" fmla="*/ 0 h 33"/>
                <a:gd name="T14" fmla="*/ 22 w 33"/>
                <a:gd name="T15" fmla="*/ 3 h 33"/>
                <a:gd name="T16" fmla="*/ 30 w 33"/>
                <a:gd name="T17" fmla="*/ 10 h 33"/>
                <a:gd name="T18" fmla="*/ 32 w 33"/>
                <a:gd name="T19" fmla="*/ 16 h 33"/>
                <a:gd name="T20" fmla="*/ 30 w 33"/>
                <a:gd name="T21" fmla="*/ 22 h 33"/>
                <a:gd name="T22" fmla="*/ 22 w 33"/>
                <a:gd name="T23" fmla="*/ 30 h 33"/>
                <a:gd name="T24" fmla="*/ 16 w 33"/>
                <a:gd name="T25" fmla="*/ 32 h 33"/>
                <a:gd name="T26" fmla="*/ 10 w 33"/>
                <a:gd name="T27" fmla="*/ 30 h 33"/>
                <a:gd name="T28" fmla="*/ 10 w 33"/>
                <a:gd name="T29" fmla="*/ 30 h 33"/>
                <a:gd name="T30" fmla="*/ 10 w 33"/>
                <a:gd name="T31" fmla="*/ 30 h 33"/>
                <a:gd name="T32" fmla="*/ 16 w 33"/>
                <a:gd name="T33" fmla="*/ 33 h 33"/>
                <a:gd name="T34" fmla="*/ 23 w 33"/>
                <a:gd name="T35" fmla="*/ 30 h 33"/>
                <a:gd name="T36" fmla="*/ 30 w 33"/>
                <a:gd name="T37" fmla="*/ 23 h 33"/>
                <a:gd name="T38" fmla="*/ 33 w 33"/>
                <a:gd name="T39" fmla="*/ 16 h 33"/>
                <a:gd name="T40" fmla="*/ 30 w 33"/>
                <a:gd name="T41" fmla="*/ 10 h 33"/>
                <a:gd name="T42" fmla="*/ 23 w 33"/>
                <a:gd name="T43" fmla="*/ 2 h 33"/>
                <a:gd name="T44" fmla="*/ 16 w 33"/>
                <a:gd name="T45" fmla="*/ 0 h 33"/>
                <a:gd name="T46" fmla="*/ 10 w 33"/>
                <a:gd name="T47" fmla="*/ 2 h 33"/>
                <a:gd name="T48" fmla="*/ 2 w 33"/>
                <a:gd name="T49" fmla="*/ 10 h 33"/>
                <a:gd name="T50" fmla="*/ 0 w 33"/>
                <a:gd name="T51" fmla="*/ 16 h 33"/>
                <a:gd name="T52" fmla="*/ 2 w 33"/>
                <a:gd name="T53" fmla="*/ 23 h 33"/>
                <a:gd name="T54" fmla="*/ 10 w 33"/>
                <a:gd name="T5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" h="33">
                  <a:moveTo>
                    <a:pt x="10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1"/>
                    <a:pt x="0" y="19"/>
                    <a:pt x="0" y="16"/>
                  </a:cubicBezTo>
                  <a:cubicBezTo>
                    <a:pt x="0" y="14"/>
                    <a:pt x="1" y="12"/>
                    <a:pt x="3" y="1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1" y="1"/>
                    <a:pt x="22" y="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2"/>
                    <a:pt x="32" y="14"/>
                    <a:pt x="32" y="16"/>
                  </a:cubicBezTo>
                  <a:cubicBezTo>
                    <a:pt x="32" y="19"/>
                    <a:pt x="31" y="21"/>
                    <a:pt x="30" y="2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1"/>
                    <a:pt x="19" y="32"/>
                    <a:pt x="16" y="32"/>
                  </a:cubicBezTo>
                  <a:cubicBezTo>
                    <a:pt x="14" y="32"/>
                    <a:pt x="12" y="31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32"/>
                    <a:pt x="14" y="33"/>
                    <a:pt x="16" y="33"/>
                  </a:cubicBezTo>
                  <a:cubicBezTo>
                    <a:pt x="19" y="33"/>
                    <a:pt x="21" y="32"/>
                    <a:pt x="23" y="30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2" y="21"/>
                    <a:pt x="33" y="19"/>
                    <a:pt x="33" y="16"/>
                  </a:cubicBezTo>
                  <a:cubicBezTo>
                    <a:pt x="33" y="14"/>
                    <a:pt x="32" y="11"/>
                    <a:pt x="30" y="1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4" y="0"/>
                    <a:pt x="11" y="0"/>
                    <a:pt x="10" y="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1"/>
                    <a:pt x="0" y="14"/>
                    <a:pt x="0" y="16"/>
                  </a:cubicBezTo>
                  <a:cubicBezTo>
                    <a:pt x="0" y="19"/>
                    <a:pt x="0" y="21"/>
                    <a:pt x="2" y="23"/>
                  </a:cubicBezTo>
                  <a:cubicBezTo>
                    <a:pt x="10" y="30"/>
                    <a:pt x="10" y="30"/>
                    <a:pt x="10" y="3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7" name="Freeform 2279">
              <a:extLst>
                <a:ext uri="{FF2B5EF4-FFF2-40B4-BE49-F238E27FC236}">
                  <a16:creationId xmlns:a16="http://schemas.microsoft.com/office/drawing/2014/main" id="{EDE6E72A-2110-405C-B8A7-080FD4C05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2059"/>
              <a:ext cx="0" cy="102"/>
            </a:xfrm>
            <a:custGeom>
              <a:avLst/>
              <a:gdLst>
                <a:gd name="T0" fmla="*/ 0 h 102"/>
                <a:gd name="T1" fmla="*/ 102 h 102"/>
                <a:gd name="T2" fmla="*/ 0 h 10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2">
                  <a:moveTo>
                    <a:pt x="0" y="0"/>
                  </a:move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8" name="Line 2280">
              <a:extLst>
                <a:ext uri="{FF2B5EF4-FFF2-40B4-BE49-F238E27FC236}">
                  <a16:creationId xmlns:a16="http://schemas.microsoft.com/office/drawing/2014/main" id="{E16CA166-9617-4B32-BAD9-3E0A4888A6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51" y="2059"/>
              <a:ext cx="0" cy="102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9" name="Rectangle 2281">
              <a:extLst>
                <a:ext uri="{FF2B5EF4-FFF2-40B4-BE49-F238E27FC236}">
                  <a16:creationId xmlns:a16="http://schemas.microsoft.com/office/drawing/2014/main" id="{A58541A3-245C-492C-B3CA-101FEDC1E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1" y="2059"/>
              <a:ext cx="3" cy="102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0" name="Freeform 2282">
              <a:extLst>
                <a:ext uri="{FF2B5EF4-FFF2-40B4-BE49-F238E27FC236}">
                  <a16:creationId xmlns:a16="http://schemas.microsoft.com/office/drawing/2014/main" id="{8CA63540-D7F6-4419-B5CE-7753BBFF7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2059"/>
              <a:ext cx="3" cy="102"/>
            </a:xfrm>
            <a:custGeom>
              <a:avLst/>
              <a:gdLst>
                <a:gd name="T0" fmla="*/ 0 w 3"/>
                <a:gd name="T1" fmla="*/ 0 h 102"/>
                <a:gd name="T2" fmla="*/ 0 w 3"/>
                <a:gd name="T3" fmla="*/ 102 h 102"/>
                <a:gd name="T4" fmla="*/ 3 w 3"/>
                <a:gd name="T5" fmla="*/ 102 h 102"/>
                <a:gd name="T6" fmla="*/ 3 w 3"/>
                <a:gd name="T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2">
                  <a:moveTo>
                    <a:pt x="0" y="0"/>
                  </a:moveTo>
                  <a:lnTo>
                    <a:pt x="0" y="102"/>
                  </a:lnTo>
                  <a:lnTo>
                    <a:pt x="3" y="102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1" name="Freeform 2283">
              <a:extLst>
                <a:ext uri="{FF2B5EF4-FFF2-40B4-BE49-F238E27FC236}">
                  <a16:creationId xmlns:a16="http://schemas.microsoft.com/office/drawing/2014/main" id="{544660BD-0263-49C4-816E-F7BEFCEF5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" y="2044"/>
              <a:ext cx="15" cy="46"/>
            </a:xfrm>
            <a:custGeom>
              <a:avLst/>
              <a:gdLst>
                <a:gd name="T0" fmla="*/ 6 w 6"/>
                <a:gd name="T1" fmla="*/ 17 h 18"/>
                <a:gd name="T2" fmla="*/ 6 w 6"/>
                <a:gd name="T3" fmla="*/ 17 h 18"/>
                <a:gd name="T4" fmla="*/ 1 w 6"/>
                <a:gd name="T5" fmla="*/ 12 h 18"/>
                <a:gd name="T6" fmla="*/ 1 w 6"/>
                <a:gd name="T7" fmla="*/ 0 h 18"/>
                <a:gd name="T8" fmla="*/ 0 w 6"/>
                <a:gd name="T9" fmla="*/ 0 h 18"/>
                <a:gd name="T10" fmla="*/ 0 w 6"/>
                <a:gd name="T11" fmla="*/ 12 h 18"/>
                <a:gd name="T12" fmla="*/ 6 w 6"/>
                <a:gd name="T13" fmla="*/ 18 h 18"/>
                <a:gd name="T14" fmla="*/ 6 w 6"/>
                <a:gd name="T15" fmla="*/ 18 h 18"/>
                <a:gd name="T16" fmla="*/ 6 w 6"/>
                <a:gd name="T1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8"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3" y="17"/>
                    <a:pt x="1" y="15"/>
                    <a:pt x="1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2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7"/>
                    <a:pt x="6" y="17"/>
                    <a:pt x="6" y="1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2" name="Freeform 2284">
              <a:extLst>
                <a:ext uri="{FF2B5EF4-FFF2-40B4-BE49-F238E27FC236}">
                  <a16:creationId xmlns:a16="http://schemas.microsoft.com/office/drawing/2014/main" id="{C91A217B-CF25-43E1-A5F1-35287E25D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" y="2158"/>
              <a:ext cx="106" cy="106"/>
            </a:xfrm>
            <a:custGeom>
              <a:avLst/>
              <a:gdLst>
                <a:gd name="T0" fmla="*/ 15 w 42"/>
                <a:gd name="T1" fmla="*/ 39 h 42"/>
                <a:gd name="T2" fmla="*/ 4 w 42"/>
                <a:gd name="T3" fmla="*/ 28 h 42"/>
                <a:gd name="T4" fmla="*/ 4 w 42"/>
                <a:gd name="T5" fmla="*/ 15 h 42"/>
                <a:gd name="T6" fmla="*/ 15 w 42"/>
                <a:gd name="T7" fmla="*/ 4 h 42"/>
                <a:gd name="T8" fmla="*/ 28 w 42"/>
                <a:gd name="T9" fmla="*/ 4 h 42"/>
                <a:gd name="T10" fmla="*/ 39 w 42"/>
                <a:gd name="T11" fmla="*/ 15 h 42"/>
                <a:gd name="T12" fmla="*/ 39 w 42"/>
                <a:gd name="T13" fmla="*/ 28 h 42"/>
                <a:gd name="T14" fmla="*/ 28 w 42"/>
                <a:gd name="T15" fmla="*/ 39 h 42"/>
                <a:gd name="T16" fmla="*/ 15 w 42"/>
                <a:gd name="T17" fmla="*/ 3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2">
                  <a:moveTo>
                    <a:pt x="15" y="39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0" y="24"/>
                    <a:pt x="0" y="19"/>
                    <a:pt x="4" y="1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8" y="0"/>
                    <a:pt x="24" y="0"/>
                    <a:pt x="28" y="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2" y="19"/>
                    <a:pt x="42" y="24"/>
                    <a:pt x="39" y="28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4" y="42"/>
                    <a:pt x="18" y="42"/>
                    <a:pt x="15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3" name="Freeform 2285">
              <a:extLst>
                <a:ext uri="{FF2B5EF4-FFF2-40B4-BE49-F238E27FC236}">
                  <a16:creationId xmlns:a16="http://schemas.microsoft.com/office/drawing/2014/main" id="{0D13A126-EE47-45EB-9EDE-1DD1EB7EE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" y="2161"/>
              <a:ext cx="104" cy="103"/>
            </a:xfrm>
            <a:custGeom>
              <a:avLst/>
              <a:gdLst>
                <a:gd name="T0" fmla="*/ 14 w 41"/>
                <a:gd name="T1" fmla="*/ 38 h 41"/>
                <a:gd name="T2" fmla="*/ 14 w 41"/>
                <a:gd name="T3" fmla="*/ 38 h 41"/>
                <a:gd name="T4" fmla="*/ 3 w 41"/>
                <a:gd name="T5" fmla="*/ 27 h 41"/>
                <a:gd name="T6" fmla="*/ 0 w 41"/>
                <a:gd name="T7" fmla="*/ 20 h 41"/>
                <a:gd name="T8" fmla="*/ 3 w 41"/>
                <a:gd name="T9" fmla="*/ 14 h 41"/>
                <a:gd name="T10" fmla="*/ 14 w 41"/>
                <a:gd name="T11" fmla="*/ 3 h 41"/>
                <a:gd name="T12" fmla="*/ 20 w 41"/>
                <a:gd name="T13" fmla="*/ 1 h 41"/>
                <a:gd name="T14" fmla="*/ 26 w 41"/>
                <a:gd name="T15" fmla="*/ 3 h 41"/>
                <a:gd name="T16" fmla="*/ 37 w 41"/>
                <a:gd name="T17" fmla="*/ 14 h 41"/>
                <a:gd name="T18" fmla="*/ 40 w 41"/>
                <a:gd name="T19" fmla="*/ 20 h 41"/>
                <a:gd name="T20" fmla="*/ 37 w 41"/>
                <a:gd name="T21" fmla="*/ 27 h 41"/>
                <a:gd name="T22" fmla="*/ 26 w 41"/>
                <a:gd name="T23" fmla="*/ 38 h 41"/>
                <a:gd name="T24" fmla="*/ 20 w 41"/>
                <a:gd name="T25" fmla="*/ 40 h 41"/>
                <a:gd name="T26" fmla="*/ 14 w 41"/>
                <a:gd name="T27" fmla="*/ 38 h 41"/>
                <a:gd name="T28" fmla="*/ 14 w 41"/>
                <a:gd name="T29" fmla="*/ 38 h 41"/>
                <a:gd name="T30" fmla="*/ 13 w 41"/>
                <a:gd name="T31" fmla="*/ 38 h 41"/>
                <a:gd name="T32" fmla="*/ 20 w 41"/>
                <a:gd name="T33" fmla="*/ 41 h 41"/>
                <a:gd name="T34" fmla="*/ 27 w 41"/>
                <a:gd name="T35" fmla="*/ 38 h 41"/>
                <a:gd name="T36" fmla="*/ 38 w 41"/>
                <a:gd name="T37" fmla="*/ 27 h 41"/>
                <a:gd name="T38" fmla="*/ 41 w 41"/>
                <a:gd name="T39" fmla="*/ 20 h 41"/>
                <a:gd name="T40" fmla="*/ 38 w 41"/>
                <a:gd name="T41" fmla="*/ 14 h 41"/>
                <a:gd name="T42" fmla="*/ 27 w 41"/>
                <a:gd name="T43" fmla="*/ 3 h 41"/>
                <a:gd name="T44" fmla="*/ 20 w 41"/>
                <a:gd name="T45" fmla="*/ 0 h 41"/>
                <a:gd name="T46" fmla="*/ 13 w 41"/>
                <a:gd name="T47" fmla="*/ 3 h 41"/>
                <a:gd name="T48" fmla="*/ 2 w 41"/>
                <a:gd name="T49" fmla="*/ 14 h 41"/>
                <a:gd name="T50" fmla="*/ 0 w 41"/>
                <a:gd name="T51" fmla="*/ 20 h 41"/>
                <a:gd name="T52" fmla="*/ 2 w 41"/>
                <a:gd name="T53" fmla="*/ 27 h 41"/>
                <a:gd name="T54" fmla="*/ 13 w 41"/>
                <a:gd name="T55" fmla="*/ 38 h 41"/>
                <a:gd name="T56" fmla="*/ 14 w 41"/>
                <a:gd name="T5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41">
                  <a:moveTo>
                    <a:pt x="14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5"/>
                    <a:pt x="0" y="23"/>
                    <a:pt x="0" y="20"/>
                  </a:cubicBezTo>
                  <a:cubicBezTo>
                    <a:pt x="0" y="18"/>
                    <a:pt x="1" y="16"/>
                    <a:pt x="3" y="1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6" y="2"/>
                    <a:pt x="18" y="1"/>
                    <a:pt x="20" y="1"/>
                  </a:cubicBezTo>
                  <a:cubicBezTo>
                    <a:pt x="22" y="1"/>
                    <a:pt x="25" y="2"/>
                    <a:pt x="26" y="3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9" y="16"/>
                    <a:pt x="40" y="18"/>
                    <a:pt x="40" y="20"/>
                  </a:cubicBezTo>
                  <a:cubicBezTo>
                    <a:pt x="40" y="23"/>
                    <a:pt x="39" y="25"/>
                    <a:pt x="37" y="27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5" y="39"/>
                    <a:pt x="22" y="40"/>
                    <a:pt x="20" y="40"/>
                  </a:cubicBezTo>
                  <a:cubicBezTo>
                    <a:pt x="18" y="40"/>
                    <a:pt x="16" y="39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5" y="40"/>
                    <a:pt x="18" y="41"/>
                    <a:pt x="20" y="41"/>
                  </a:cubicBezTo>
                  <a:cubicBezTo>
                    <a:pt x="23" y="41"/>
                    <a:pt x="25" y="40"/>
                    <a:pt x="27" y="38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0" y="25"/>
                    <a:pt x="41" y="23"/>
                    <a:pt x="41" y="20"/>
                  </a:cubicBezTo>
                  <a:cubicBezTo>
                    <a:pt x="41" y="18"/>
                    <a:pt x="40" y="16"/>
                    <a:pt x="38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5" y="1"/>
                    <a:pt x="23" y="0"/>
                    <a:pt x="20" y="0"/>
                  </a:cubicBezTo>
                  <a:cubicBezTo>
                    <a:pt x="18" y="0"/>
                    <a:pt x="15" y="1"/>
                    <a:pt x="13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6"/>
                    <a:pt x="0" y="18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13" y="38"/>
                    <a:pt x="13" y="38"/>
                    <a:pt x="13" y="38"/>
                  </a:cubicBezTo>
                  <a:lnTo>
                    <a:pt x="14" y="3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4" name="Freeform 2286">
              <a:extLst>
                <a:ext uri="{FF2B5EF4-FFF2-40B4-BE49-F238E27FC236}">
                  <a16:creationId xmlns:a16="http://schemas.microsoft.com/office/drawing/2014/main" id="{7EDB5B6F-09B7-4904-B3C0-32F3A9D74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" y="2211"/>
              <a:ext cx="0" cy="119"/>
            </a:xfrm>
            <a:custGeom>
              <a:avLst/>
              <a:gdLst>
                <a:gd name="T0" fmla="*/ 0 h 119"/>
                <a:gd name="T1" fmla="*/ 119 h 119"/>
                <a:gd name="T2" fmla="*/ 0 h 1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19">
                  <a:moveTo>
                    <a:pt x="0" y="0"/>
                  </a:moveTo>
                  <a:lnTo>
                    <a:pt x="0" y="1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5" name="Line 2287">
              <a:extLst>
                <a:ext uri="{FF2B5EF4-FFF2-40B4-BE49-F238E27FC236}">
                  <a16:creationId xmlns:a16="http://schemas.microsoft.com/office/drawing/2014/main" id="{0D9AC724-2333-4267-8BB6-91DDAE71CB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7" y="2211"/>
              <a:ext cx="0" cy="119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6" name="Rectangle 2288">
              <a:extLst>
                <a:ext uri="{FF2B5EF4-FFF2-40B4-BE49-F238E27FC236}">
                  <a16:creationId xmlns:a16="http://schemas.microsoft.com/office/drawing/2014/main" id="{B107E989-8BAF-49AB-A518-3FCAB958C3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7" y="2211"/>
              <a:ext cx="2" cy="119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7" name="Freeform 2289">
              <a:extLst>
                <a:ext uri="{FF2B5EF4-FFF2-40B4-BE49-F238E27FC236}">
                  <a16:creationId xmlns:a16="http://schemas.microsoft.com/office/drawing/2014/main" id="{C2BF75E8-17DE-405A-BDAD-8E0CFD0DF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" y="2211"/>
              <a:ext cx="2" cy="119"/>
            </a:xfrm>
            <a:custGeom>
              <a:avLst/>
              <a:gdLst>
                <a:gd name="T0" fmla="*/ 0 w 2"/>
                <a:gd name="T1" fmla="*/ 0 h 119"/>
                <a:gd name="T2" fmla="*/ 0 w 2"/>
                <a:gd name="T3" fmla="*/ 119 h 119"/>
                <a:gd name="T4" fmla="*/ 2 w 2"/>
                <a:gd name="T5" fmla="*/ 119 h 119"/>
                <a:gd name="T6" fmla="*/ 2 w 2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19">
                  <a:moveTo>
                    <a:pt x="0" y="0"/>
                  </a:moveTo>
                  <a:lnTo>
                    <a:pt x="0" y="119"/>
                  </a:lnTo>
                  <a:lnTo>
                    <a:pt x="2" y="119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8" name="Freeform 2290">
              <a:extLst>
                <a:ext uri="{FF2B5EF4-FFF2-40B4-BE49-F238E27FC236}">
                  <a16:creationId xmlns:a16="http://schemas.microsoft.com/office/drawing/2014/main" id="{19833A26-D72A-4E55-AC5F-B318C6709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2194"/>
              <a:ext cx="18" cy="53"/>
            </a:xfrm>
            <a:custGeom>
              <a:avLst/>
              <a:gdLst>
                <a:gd name="T0" fmla="*/ 7 w 7"/>
                <a:gd name="T1" fmla="*/ 20 h 21"/>
                <a:gd name="T2" fmla="*/ 6 w 7"/>
                <a:gd name="T3" fmla="*/ 20 h 21"/>
                <a:gd name="T4" fmla="*/ 2 w 7"/>
                <a:gd name="T5" fmla="*/ 18 h 21"/>
                <a:gd name="T6" fmla="*/ 1 w 7"/>
                <a:gd name="T7" fmla="*/ 14 h 21"/>
                <a:gd name="T8" fmla="*/ 1 w 7"/>
                <a:gd name="T9" fmla="*/ 0 h 21"/>
                <a:gd name="T10" fmla="*/ 0 w 7"/>
                <a:gd name="T11" fmla="*/ 0 h 21"/>
                <a:gd name="T12" fmla="*/ 0 w 7"/>
                <a:gd name="T13" fmla="*/ 14 h 21"/>
                <a:gd name="T14" fmla="*/ 6 w 7"/>
                <a:gd name="T15" fmla="*/ 21 h 21"/>
                <a:gd name="T16" fmla="*/ 7 w 7"/>
                <a:gd name="T17" fmla="*/ 21 h 21"/>
                <a:gd name="T18" fmla="*/ 7 w 7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21">
                  <a:moveTo>
                    <a:pt x="7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3" y="19"/>
                    <a:pt x="2" y="18"/>
                  </a:cubicBezTo>
                  <a:cubicBezTo>
                    <a:pt x="1" y="17"/>
                    <a:pt x="1" y="16"/>
                    <a:pt x="1" y="1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8"/>
                    <a:pt x="3" y="21"/>
                    <a:pt x="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19" name="Freeform 2291">
              <a:extLst>
                <a:ext uri="{FF2B5EF4-FFF2-40B4-BE49-F238E27FC236}">
                  <a16:creationId xmlns:a16="http://schemas.microsoft.com/office/drawing/2014/main" id="{34E42BC6-BD25-44CD-A950-63D751621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2087"/>
              <a:ext cx="111" cy="96"/>
            </a:xfrm>
            <a:custGeom>
              <a:avLst/>
              <a:gdLst>
                <a:gd name="T0" fmla="*/ 111 w 111"/>
                <a:gd name="T1" fmla="*/ 8 h 96"/>
                <a:gd name="T2" fmla="*/ 8 w 111"/>
                <a:gd name="T3" fmla="*/ 96 h 96"/>
                <a:gd name="T4" fmla="*/ 0 w 111"/>
                <a:gd name="T5" fmla="*/ 86 h 96"/>
                <a:gd name="T6" fmla="*/ 104 w 111"/>
                <a:gd name="T7" fmla="*/ 0 h 96"/>
                <a:gd name="T8" fmla="*/ 111 w 111"/>
                <a:gd name="T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6">
                  <a:moveTo>
                    <a:pt x="111" y="8"/>
                  </a:moveTo>
                  <a:lnTo>
                    <a:pt x="8" y="96"/>
                  </a:lnTo>
                  <a:lnTo>
                    <a:pt x="0" y="86"/>
                  </a:lnTo>
                  <a:lnTo>
                    <a:pt x="104" y="0"/>
                  </a:lnTo>
                  <a:lnTo>
                    <a:pt x="11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0" name="Freeform 2292">
              <a:extLst>
                <a:ext uri="{FF2B5EF4-FFF2-40B4-BE49-F238E27FC236}">
                  <a16:creationId xmlns:a16="http://schemas.microsoft.com/office/drawing/2014/main" id="{A49E2AA9-1EAA-425E-8A66-BD5AD2BE2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085"/>
              <a:ext cx="113" cy="101"/>
            </a:xfrm>
            <a:custGeom>
              <a:avLst/>
              <a:gdLst>
                <a:gd name="T0" fmla="*/ 113 w 113"/>
                <a:gd name="T1" fmla="*/ 10 h 101"/>
                <a:gd name="T2" fmla="*/ 111 w 113"/>
                <a:gd name="T3" fmla="*/ 7 h 101"/>
                <a:gd name="T4" fmla="*/ 10 w 113"/>
                <a:gd name="T5" fmla="*/ 98 h 101"/>
                <a:gd name="T6" fmla="*/ 2 w 113"/>
                <a:gd name="T7" fmla="*/ 88 h 101"/>
                <a:gd name="T8" fmla="*/ 106 w 113"/>
                <a:gd name="T9" fmla="*/ 2 h 101"/>
                <a:gd name="T10" fmla="*/ 111 w 113"/>
                <a:gd name="T11" fmla="*/ 10 h 101"/>
                <a:gd name="T12" fmla="*/ 113 w 113"/>
                <a:gd name="T13" fmla="*/ 10 h 101"/>
                <a:gd name="T14" fmla="*/ 111 w 113"/>
                <a:gd name="T15" fmla="*/ 7 h 101"/>
                <a:gd name="T16" fmla="*/ 113 w 113"/>
                <a:gd name="T17" fmla="*/ 10 h 101"/>
                <a:gd name="T18" fmla="*/ 113 w 113"/>
                <a:gd name="T19" fmla="*/ 10 h 101"/>
                <a:gd name="T20" fmla="*/ 106 w 113"/>
                <a:gd name="T21" fmla="*/ 0 h 101"/>
                <a:gd name="T22" fmla="*/ 0 w 113"/>
                <a:gd name="T23" fmla="*/ 88 h 101"/>
                <a:gd name="T24" fmla="*/ 10 w 113"/>
                <a:gd name="T25" fmla="*/ 101 h 101"/>
                <a:gd name="T26" fmla="*/ 113 w 113"/>
                <a:gd name="T27" fmla="*/ 10 h 101"/>
                <a:gd name="T28" fmla="*/ 113 w 113"/>
                <a:gd name="T29" fmla="*/ 10 h 101"/>
                <a:gd name="T30" fmla="*/ 113 w 113"/>
                <a:gd name="T31" fmla="*/ 1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01">
                  <a:moveTo>
                    <a:pt x="113" y="10"/>
                  </a:moveTo>
                  <a:lnTo>
                    <a:pt x="111" y="7"/>
                  </a:lnTo>
                  <a:lnTo>
                    <a:pt x="10" y="98"/>
                  </a:lnTo>
                  <a:lnTo>
                    <a:pt x="2" y="88"/>
                  </a:lnTo>
                  <a:lnTo>
                    <a:pt x="106" y="2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1" y="7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06" y="0"/>
                  </a:lnTo>
                  <a:lnTo>
                    <a:pt x="0" y="88"/>
                  </a:lnTo>
                  <a:lnTo>
                    <a:pt x="10" y="10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1" name="Freeform 2293">
              <a:extLst>
                <a:ext uri="{FF2B5EF4-FFF2-40B4-BE49-F238E27FC236}">
                  <a16:creationId xmlns:a16="http://schemas.microsoft.com/office/drawing/2014/main" id="{6B032EA6-47D0-4BD0-9709-C73341B19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" y="2143"/>
              <a:ext cx="0" cy="15"/>
            </a:xfrm>
            <a:custGeom>
              <a:avLst/>
              <a:gdLst>
                <a:gd name="T0" fmla="*/ 0 h 15"/>
                <a:gd name="T1" fmla="*/ 15 h 15"/>
                <a:gd name="T2" fmla="*/ 0 h 1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5">
                  <a:moveTo>
                    <a:pt x="0" y="0"/>
                  </a:move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2" name="Line 2294">
              <a:extLst>
                <a:ext uri="{FF2B5EF4-FFF2-40B4-BE49-F238E27FC236}">
                  <a16:creationId xmlns:a16="http://schemas.microsoft.com/office/drawing/2014/main" id="{20E29966-EE8D-4318-86EE-254103E264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7" y="2143"/>
              <a:ext cx="0" cy="1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3" name="Rectangle 2295">
              <a:extLst>
                <a:ext uri="{FF2B5EF4-FFF2-40B4-BE49-F238E27FC236}">
                  <a16:creationId xmlns:a16="http://schemas.microsoft.com/office/drawing/2014/main" id="{A4680EA0-28E4-4B5B-83FE-73A043BD6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2143"/>
              <a:ext cx="2" cy="1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4" name="Freeform 2296">
              <a:extLst>
                <a:ext uri="{FF2B5EF4-FFF2-40B4-BE49-F238E27FC236}">
                  <a16:creationId xmlns:a16="http://schemas.microsoft.com/office/drawing/2014/main" id="{CE83834B-6359-49C0-85BC-BC6D28F80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" y="2143"/>
              <a:ext cx="2" cy="15"/>
            </a:xfrm>
            <a:custGeom>
              <a:avLst/>
              <a:gdLst>
                <a:gd name="T0" fmla="*/ 0 w 2"/>
                <a:gd name="T1" fmla="*/ 0 h 15"/>
                <a:gd name="T2" fmla="*/ 0 w 2"/>
                <a:gd name="T3" fmla="*/ 15 h 15"/>
                <a:gd name="T4" fmla="*/ 2 w 2"/>
                <a:gd name="T5" fmla="*/ 15 h 15"/>
                <a:gd name="T6" fmla="*/ 2 w 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5">
                  <a:moveTo>
                    <a:pt x="0" y="0"/>
                  </a:moveTo>
                  <a:lnTo>
                    <a:pt x="0" y="15"/>
                  </a:lnTo>
                  <a:lnTo>
                    <a:pt x="2" y="15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5" name="Freeform 2297">
              <a:extLst>
                <a:ext uri="{FF2B5EF4-FFF2-40B4-BE49-F238E27FC236}">
                  <a16:creationId xmlns:a16="http://schemas.microsoft.com/office/drawing/2014/main" id="{F1154A02-8FD0-4695-AE72-945D944D3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7" y="2133"/>
              <a:ext cx="0" cy="15"/>
            </a:xfrm>
            <a:custGeom>
              <a:avLst/>
              <a:gdLst>
                <a:gd name="T0" fmla="*/ 0 h 15"/>
                <a:gd name="T1" fmla="*/ 15 h 15"/>
                <a:gd name="T2" fmla="*/ 0 h 1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5">
                  <a:moveTo>
                    <a:pt x="0" y="0"/>
                  </a:move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6" name="Line 2298">
              <a:extLst>
                <a:ext uri="{FF2B5EF4-FFF2-40B4-BE49-F238E27FC236}">
                  <a16:creationId xmlns:a16="http://schemas.microsoft.com/office/drawing/2014/main" id="{B6C5A72F-1D10-4ABA-8B05-510199F472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7" y="2133"/>
              <a:ext cx="0" cy="1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7" name="Rectangle 2299">
              <a:extLst>
                <a:ext uri="{FF2B5EF4-FFF2-40B4-BE49-F238E27FC236}">
                  <a16:creationId xmlns:a16="http://schemas.microsoft.com/office/drawing/2014/main" id="{5E8A96BE-0FFD-43BD-8BCF-CB0486128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7" y="2133"/>
              <a:ext cx="3" cy="15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8" name="Freeform 2300">
              <a:extLst>
                <a:ext uri="{FF2B5EF4-FFF2-40B4-BE49-F238E27FC236}">
                  <a16:creationId xmlns:a16="http://schemas.microsoft.com/office/drawing/2014/main" id="{92A0EE31-D6CF-4955-9F4C-F849F196B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7" y="2133"/>
              <a:ext cx="3" cy="15"/>
            </a:xfrm>
            <a:custGeom>
              <a:avLst/>
              <a:gdLst>
                <a:gd name="T0" fmla="*/ 0 w 3"/>
                <a:gd name="T1" fmla="*/ 0 h 15"/>
                <a:gd name="T2" fmla="*/ 0 w 3"/>
                <a:gd name="T3" fmla="*/ 15 h 15"/>
                <a:gd name="T4" fmla="*/ 3 w 3"/>
                <a:gd name="T5" fmla="*/ 15 h 15"/>
                <a:gd name="T6" fmla="*/ 3 w 3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5">
                  <a:moveTo>
                    <a:pt x="0" y="0"/>
                  </a:moveTo>
                  <a:lnTo>
                    <a:pt x="0" y="15"/>
                  </a:lnTo>
                  <a:lnTo>
                    <a:pt x="3" y="15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9" name="Freeform 2301">
              <a:extLst>
                <a:ext uri="{FF2B5EF4-FFF2-40B4-BE49-F238E27FC236}">
                  <a16:creationId xmlns:a16="http://schemas.microsoft.com/office/drawing/2014/main" id="{3F15A669-8CE7-400B-B153-2BB875F51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" y="2123"/>
              <a:ext cx="0" cy="17"/>
            </a:xfrm>
            <a:custGeom>
              <a:avLst/>
              <a:gdLst>
                <a:gd name="T0" fmla="*/ 0 h 17"/>
                <a:gd name="T1" fmla="*/ 17 h 17"/>
                <a:gd name="T2" fmla="*/ 0 h 1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">
                  <a:moveTo>
                    <a:pt x="0" y="0"/>
                  </a:move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0" name="Line 2302">
              <a:extLst>
                <a:ext uri="{FF2B5EF4-FFF2-40B4-BE49-F238E27FC236}">
                  <a16:creationId xmlns:a16="http://schemas.microsoft.com/office/drawing/2014/main" id="{742E69E8-2C34-4F78-A844-783882F566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0" y="2123"/>
              <a:ext cx="0" cy="17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1" name="Rectangle 2303">
              <a:extLst>
                <a:ext uri="{FF2B5EF4-FFF2-40B4-BE49-F238E27FC236}">
                  <a16:creationId xmlns:a16="http://schemas.microsoft.com/office/drawing/2014/main" id="{D971C349-F0C3-45E7-955F-719139ACE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7" y="2123"/>
              <a:ext cx="3" cy="17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2" name="Freeform 2304">
              <a:extLst>
                <a:ext uri="{FF2B5EF4-FFF2-40B4-BE49-F238E27FC236}">
                  <a16:creationId xmlns:a16="http://schemas.microsoft.com/office/drawing/2014/main" id="{28043E2B-5812-47AC-9147-155EC8CA5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" y="2123"/>
              <a:ext cx="3" cy="17"/>
            </a:xfrm>
            <a:custGeom>
              <a:avLst/>
              <a:gdLst>
                <a:gd name="T0" fmla="*/ 0 w 3"/>
                <a:gd name="T1" fmla="*/ 0 h 17"/>
                <a:gd name="T2" fmla="*/ 0 w 3"/>
                <a:gd name="T3" fmla="*/ 17 h 17"/>
                <a:gd name="T4" fmla="*/ 3 w 3"/>
                <a:gd name="T5" fmla="*/ 17 h 17"/>
                <a:gd name="T6" fmla="*/ 3 w 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7">
                  <a:moveTo>
                    <a:pt x="0" y="0"/>
                  </a:moveTo>
                  <a:lnTo>
                    <a:pt x="0" y="17"/>
                  </a:lnTo>
                  <a:lnTo>
                    <a:pt x="3" y="1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3" name="Freeform 2305">
              <a:extLst>
                <a:ext uri="{FF2B5EF4-FFF2-40B4-BE49-F238E27FC236}">
                  <a16:creationId xmlns:a16="http://schemas.microsoft.com/office/drawing/2014/main" id="{11DCA7C8-4478-4323-88DA-E7B30DF49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211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2 w 2"/>
                <a:gd name="T3" fmla="*/ 13 h 13"/>
                <a:gd name="T4" fmla="*/ 0 w 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2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4" name="Line 2306">
              <a:extLst>
                <a:ext uri="{FF2B5EF4-FFF2-40B4-BE49-F238E27FC236}">
                  <a16:creationId xmlns:a16="http://schemas.microsoft.com/office/drawing/2014/main" id="{57A6972D-8AAE-474E-A3C1-ED7A6DA4BF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0" y="2115"/>
              <a:ext cx="2" cy="1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5" name="Rectangle 2307">
              <a:extLst>
                <a:ext uri="{FF2B5EF4-FFF2-40B4-BE49-F238E27FC236}">
                  <a16:creationId xmlns:a16="http://schemas.microsoft.com/office/drawing/2014/main" id="{10CD9C37-8B93-43C5-9073-66D7B6032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" y="211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6" name="Freeform 2308">
              <a:extLst>
                <a:ext uri="{FF2B5EF4-FFF2-40B4-BE49-F238E27FC236}">
                  <a16:creationId xmlns:a16="http://schemas.microsoft.com/office/drawing/2014/main" id="{022DB0A0-AD1D-4C4F-A4D3-11A56DA93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211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7" name="Freeform 2309">
              <a:extLst>
                <a:ext uri="{FF2B5EF4-FFF2-40B4-BE49-F238E27FC236}">
                  <a16:creationId xmlns:a16="http://schemas.microsoft.com/office/drawing/2014/main" id="{BF7A8E53-DFE2-4F1E-B734-3D77FBCAC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" y="2105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8" name="Line 2310">
              <a:extLst>
                <a:ext uri="{FF2B5EF4-FFF2-40B4-BE49-F238E27FC236}">
                  <a16:creationId xmlns:a16="http://schemas.microsoft.com/office/drawing/2014/main" id="{0A79D469-F839-4D49-82A1-07AD97637D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3" y="2105"/>
              <a:ext cx="0" cy="1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9" name="Rectangle 2311">
              <a:extLst>
                <a:ext uri="{FF2B5EF4-FFF2-40B4-BE49-F238E27FC236}">
                  <a16:creationId xmlns:a16="http://schemas.microsoft.com/office/drawing/2014/main" id="{F3D9C8CE-0B67-40A9-8CDA-F0C0B02FD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3" y="210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0" name="Freeform 2312">
              <a:extLst>
                <a:ext uri="{FF2B5EF4-FFF2-40B4-BE49-F238E27FC236}">
                  <a16:creationId xmlns:a16="http://schemas.microsoft.com/office/drawing/2014/main" id="{82370737-B257-44CA-841F-E637340B3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" y="210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1" name="Freeform 2313">
              <a:extLst>
                <a:ext uri="{FF2B5EF4-FFF2-40B4-BE49-F238E27FC236}">
                  <a16:creationId xmlns:a16="http://schemas.microsoft.com/office/drawing/2014/main" id="{476DDE3F-1406-4738-97AC-823036371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" y="2095"/>
              <a:ext cx="0" cy="13"/>
            </a:xfrm>
            <a:custGeom>
              <a:avLst/>
              <a:gdLst>
                <a:gd name="T0" fmla="*/ 0 h 13"/>
                <a:gd name="T1" fmla="*/ 13 h 13"/>
                <a:gd name="T2" fmla="*/ 0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2" name="Line 2314">
              <a:extLst>
                <a:ext uri="{FF2B5EF4-FFF2-40B4-BE49-F238E27FC236}">
                  <a16:creationId xmlns:a16="http://schemas.microsoft.com/office/drawing/2014/main" id="{2E9387C8-0A1C-4F67-98C6-0CF3CEB6C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5" y="2095"/>
              <a:ext cx="0" cy="1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3" name="Rectangle 2315">
              <a:extLst>
                <a:ext uri="{FF2B5EF4-FFF2-40B4-BE49-F238E27FC236}">
                  <a16:creationId xmlns:a16="http://schemas.microsoft.com/office/drawing/2014/main" id="{79628C44-D55B-41C5-88B5-234D092A7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3" y="2095"/>
              <a:ext cx="2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4" name="Freeform 2316">
              <a:extLst>
                <a:ext uri="{FF2B5EF4-FFF2-40B4-BE49-F238E27FC236}">
                  <a16:creationId xmlns:a16="http://schemas.microsoft.com/office/drawing/2014/main" id="{4A98B21E-DC1A-4F1E-AA78-CB712EBCA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3" y="2095"/>
              <a:ext cx="2" cy="13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13 h 13"/>
                <a:gd name="T4" fmla="*/ 2 w 2"/>
                <a:gd name="T5" fmla="*/ 13 h 13"/>
                <a:gd name="T6" fmla="*/ 2 w 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5" name="Freeform 2317">
              <a:extLst>
                <a:ext uri="{FF2B5EF4-FFF2-40B4-BE49-F238E27FC236}">
                  <a16:creationId xmlns:a16="http://schemas.microsoft.com/office/drawing/2014/main" id="{480E47CF-D53B-42A4-8F1A-8F1B7E496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161"/>
              <a:ext cx="15" cy="63"/>
            </a:xfrm>
            <a:custGeom>
              <a:avLst/>
              <a:gdLst>
                <a:gd name="T0" fmla="*/ 6 w 6"/>
                <a:gd name="T1" fmla="*/ 25 h 25"/>
                <a:gd name="T2" fmla="*/ 0 w 6"/>
                <a:gd name="T3" fmla="*/ 25 h 25"/>
                <a:gd name="T4" fmla="*/ 0 w 6"/>
                <a:gd name="T5" fmla="*/ 3 h 25"/>
                <a:gd name="T6" fmla="*/ 3 w 6"/>
                <a:gd name="T7" fmla="*/ 0 h 25"/>
                <a:gd name="T8" fmla="*/ 6 w 6"/>
                <a:gd name="T9" fmla="*/ 3 h 25"/>
                <a:gd name="T10" fmla="*/ 6 w 6"/>
                <a:gd name="T1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5">
                  <a:moveTo>
                    <a:pt x="6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6" name="Freeform 2318">
              <a:extLst>
                <a:ext uri="{FF2B5EF4-FFF2-40B4-BE49-F238E27FC236}">
                  <a16:creationId xmlns:a16="http://schemas.microsoft.com/office/drawing/2014/main" id="{90C51509-7286-4491-9688-72C960C67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161"/>
              <a:ext cx="15" cy="65"/>
            </a:xfrm>
            <a:custGeom>
              <a:avLst/>
              <a:gdLst>
                <a:gd name="T0" fmla="*/ 6 w 6"/>
                <a:gd name="T1" fmla="*/ 25 h 26"/>
                <a:gd name="T2" fmla="*/ 6 w 6"/>
                <a:gd name="T3" fmla="*/ 25 h 26"/>
                <a:gd name="T4" fmla="*/ 0 w 6"/>
                <a:gd name="T5" fmla="*/ 25 h 26"/>
                <a:gd name="T6" fmla="*/ 0 w 6"/>
                <a:gd name="T7" fmla="*/ 3 h 26"/>
                <a:gd name="T8" fmla="*/ 3 w 6"/>
                <a:gd name="T9" fmla="*/ 0 h 26"/>
                <a:gd name="T10" fmla="*/ 5 w 6"/>
                <a:gd name="T11" fmla="*/ 3 h 26"/>
                <a:gd name="T12" fmla="*/ 5 w 6"/>
                <a:gd name="T13" fmla="*/ 25 h 26"/>
                <a:gd name="T14" fmla="*/ 6 w 6"/>
                <a:gd name="T15" fmla="*/ 25 h 26"/>
                <a:gd name="T16" fmla="*/ 6 w 6"/>
                <a:gd name="T17" fmla="*/ 25 h 26"/>
                <a:gd name="T18" fmla="*/ 6 w 6"/>
                <a:gd name="T19" fmla="*/ 25 h 26"/>
                <a:gd name="T20" fmla="*/ 6 w 6"/>
                <a:gd name="T21" fmla="*/ 25 h 26"/>
                <a:gd name="T22" fmla="*/ 6 w 6"/>
                <a:gd name="T23" fmla="*/ 3 h 26"/>
                <a:gd name="T24" fmla="*/ 3 w 6"/>
                <a:gd name="T25" fmla="*/ 0 h 26"/>
                <a:gd name="T26" fmla="*/ 0 w 6"/>
                <a:gd name="T27" fmla="*/ 3 h 26"/>
                <a:gd name="T28" fmla="*/ 0 w 6"/>
                <a:gd name="T29" fmla="*/ 26 h 26"/>
                <a:gd name="T30" fmla="*/ 6 w 6"/>
                <a:gd name="T31" fmla="*/ 26 h 26"/>
                <a:gd name="T32" fmla="*/ 6 w 6"/>
                <a:gd name="T3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26">
                  <a:moveTo>
                    <a:pt x="6" y="25"/>
                  </a:moveTo>
                  <a:cubicBezTo>
                    <a:pt x="6" y="25"/>
                    <a:pt x="6" y="25"/>
                    <a:pt x="6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7" name="Oval 2319">
              <a:extLst>
                <a:ext uri="{FF2B5EF4-FFF2-40B4-BE49-F238E27FC236}">
                  <a16:creationId xmlns:a16="http://schemas.microsoft.com/office/drawing/2014/main" id="{921E8288-C01F-49E3-AA85-25087A938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7" y="2166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8" name="Freeform 2320">
              <a:extLst>
                <a:ext uri="{FF2B5EF4-FFF2-40B4-BE49-F238E27FC236}">
                  <a16:creationId xmlns:a16="http://schemas.microsoft.com/office/drawing/2014/main" id="{A98DCF0B-9683-477C-A2F2-E4D8C0019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4" y="2166"/>
              <a:ext cx="8" cy="7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1 h 3"/>
                <a:gd name="T4" fmla="*/ 2 w 3"/>
                <a:gd name="T5" fmla="*/ 2 h 3"/>
                <a:gd name="T6" fmla="*/ 1 w 3"/>
                <a:gd name="T7" fmla="*/ 1 h 3"/>
                <a:gd name="T8" fmla="*/ 2 w 3"/>
                <a:gd name="T9" fmla="*/ 1 h 3"/>
                <a:gd name="T10" fmla="*/ 2 w 3"/>
                <a:gd name="T11" fmla="*/ 1 h 3"/>
                <a:gd name="T12" fmla="*/ 3 w 3"/>
                <a:gd name="T13" fmla="*/ 1 h 3"/>
                <a:gd name="T14" fmla="*/ 3 w 3"/>
                <a:gd name="T15" fmla="*/ 1 h 3"/>
                <a:gd name="T16" fmla="*/ 2 w 3"/>
                <a:gd name="T17" fmla="*/ 0 h 3"/>
                <a:gd name="T18" fmla="*/ 0 w 3"/>
                <a:gd name="T19" fmla="*/ 1 h 3"/>
                <a:gd name="T20" fmla="*/ 2 w 3"/>
                <a:gd name="T21" fmla="*/ 3 h 3"/>
                <a:gd name="T22" fmla="*/ 3 w 3"/>
                <a:gd name="T2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9" name="Freeform 2321">
              <a:extLst>
                <a:ext uri="{FF2B5EF4-FFF2-40B4-BE49-F238E27FC236}">
                  <a16:creationId xmlns:a16="http://schemas.microsoft.com/office/drawing/2014/main" id="{ED1E4C18-9F46-48C7-B2C1-D6542D929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0" y="2388"/>
              <a:ext cx="13" cy="15"/>
            </a:xfrm>
            <a:custGeom>
              <a:avLst/>
              <a:gdLst>
                <a:gd name="T0" fmla="*/ 5 w 5"/>
                <a:gd name="T1" fmla="*/ 6 h 6"/>
                <a:gd name="T2" fmla="*/ 0 w 5"/>
                <a:gd name="T3" fmla="*/ 6 h 6"/>
                <a:gd name="T4" fmla="*/ 0 w 5"/>
                <a:gd name="T5" fmla="*/ 2 h 6"/>
                <a:gd name="T6" fmla="*/ 2 w 5"/>
                <a:gd name="T7" fmla="*/ 0 h 6"/>
                <a:gd name="T8" fmla="*/ 3 w 5"/>
                <a:gd name="T9" fmla="*/ 0 h 6"/>
                <a:gd name="T10" fmla="*/ 5 w 5"/>
                <a:gd name="T11" fmla="*/ 2 h 6"/>
                <a:gd name="T12" fmla="*/ 5 w 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0" name="Freeform 2322">
              <a:extLst>
                <a:ext uri="{FF2B5EF4-FFF2-40B4-BE49-F238E27FC236}">
                  <a16:creationId xmlns:a16="http://schemas.microsoft.com/office/drawing/2014/main" id="{E57D276C-A02B-4811-A8DD-1832DACFA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386"/>
              <a:ext cx="15" cy="17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6 h 7"/>
                <a:gd name="T4" fmla="*/ 1 w 6"/>
                <a:gd name="T5" fmla="*/ 6 h 7"/>
                <a:gd name="T6" fmla="*/ 1 w 6"/>
                <a:gd name="T7" fmla="*/ 3 h 7"/>
                <a:gd name="T8" fmla="*/ 3 w 6"/>
                <a:gd name="T9" fmla="*/ 1 h 7"/>
                <a:gd name="T10" fmla="*/ 4 w 6"/>
                <a:gd name="T11" fmla="*/ 1 h 7"/>
                <a:gd name="T12" fmla="*/ 5 w 6"/>
                <a:gd name="T13" fmla="*/ 3 h 7"/>
                <a:gd name="T14" fmla="*/ 5 w 6"/>
                <a:gd name="T15" fmla="*/ 7 h 7"/>
                <a:gd name="T16" fmla="*/ 6 w 6"/>
                <a:gd name="T17" fmla="*/ 7 h 7"/>
                <a:gd name="T18" fmla="*/ 6 w 6"/>
                <a:gd name="T19" fmla="*/ 6 h 7"/>
                <a:gd name="T20" fmla="*/ 6 w 6"/>
                <a:gd name="T21" fmla="*/ 7 h 7"/>
                <a:gd name="T22" fmla="*/ 6 w 6"/>
                <a:gd name="T23" fmla="*/ 7 h 7"/>
                <a:gd name="T24" fmla="*/ 6 w 6"/>
                <a:gd name="T25" fmla="*/ 3 h 7"/>
                <a:gd name="T26" fmla="*/ 4 w 6"/>
                <a:gd name="T27" fmla="*/ 0 h 7"/>
                <a:gd name="T28" fmla="*/ 3 w 6"/>
                <a:gd name="T29" fmla="*/ 0 h 7"/>
                <a:gd name="T30" fmla="*/ 0 w 6"/>
                <a:gd name="T31" fmla="*/ 3 h 7"/>
                <a:gd name="T32" fmla="*/ 0 w 6"/>
                <a:gd name="T33" fmla="*/ 7 h 7"/>
                <a:gd name="T34" fmla="*/ 6 w 6"/>
                <a:gd name="T35" fmla="*/ 7 h 7"/>
                <a:gd name="T36" fmla="*/ 6 w 6"/>
                <a:gd name="T3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1" name="Freeform 2323">
              <a:extLst>
                <a:ext uri="{FF2B5EF4-FFF2-40B4-BE49-F238E27FC236}">
                  <a16:creationId xmlns:a16="http://schemas.microsoft.com/office/drawing/2014/main" id="{E19D4BDF-08FB-499A-8FCE-73F8021A0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" y="2403"/>
              <a:ext cx="180" cy="76"/>
            </a:xfrm>
            <a:custGeom>
              <a:avLst/>
              <a:gdLst>
                <a:gd name="T0" fmla="*/ 12 w 71"/>
                <a:gd name="T1" fmla="*/ 15 h 30"/>
                <a:gd name="T2" fmla="*/ 20 w 71"/>
                <a:gd name="T3" fmla="*/ 3 h 30"/>
                <a:gd name="T4" fmla="*/ 26 w 71"/>
                <a:gd name="T5" fmla="*/ 0 h 30"/>
                <a:gd name="T6" fmla="*/ 64 w 71"/>
                <a:gd name="T7" fmla="*/ 0 h 30"/>
                <a:gd name="T8" fmla="*/ 71 w 71"/>
                <a:gd name="T9" fmla="*/ 7 h 30"/>
                <a:gd name="T10" fmla="*/ 71 w 71"/>
                <a:gd name="T11" fmla="*/ 26 h 30"/>
                <a:gd name="T12" fmla="*/ 67 w 71"/>
                <a:gd name="T13" fmla="*/ 30 h 30"/>
                <a:gd name="T14" fmla="*/ 4 w 71"/>
                <a:gd name="T15" fmla="*/ 30 h 30"/>
                <a:gd name="T16" fmla="*/ 0 w 71"/>
                <a:gd name="T17" fmla="*/ 26 h 30"/>
                <a:gd name="T18" fmla="*/ 0 w 71"/>
                <a:gd name="T19" fmla="*/ 19 h 30"/>
                <a:gd name="T20" fmla="*/ 4 w 71"/>
                <a:gd name="T21" fmla="*/ 15 h 30"/>
                <a:gd name="T22" fmla="*/ 12 w 71"/>
                <a:gd name="T2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30">
                  <a:moveTo>
                    <a:pt x="12" y="15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1" y="1"/>
                    <a:pt x="23" y="0"/>
                    <a:pt x="2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1" y="3"/>
                    <a:pt x="71" y="7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1" y="28"/>
                    <a:pt x="69" y="30"/>
                    <a:pt x="67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6"/>
                    <a:pt x="2" y="15"/>
                    <a:pt x="4" y="15"/>
                  </a:cubicBezTo>
                  <a:lnTo>
                    <a:pt x="12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2" name="Freeform 2324">
              <a:extLst>
                <a:ext uri="{FF2B5EF4-FFF2-40B4-BE49-F238E27FC236}">
                  <a16:creationId xmlns:a16="http://schemas.microsoft.com/office/drawing/2014/main" id="{573D7B20-DFA8-4382-B0B7-4C948B13A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" y="2401"/>
              <a:ext cx="182" cy="78"/>
            </a:xfrm>
            <a:custGeom>
              <a:avLst/>
              <a:gdLst>
                <a:gd name="T0" fmla="*/ 12 w 72"/>
                <a:gd name="T1" fmla="*/ 16 h 31"/>
                <a:gd name="T2" fmla="*/ 12 w 72"/>
                <a:gd name="T3" fmla="*/ 16 h 31"/>
                <a:gd name="T4" fmla="*/ 20 w 72"/>
                <a:gd name="T5" fmla="*/ 4 h 31"/>
                <a:gd name="T6" fmla="*/ 26 w 72"/>
                <a:gd name="T7" fmla="*/ 1 h 31"/>
                <a:gd name="T8" fmla="*/ 64 w 72"/>
                <a:gd name="T9" fmla="*/ 1 h 31"/>
                <a:gd name="T10" fmla="*/ 71 w 72"/>
                <a:gd name="T11" fmla="*/ 8 h 31"/>
                <a:gd name="T12" fmla="*/ 71 w 72"/>
                <a:gd name="T13" fmla="*/ 8 h 31"/>
                <a:gd name="T14" fmla="*/ 71 w 72"/>
                <a:gd name="T15" fmla="*/ 8 h 31"/>
                <a:gd name="T16" fmla="*/ 71 w 72"/>
                <a:gd name="T17" fmla="*/ 8 h 31"/>
                <a:gd name="T18" fmla="*/ 71 w 72"/>
                <a:gd name="T19" fmla="*/ 27 h 31"/>
                <a:gd name="T20" fmla="*/ 67 w 72"/>
                <a:gd name="T21" fmla="*/ 30 h 31"/>
                <a:gd name="T22" fmla="*/ 4 w 72"/>
                <a:gd name="T23" fmla="*/ 30 h 31"/>
                <a:gd name="T24" fmla="*/ 1 w 72"/>
                <a:gd name="T25" fmla="*/ 27 h 31"/>
                <a:gd name="T26" fmla="*/ 1 w 72"/>
                <a:gd name="T27" fmla="*/ 27 h 31"/>
                <a:gd name="T28" fmla="*/ 0 w 72"/>
                <a:gd name="T29" fmla="*/ 27 h 31"/>
                <a:gd name="T30" fmla="*/ 1 w 72"/>
                <a:gd name="T31" fmla="*/ 27 h 31"/>
                <a:gd name="T32" fmla="*/ 1 w 72"/>
                <a:gd name="T33" fmla="*/ 27 h 31"/>
                <a:gd name="T34" fmla="*/ 0 w 72"/>
                <a:gd name="T35" fmla="*/ 27 h 31"/>
                <a:gd name="T36" fmla="*/ 1 w 72"/>
                <a:gd name="T37" fmla="*/ 27 h 31"/>
                <a:gd name="T38" fmla="*/ 1 w 72"/>
                <a:gd name="T39" fmla="*/ 27 h 31"/>
                <a:gd name="T40" fmla="*/ 1 w 72"/>
                <a:gd name="T41" fmla="*/ 20 h 31"/>
                <a:gd name="T42" fmla="*/ 4 w 72"/>
                <a:gd name="T43" fmla="*/ 16 h 31"/>
                <a:gd name="T44" fmla="*/ 12 w 72"/>
                <a:gd name="T45" fmla="*/ 16 h 31"/>
                <a:gd name="T46" fmla="*/ 12 w 72"/>
                <a:gd name="T47" fmla="*/ 16 h 31"/>
                <a:gd name="T48" fmla="*/ 12 w 72"/>
                <a:gd name="T49" fmla="*/ 16 h 31"/>
                <a:gd name="T50" fmla="*/ 12 w 72"/>
                <a:gd name="T51" fmla="*/ 15 h 31"/>
                <a:gd name="T52" fmla="*/ 4 w 72"/>
                <a:gd name="T53" fmla="*/ 15 h 31"/>
                <a:gd name="T54" fmla="*/ 0 w 72"/>
                <a:gd name="T55" fmla="*/ 20 h 31"/>
                <a:gd name="T56" fmla="*/ 0 w 72"/>
                <a:gd name="T57" fmla="*/ 27 h 31"/>
                <a:gd name="T58" fmla="*/ 0 w 72"/>
                <a:gd name="T59" fmla="*/ 27 h 31"/>
                <a:gd name="T60" fmla="*/ 0 w 72"/>
                <a:gd name="T61" fmla="*/ 27 h 31"/>
                <a:gd name="T62" fmla="*/ 0 w 72"/>
                <a:gd name="T63" fmla="*/ 27 h 31"/>
                <a:gd name="T64" fmla="*/ 4 w 72"/>
                <a:gd name="T65" fmla="*/ 31 h 31"/>
                <a:gd name="T66" fmla="*/ 67 w 72"/>
                <a:gd name="T67" fmla="*/ 31 h 31"/>
                <a:gd name="T68" fmla="*/ 72 w 72"/>
                <a:gd name="T69" fmla="*/ 27 h 31"/>
                <a:gd name="T70" fmla="*/ 72 w 72"/>
                <a:gd name="T71" fmla="*/ 8 h 31"/>
                <a:gd name="T72" fmla="*/ 72 w 72"/>
                <a:gd name="T73" fmla="*/ 8 h 31"/>
                <a:gd name="T74" fmla="*/ 72 w 72"/>
                <a:gd name="T75" fmla="*/ 8 h 31"/>
                <a:gd name="T76" fmla="*/ 64 w 72"/>
                <a:gd name="T77" fmla="*/ 0 h 31"/>
                <a:gd name="T78" fmla="*/ 26 w 72"/>
                <a:gd name="T79" fmla="*/ 0 h 31"/>
                <a:gd name="T80" fmla="*/ 19 w 72"/>
                <a:gd name="T81" fmla="*/ 4 h 31"/>
                <a:gd name="T82" fmla="*/ 11 w 72"/>
                <a:gd name="T83" fmla="*/ 15 h 31"/>
                <a:gd name="T84" fmla="*/ 12 w 72"/>
                <a:gd name="T85" fmla="*/ 16 h 31"/>
                <a:gd name="T86" fmla="*/ 12 w 72"/>
                <a:gd name="T87" fmla="*/ 15 h 31"/>
                <a:gd name="T88" fmla="*/ 12 w 72"/>
                <a:gd name="T8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" h="31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2"/>
                    <a:pt x="23" y="1"/>
                    <a:pt x="26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8" y="1"/>
                    <a:pt x="71" y="4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9"/>
                    <a:pt x="69" y="30"/>
                    <a:pt x="67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" y="30"/>
                    <a:pt x="1" y="29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8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9"/>
                    <a:pt x="2" y="31"/>
                    <a:pt x="4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9" y="31"/>
                    <a:pt x="72" y="29"/>
                    <a:pt x="72" y="2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4"/>
                    <a:pt x="68" y="0"/>
                    <a:pt x="6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1" y="1"/>
                    <a:pt x="19" y="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3" name="Freeform 2325">
              <a:extLst>
                <a:ext uri="{FF2B5EF4-FFF2-40B4-BE49-F238E27FC236}">
                  <a16:creationId xmlns:a16="http://schemas.microsoft.com/office/drawing/2014/main" id="{C11AB657-9670-447C-A2A8-9806AEB03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6" y="2462"/>
              <a:ext cx="35" cy="33"/>
            </a:xfrm>
            <a:custGeom>
              <a:avLst/>
              <a:gdLst>
                <a:gd name="T0" fmla="*/ 0 w 14"/>
                <a:gd name="T1" fmla="*/ 6 h 13"/>
                <a:gd name="T2" fmla="*/ 8 w 14"/>
                <a:gd name="T3" fmla="*/ 12 h 13"/>
                <a:gd name="T4" fmla="*/ 13 w 14"/>
                <a:gd name="T5" fmla="*/ 8 h 13"/>
                <a:gd name="T6" fmla="*/ 6 w 14"/>
                <a:gd name="T7" fmla="*/ 0 h 13"/>
                <a:gd name="T8" fmla="*/ 0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0" y="6"/>
                  </a:moveTo>
                  <a:cubicBezTo>
                    <a:pt x="0" y="10"/>
                    <a:pt x="3" y="13"/>
                    <a:pt x="8" y="12"/>
                  </a:cubicBezTo>
                  <a:cubicBezTo>
                    <a:pt x="10" y="12"/>
                    <a:pt x="12" y="10"/>
                    <a:pt x="13" y="8"/>
                  </a:cubicBezTo>
                  <a:cubicBezTo>
                    <a:pt x="14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4" name="Freeform 2326">
              <a:extLst>
                <a:ext uri="{FF2B5EF4-FFF2-40B4-BE49-F238E27FC236}">
                  <a16:creationId xmlns:a16="http://schemas.microsoft.com/office/drawing/2014/main" id="{44E00DD4-18DF-41A1-ADB2-8B4B31CBB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" y="2459"/>
              <a:ext cx="35" cy="36"/>
            </a:xfrm>
            <a:custGeom>
              <a:avLst/>
              <a:gdLst>
                <a:gd name="T0" fmla="*/ 0 w 14"/>
                <a:gd name="T1" fmla="*/ 7 h 14"/>
                <a:gd name="T2" fmla="*/ 0 w 14"/>
                <a:gd name="T3" fmla="*/ 7 h 14"/>
                <a:gd name="T4" fmla="*/ 2 w 14"/>
                <a:gd name="T5" fmla="*/ 12 h 14"/>
                <a:gd name="T6" fmla="*/ 7 w 14"/>
                <a:gd name="T7" fmla="*/ 14 h 14"/>
                <a:gd name="T8" fmla="*/ 9 w 14"/>
                <a:gd name="T9" fmla="*/ 14 h 14"/>
                <a:gd name="T10" fmla="*/ 14 w 14"/>
                <a:gd name="T11" fmla="*/ 9 h 14"/>
                <a:gd name="T12" fmla="*/ 14 w 14"/>
                <a:gd name="T13" fmla="*/ 7 h 14"/>
                <a:gd name="T14" fmla="*/ 12 w 14"/>
                <a:gd name="T15" fmla="*/ 2 h 14"/>
                <a:gd name="T16" fmla="*/ 7 w 14"/>
                <a:gd name="T17" fmla="*/ 0 h 14"/>
                <a:gd name="T18" fmla="*/ 0 w 14"/>
                <a:gd name="T19" fmla="*/ 7 h 14"/>
                <a:gd name="T20" fmla="*/ 1 w 14"/>
                <a:gd name="T21" fmla="*/ 7 h 14"/>
                <a:gd name="T22" fmla="*/ 7 w 14"/>
                <a:gd name="T23" fmla="*/ 1 h 14"/>
                <a:gd name="T24" fmla="*/ 12 w 14"/>
                <a:gd name="T25" fmla="*/ 3 h 14"/>
                <a:gd name="T26" fmla="*/ 13 w 14"/>
                <a:gd name="T27" fmla="*/ 7 h 14"/>
                <a:gd name="T28" fmla="*/ 13 w 14"/>
                <a:gd name="T29" fmla="*/ 8 h 14"/>
                <a:gd name="T30" fmla="*/ 9 w 14"/>
                <a:gd name="T31" fmla="*/ 13 h 14"/>
                <a:gd name="T32" fmla="*/ 7 w 14"/>
                <a:gd name="T33" fmla="*/ 13 h 14"/>
                <a:gd name="T34" fmla="*/ 3 w 14"/>
                <a:gd name="T35" fmla="*/ 11 h 14"/>
                <a:gd name="T36" fmla="*/ 1 w 14"/>
                <a:gd name="T37" fmla="*/ 7 h 14"/>
                <a:gd name="T38" fmla="*/ 1 w 14"/>
                <a:gd name="T39" fmla="*/ 7 h 14"/>
                <a:gd name="T40" fmla="*/ 0 w 14"/>
                <a:gd name="T4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4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3"/>
                    <a:pt x="5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11" y="13"/>
                    <a:pt x="14" y="11"/>
                    <a:pt x="14" y="9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5"/>
                    <a:pt x="14" y="4"/>
                    <a:pt x="12" y="2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4"/>
                    <a:pt x="4" y="1"/>
                    <a:pt x="7" y="1"/>
                  </a:cubicBezTo>
                  <a:cubicBezTo>
                    <a:pt x="9" y="1"/>
                    <a:pt x="11" y="2"/>
                    <a:pt x="12" y="3"/>
                  </a:cubicBezTo>
                  <a:cubicBezTo>
                    <a:pt x="13" y="4"/>
                    <a:pt x="13" y="5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11"/>
                    <a:pt x="11" y="12"/>
                    <a:pt x="9" y="13"/>
                  </a:cubicBezTo>
                  <a:cubicBezTo>
                    <a:pt x="8" y="13"/>
                    <a:pt x="8" y="13"/>
                    <a:pt x="7" y="13"/>
                  </a:cubicBezTo>
                  <a:cubicBezTo>
                    <a:pt x="6" y="13"/>
                    <a:pt x="4" y="12"/>
                    <a:pt x="3" y="11"/>
                  </a:cubicBezTo>
                  <a:cubicBezTo>
                    <a:pt x="2" y="10"/>
                    <a:pt x="1" y="9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5" name="Freeform 2327">
              <a:extLst>
                <a:ext uri="{FF2B5EF4-FFF2-40B4-BE49-F238E27FC236}">
                  <a16:creationId xmlns:a16="http://schemas.microsoft.com/office/drawing/2014/main" id="{0C9827EB-B481-47F3-9C9E-FE17CE036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2462"/>
              <a:ext cx="36" cy="33"/>
            </a:xfrm>
            <a:custGeom>
              <a:avLst/>
              <a:gdLst>
                <a:gd name="T0" fmla="*/ 0 w 14"/>
                <a:gd name="T1" fmla="*/ 6 h 13"/>
                <a:gd name="T2" fmla="*/ 8 w 14"/>
                <a:gd name="T3" fmla="*/ 12 h 13"/>
                <a:gd name="T4" fmla="*/ 13 w 14"/>
                <a:gd name="T5" fmla="*/ 8 h 13"/>
                <a:gd name="T6" fmla="*/ 6 w 14"/>
                <a:gd name="T7" fmla="*/ 0 h 13"/>
                <a:gd name="T8" fmla="*/ 0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0" y="6"/>
                  </a:moveTo>
                  <a:cubicBezTo>
                    <a:pt x="0" y="10"/>
                    <a:pt x="3" y="13"/>
                    <a:pt x="8" y="12"/>
                  </a:cubicBezTo>
                  <a:cubicBezTo>
                    <a:pt x="10" y="12"/>
                    <a:pt x="12" y="10"/>
                    <a:pt x="13" y="8"/>
                  </a:cubicBezTo>
                  <a:cubicBezTo>
                    <a:pt x="14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6" name="Freeform 2328">
              <a:extLst>
                <a:ext uri="{FF2B5EF4-FFF2-40B4-BE49-F238E27FC236}">
                  <a16:creationId xmlns:a16="http://schemas.microsoft.com/office/drawing/2014/main" id="{BAF185A1-EB0F-461C-89FE-28CEA0F7B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" y="2459"/>
              <a:ext cx="35" cy="36"/>
            </a:xfrm>
            <a:custGeom>
              <a:avLst/>
              <a:gdLst>
                <a:gd name="T0" fmla="*/ 0 w 14"/>
                <a:gd name="T1" fmla="*/ 7 h 14"/>
                <a:gd name="T2" fmla="*/ 0 w 14"/>
                <a:gd name="T3" fmla="*/ 7 h 14"/>
                <a:gd name="T4" fmla="*/ 2 w 14"/>
                <a:gd name="T5" fmla="*/ 12 h 14"/>
                <a:gd name="T6" fmla="*/ 7 w 14"/>
                <a:gd name="T7" fmla="*/ 14 h 14"/>
                <a:gd name="T8" fmla="*/ 9 w 14"/>
                <a:gd name="T9" fmla="*/ 14 h 14"/>
                <a:gd name="T10" fmla="*/ 14 w 14"/>
                <a:gd name="T11" fmla="*/ 9 h 14"/>
                <a:gd name="T12" fmla="*/ 14 w 14"/>
                <a:gd name="T13" fmla="*/ 7 h 14"/>
                <a:gd name="T14" fmla="*/ 12 w 14"/>
                <a:gd name="T15" fmla="*/ 2 h 14"/>
                <a:gd name="T16" fmla="*/ 7 w 14"/>
                <a:gd name="T17" fmla="*/ 0 h 14"/>
                <a:gd name="T18" fmla="*/ 0 w 14"/>
                <a:gd name="T19" fmla="*/ 7 h 14"/>
                <a:gd name="T20" fmla="*/ 1 w 14"/>
                <a:gd name="T21" fmla="*/ 7 h 14"/>
                <a:gd name="T22" fmla="*/ 7 w 14"/>
                <a:gd name="T23" fmla="*/ 1 h 14"/>
                <a:gd name="T24" fmla="*/ 12 w 14"/>
                <a:gd name="T25" fmla="*/ 3 h 14"/>
                <a:gd name="T26" fmla="*/ 13 w 14"/>
                <a:gd name="T27" fmla="*/ 7 h 14"/>
                <a:gd name="T28" fmla="*/ 13 w 14"/>
                <a:gd name="T29" fmla="*/ 8 h 14"/>
                <a:gd name="T30" fmla="*/ 9 w 14"/>
                <a:gd name="T31" fmla="*/ 13 h 14"/>
                <a:gd name="T32" fmla="*/ 7 w 14"/>
                <a:gd name="T33" fmla="*/ 13 h 14"/>
                <a:gd name="T34" fmla="*/ 3 w 14"/>
                <a:gd name="T35" fmla="*/ 11 h 14"/>
                <a:gd name="T36" fmla="*/ 1 w 14"/>
                <a:gd name="T37" fmla="*/ 7 h 14"/>
                <a:gd name="T38" fmla="*/ 1 w 14"/>
                <a:gd name="T39" fmla="*/ 7 h 14"/>
                <a:gd name="T40" fmla="*/ 0 w 14"/>
                <a:gd name="T4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4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3"/>
                    <a:pt x="5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11" y="13"/>
                    <a:pt x="14" y="11"/>
                    <a:pt x="14" y="9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5"/>
                    <a:pt x="14" y="4"/>
                    <a:pt x="12" y="2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4"/>
                    <a:pt x="4" y="1"/>
                    <a:pt x="7" y="1"/>
                  </a:cubicBezTo>
                  <a:cubicBezTo>
                    <a:pt x="9" y="1"/>
                    <a:pt x="11" y="2"/>
                    <a:pt x="12" y="3"/>
                  </a:cubicBezTo>
                  <a:cubicBezTo>
                    <a:pt x="13" y="4"/>
                    <a:pt x="13" y="5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11"/>
                    <a:pt x="11" y="12"/>
                    <a:pt x="9" y="13"/>
                  </a:cubicBezTo>
                  <a:cubicBezTo>
                    <a:pt x="8" y="13"/>
                    <a:pt x="8" y="13"/>
                    <a:pt x="7" y="13"/>
                  </a:cubicBezTo>
                  <a:cubicBezTo>
                    <a:pt x="6" y="13"/>
                    <a:pt x="4" y="12"/>
                    <a:pt x="3" y="11"/>
                  </a:cubicBezTo>
                  <a:cubicBezTo>
                    <a:pt x="2" y="10"/>
                    <a:pt x="1" y="9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7" name="Freeform 2329">
              <a:extLst>
                <a:ext uri="{FF2B5EF4-FFF2-40B4-BE49-F238E27FC236}">
                  <a16:creationId xmlns:a16="http://schemas.microsoft.com/office/drawing/2014/main" id="{70D9D8CD-0AAB-43DE-9214-C6C02B949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4" y="2401"/>
              <a:ext cx="41" cy="48"/>
            </a:xfrm>
            <a:custGeom>
              <a:avLst/>
              <a:gdLst>
                <a:gd name="T0" fmla="*/ 0 w 16"/>
                <a:gd name="T1" fmla="*/ 8 h 19"/>
                <a:gd name="T2" fmla="*/ 8 w 16"/>
                <a:gd name="T3" fmla="*/ 0 h 19"/>
                <a:gd name="T4" fmla="*/ 16 w 16"/>
                <a:gd name="T5" fmla="*/ 8 h 19"/>
                <a:gd name="T6" fmla="*/ 16 w 16"/>
                <a:gd name="T7" fmla="*/ 17 h 19"/>
                <a:gd name="T8" fmla="*/ 14 w 16"/>
                <a:gd name="T9" fmla="*/ 19 h 19"/>
                <a:gd name="T10" fmla="*/ 13 w 16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9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5" y="19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8" name="Freeform 2330">
              <a:extLst>
                <a:ext uri="{FF2B5EF4-FFF2-40B4-BE49-F238E27FC236}">
                  <a16:creationId xmlns:a16="http://schemas.microsoft.com/office/drawing/2014/main" id="{C71A53F4-ABA5-4D89-A5EE-5506FE7D0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401"/>
              <a:ext cx="43" cy="51"/>
            </a:xfrm>
            <a:custGeom>
              <a:avLst/>
              <a:gdLst>
                <a:gd name="T0" fmla="*/ 1 w 17"/>
                <a:gd name="T1" fmla="*/ 8 h 20"/>
                <a:gd name="T2" fmla="*/ 3 w 17"/>
                <a:gd name="T3" fmla="*/ 3 h 20"/>
                <a:gd name="T4" fmla="*/ 9 w 17"/>
                <a:gd name="T5" fmla="*/ 1 h 20"/>
                <a:gd name="T6" fmla="*/ 9 w 17"/>
                <a:gd name="T7" fmla="*/ 1 h 20"/>
                <a:gd name="T8" fmla="*/ 16 w 17"/>
                <a:gd name="T9" fmla="*/ 8 h 20"/>
                <a:gd name="T10" fmla="*/ 16 w 17"/>
                <a:gd name="T11" fmla="*/ 17 h 20"/>
                <a:gd name="T12" fmla="*/ 15 w 17"/>
                <a:gd name="T13" fmla="*/ 19 h 20"/>
                <a:gd name="T14" fmla="*/ 14 w 17"/>
                <a:gd name="T15" fmla="*/ 19 h 20"/>
                <a:gd name="T16" fmla="*/ 14 w 17"/>
                <a:gd name="T17" fmla="*/ 20 h 20"/>
                <a:gd name="T18" fmla="*/ 15 w 17"/>
                <a:gd name="T19" fmla="*/ 20 h 20"/>
                <a:gd name="T20" fmla="*/ 17 w 17"/>
                <a:gd name="T21" fmla="*/ 17 h 20"/>
                <a:gd name="T22" fmla="*/ 17 w 17"/>
                <a:gd name="T23" fmla="*/ 8 h 20"/>
                <a:gd name="T24" fmla="*/ 9 w 17"/>
                <a:gd name="T25" fmla="*/ 0 h 20"/>
                <a:gd name="T26" fmla="*/ 9 w 17"/>
                <a:gd name="T27" fmla="*/ 0 h 20"/>
                <a:gd name="T28" fmla="*/ 0 w 17"/>
                <a:gd name="T29" fmla="*/ 8 h 20"/>
                <a:gd name="T30" fmla="*/ 1 w 17"/>
                <a:gd name="T3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0">
                  <a:moveTo>
                    <a:pt x="1" y="8"/>
                  </a:moveTo>
                  <a:cubicBezTo>
                    <a:pt x="1" y="6"/>
                    <a:pt x="2" y="4"/>
                    <a:pt x="3" y="3"/>
                  </a:cubicBezTo>
                  <a:cubicBezTo>
                    <a:pt x="5" y="1"/>
                    <a:pt x="7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3" y="1"/>
                    <a:pt x="16" y="4"/>
                    <a:pt x="16" y="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6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19"/>
                    <a:pt x="17" y="1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4"/>
                    <a:pt x="14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9" name="Freeform 2331">
              <a:extLst>
                <a:ext uri="{FF2B5EF4-FFF2-40B4-BE49-F238E27FC236}">
                  <a16:creationId xmlns:a16="http://schemas.microsoft.com/office/drawing/2014/main" id="{09A578AA-42FF-4301-B0FA-AAEEFF9B6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396"/>
              <a:ext cx="8" cy="5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0" name="Freeform 2332">
              <a:extLst>
                <a:ext uri="{FF2B5EF4-FFF2-40B4-BE49-F238E27FC236}">
                  <a16:creationId xmlns:a16="http://schemas.microsoft.com/office/drawing/2014/main" id="{B074BC14-4D6A-4EBE-9799-D2E7C8BB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396"/>
              <a:ext cx="8" cy="5"/>
            </a:xfrm>
            <a:custGeom>
              <a:avLst/>
              <a:gdLst>
                <a:gd name="T0" fmla="*/ 1 w 3"/>
                <a:gd name="T1" fmla="*/ 0 h 2"/>
                <a:gd name="T2" fmla="*/ 1 w 3"/>
                <a:gd name="T3" fmla="*/ 0 h 2"/>
                <a:gd name="T4" fmla="*/ 0 w 3"/>
                <a:gd name="T5" fmla="*/ 1 h 2"/>
                <a:gd name="T6" fmla="*/ 0 w 3"/>
                <a:gd name="T7" fmla="*/ 1 h 2"/>
                <a:gd name="T8" fmla="*/ 0 w 3"/>
                <a:gd name="T9" fmla="*/ 1 h 2"/>
                <a:gd name="T10" fmla="*/ 0 w 3"/>
                <a:gd name="T11" fmla="*/ 1 h 2"/>
                <a:gd name="T12" fmla="*/ 0 w 3"/>
                <a:gd name="T13" fmla="*/ 2 h 2"/>
                <a:gd name="T14" fmla="*/ 0 w 3"/>
                <a:gd name="T15" fmla="*/ 2 h 2"/>
                <a:gd name="T16" fmla="*/ 2 w 3"/>
                <a:gd name="T17" fmla="*/ 2 h 2"/>
                <a:gd name="T18" fmla="*/ 3 w 3"/>
                <a:gd name="T19" fmla="*/ 2 h 2"/>
                <a:gd name="T20" fmla="*/ 2 w 3"/>
                <a:gd name="T21" fmla="*/ 1 h 2"/>
                <a:gd name="T22" fmla="*/ 2 w 3"/>
                <a:gd name="T23" fmla="*/ 2 h 2"/>
                <a:gd name="T24" fmla="*/ 1 w 3"/>
                <a:gd name="T25" fmla="*/ 1 h 2"/>
                <a:gd name="T26" fmla="*/ 0 w 3"/>
                <a:gd name="T27" fmla="*/ 2 h 2"/>
                <a:gd name="T28" fmla="*/ 1 w 3"/>
                <a:gd name="T29" fmla="*/ 2 h 2"/>
                <a:gd name="T30" fmla="*/ 1 w 3"/>
                <a:gd name="T31" fmla="*/ 1 h 2"/>
                <a:gd name="T32" fmla="*/ 2 w 3"/>
                <a:gd name="T33" fmla="*/ 0 h 2"/>
                <a:gd name="T34" fmla="*/ 2 w 3"/>
                <a:gd name="T35" fmla="*/ 0 h 2"/>
                <a:gd name="T36" fmla="*/ 1 w 3"/>
                <a:gd name="T3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1" name="Freeform 2333">
              <a:extLst>
                <a:ext uri="{FF2B5EF4-FFF2-40B4-BE49-F238E27FC236}">
                  <a16:creationId xmlns:a16="http://schemas.microsoft.com/office/drawing/2014/main" id="{CA20C4C6-E57E-4EE7-8F97-DA0A2C224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0" y="2396"/>
              <a:ext cx="5" cy="5"/>
            </a:xfrm>
            <a:custGeom>
              <a:avLst/>
              <a:gdLst>
                <a:gd name="T0" fmla="*/ 1 w 2"/>
                <a:gd name="T1" fmla="*/ 0 h 2"/>
                <a:gd name="T2" fmla="*/ 2 w 2"/>
                <a:gd name="T3" fmla="*/ 2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1"/>
                    <a:pt x="2" y="2"/>
                    <a:pt x="2" y="2"/>
                  </a:cubicBezTo>
                  <a:cubicBezTo>
                    <a:pt x="1" y="2"/>
                    <a:pt x="1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2" name="Freeform 2334">
              <a:extLst>
                <a:ext uri="{FF2B5EF4-FFF2-40B4-BE49-F238E27FC236}">
                  <a16:creationId xmlns:a16="http://schemas.microsoft.com/office/drawing/2014/main" id="{E7F9A6D8-4394-4308-9AA6-8D243FE01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0" y="2396"/>
              <a:ext cx="7" cy="5"/>
            </a:xfrm>
            <a:custGeom>
              <a:avLst/>
              <a:gdLst>
                <a:gd name="T0" fmla="*/ 1 w 3"/>
                <a:gd name="T1" fmla="*/ 0 h 2"/>
                <a:gd name="T2" fmla="*/ 1 w 3"/>
                <a:gd name="T3" fmla="*/ 0 h 2"/>
                <a:gd name="T4" fmla="*/ 1 w 3"/>
                <a:gd name="T5" fmla="*/ 1 h 2"/>
                <a:gd name="T6" fmla="*/ 2 w 3"/>
                <a:gd name="T7" fmla="*/ 2 h 2"/>
                <a:gd name="T8" fmla="*/ 2 w 3"/>
                <a:gd name="T9" fmla="*/ 2 h 2"/>
                <a:gd name="T10" fmla="*/ 2 w 3"/>
                <a:gd name="T11" fmla="*/ 1 h 2"/>
                <a:gd name="T12" fmla="*/ 1 w 3"/>
                <a:gd name="T13" fmla="*/ 2 h 2"/>
                <a:gd name="T14" fmla="*/ 0 w 3"/>
                <a:gd name="T15" fmla="*/ 1 h 2"/>
                <a:gd name="T16" fmla="*/ 0 w 3"/>
                <a:gd name="T17" fmla="*/ 2 h 2"/>
                <a:gd name="T18" fmla="*/ 1 w 3"/>
                <a:gd name="T19" fmla="*/ 2 h 2"/>
                <a:gd name="T20" fmla="*/ 2 w 3"/>
                <a:gd name="T21" fmla="*/ 2 h 2"/>
                <a:gd name="T22" fmla="*/ 3 w 3"/>
                <a:gd name="T23" fmla="*/ 2 h 2"/>
                <a:gd name="T24" fmla="*/ 3 w 3"/>
                <a:gd name="T25" fmla="*/ 1 h 2"/>
                <a:gd name="T26" fmla="*/ 3 w 3"/>
                <a:gd name="T27" fmla="*/ 1 h 2"/>
                <a:gd name="T28" fmla="*/ 2 w 3"/>
                <a:gd name="T29" fmla="*/ 1 h 2"/>
                <a:gd name="T30" fmla="*/ 2 w 3"/>
                <a:gd name="T31" fmla="*/ 0 h 2"/>
                <a:gd name="T32" fmla="*/ 2 w 3"/>
                <a:gd name="T33" fmla="*/ 0 h 2"/>
                <a:gd name="T34" fmla="*/ 1 w 3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3" name="Freeform 2335">
              <a:extLst>
                <a:ext uri="{FF2B5EF4-FFF2-40B4-BE49-F238E27FC236}">
                  <a16:creationId xmlns:a16="http://schemas.microsoft.com/office/drawing/2014/main" id="{CF1A7260-C419-42E2-9C79-E092006FB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401"/>
              <a:ext cx="10" cy="5"/>
            </a:xfrm>
            <a:custGeom>
              <a:avLst/>
              <a:gdLst>
                <a:gd name="T0" fmla="*/ 0 w 10"/>
                <a:gd name="T1" fmla="*/ 0 h 5"/>
                <a:gd name="T2" fmla="*/ 5 w 10"/>
                <a:gd name="T3" fmla="*/ 5 h 5"/>
                <a:gd name="T4" fmla="*/ 10 w 10"/>
                <a:gd name="T5" fmla="*/ 0 h 5"/>
                <a:gd name="T6" fmla="*/ 0 w 10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5" y="5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4" name="Freeform 2336">
              <a:extLst>
                <a:ext uri="{FF2B5EF4-FFF2-40B4-BE49-F238E27FC236}">
                  <a16:creationId xmlns:a16="http://schemas.microsoft.com/office/drawing/2014/main" id="{C136571E-7E1A-4BED-AA85-7712143C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401"/>
              <a:ext cx="10" cy="5"/>
            </a:xfrm>
            <a:custGeom>
              <a:avLst/>
              <a:gdLst>
                <a:gd name="T0" fmla="*/ 0 w 10"/>
                <a:gd name="T1" fmla="*/ 0 h 5"/>
                <a:gd name="T2" fmla="*/ 5 w 10"/>
                <a:gd name="T3" fmla="*/ 5 h 5"/>
                <a:gd name="T4" fmla="*/ 10 w 1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5" y="5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5" name="Freeform 2337">
              <a:extLst>
                <a:ext uri="{FF2B5EF4-FFF2-40B4-BE49-F238E27FC236}">
                  <a16:creationId xmlns:a16="http://schemas.microsoft.com/office/drawing/2014/main" id="{F21DD531-AF25-4E05-8DFA-CF3A53F0F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2401"/>
              <a:ext cx="13" cy="8"/>
            </a:xfrm>
            <a:custGeom>
              <a:avLst/>
              <a:gdLst>
                <a:gd name="T0" fmla="*/ 0 w 5"/>
                <a:gd name="T1" fmla="*/ 1 h 3"/>
                <a:gd name="T2" fmla="*/ 2 w 5"/>
                <a:gd name="T3" fmla="*/ 2 h 3"/>
                <a:gd name="T4" fmla="*/ 3 w 5"/>
                <a:gd name="T5" fmla="*/ 2 h 3"/>
                <a:gd name="T6" fmla="*/ 5 w 5"/>
                <a:gd name="T7" fmla="*/ 1 h 3"/>
                <a:gd name="T8" fmla="*/ 4 w 5"/>
                <a:gd name="T9" fmla="*/ 0 h 3"/>
                <a:gd name="T10" fmla="*/ 3 w 5"/>
                <a:gd name="T11" fmla="*/ 1 h 3"/>
                <a:gd name="T12" fmla="*/ 1 w 5"/>
                <a:gd name="T13" fmla="*/ 0 h 3"/>
                <a:gd name="T14" fmla="*/ 0 w 5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">
                  <a:moveTo>
                    <a:pt x="0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6" name="Freeform 2338">
              <a:extLst>
                <a:ext uri="{FF2B5EF4-FFF2-40B4-BE49-F238E27FC236}">
                  <a16:creationId xmlns:a16="http://schemas.microsoft.com/office/drawing/2014/main" id="{EBDAD8EE-7693-4E15-8971-D137D0A7F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416"/>
              <a:ext cx="25" cy="84"/>
            </a:xfrm>
            <a:custGeom>
              <a:avLst/>
              <a:gdLst>
                <a:gd name="T0" fmla="*/ 0 w 10"/>
                <a:gd name="T1" fmla="*/ 0 h 33"/>
                <a:gd name="T2" fmla="*/ 0 w 10"/>
                <a:gd name="T3" fmla="*/ 16 h 33"/>
                <a:gd name="T4" fmla="*/ 0 w 10"/>
                <a:gd name="T5" fmla="*/ 31 h 33"/>
                <a:gd name="T6" fmla="*/ 2 w 10"/>
                <a:gd name="T7" fmla="*/ 33 h 33"/>
                <a:gd name="T8" fmla="*/ 4 w 10"/>
                <a:gd name="T9" fmla="*/ 31 h 33"/>
                <a:gd name="T10" fmla="*/ 4 w 10"/>
                <a:gd name="T11" fmla="*/ 16 h 33"/>
                <a:gd name="T12" fmla="*/ 6 w 10"/>
                <a:gd name="T13" fmla="*/ 16 h 33"/>
                <a:gd name="T14" fmla="*/ 6 w 10"/>
                <a:gd name="T15" fmla="*/ 31 h 33"/>
                <a:gd name="T16" fmla="*/ 8 w 10"/>
                <a:gd name="T17" fmla="*/ 33 h 33"/>
                <a:gd name="T18" fmla="*/ 10 w 10"/>
                <a:gd name="T19" fmla="*/ 31 h 33"/>
                <a:gd name="T20" fmla="*/ 10 w 10"/>
                <a:gd name="T21" fmla="*/ 16 h 33"/>
                <a:gd name="T22" fmla="*/ 10 w 10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33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1" y="33"/>
                    <a:pt x="2" y="33"/>
                  </a:cubicBezTo>
                  <a:cubicBezTo>
                    <a:pt x="3" y="33"/>
                    <a:pt x="4" y="32"/>
                    <a:pt x="4" y="3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7" y="33"/>
                    <a:pt x="8" y="33"/>
                  </a:cubicBezTo>
                  <a:cubicBezTo>
                    <a:pt x="9" y="33"/>
                    <a:pt x="10" y="32"/>
                    <a:pt x="10" y="3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7" name="Freeform 2339">
              <a:extLst>
                <a:ext uri="{FF2B5EF4-FFF2-40B4-BE49-F238E27FC236}">
                  <a16:creationId xmlns:a16="http://schemas.microsoft.com/office/drawing/2014/main" id="{E88AE4C1-DDD9-4079-9C36-E1E23DD3E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2416"/>
              <a:ext cx="28" cy="84"/>
            </a:xfrm>
            <a:custGeom>
              <a:avLst/>
              <a:gdLst>
                <a:gd name="T0" fmla="*/ 0 w 11"/>
                <a:gd name="T1" fmla="*/ 0 h 33"/>
                <a:gd name="T2" fmla="*/ 0 w 11"/>
                <a:gd name="T3" fmla="*/ 16 h 33"/>
                <a:gd name="T4" fmla="*/ 0 w 11"/>
                <a:gd name="T5" fmla="*/ 31 h 33"/>
                <a:gd name="T6" fmla="*/ 3 w 11"/>
                <a:gd name="T7" fmla="*/ 33 h 33"/>
                <a:gd name="T8" fmla="*/ 5 w 11"/>
                <a:gd name="T9" fmla="*/ 31 h 33"/>
                <a:gd name="T10" fmla="*/ 5 w 11"/>
                <a:gd name="T11" fmla="*/ 16 h 33"/>
                <a:gd name="T12" fmla="*/ 7 w 11"/>
                <a:gd name="T13" fmla="*/ 16 h 33"/>
                <a:gd name="T14" fmla="*/ 7 w 11"/>
                <a:gd name="T15" fmla="*/ 31 h 33"/>
                <a:gd name="T16" fmla="*/ 9 w 11"/>
                <a:gd name="T17" fmla="*/ 33 h 33"/>
                <a:gd name="T18" fmla="*/ 11 w 11"/>
                <a:gd name="T19" fmla="*/ 31 h 33"/>
                <a:gd name="T20" fmla="*/ 11 w 11"/>
                <a:gd name="T21" fmla="*/ 16 h 33"/>
                <a:gd name="T22" fmla="*/ 11 w 11"/>
                <a:gd name="T23" fmla="*/ 0 h 33"/>
                <a:gd name="T24" fmla="*/ 10 w 11"/>
                <a:gd name="T25" fmla="*/ 0 h 33"/>
                <a:gd name="T26" fmla="*/ 10 w 11"/>
                <a:gd name="T27" fmla="*/ 16 h 33"/>
                <a:gd name="T28" fmla="*/ 10 w 11"/>
                <a:gd name="T29" fmla="*/ 31 h 33"/>
                <a:gd name="T30" fmla="*/ 9 w 11"/>
                <a:gd name="T31" fmla="*/ 32 h 33"/>
                <a:gd name="T32" fmla="*/ 7 w 11"/>
                <a:gd name="T33" fmla="*/ 31 h 33"/>
                <a:gd name="T34" fmla="*/ 7 w 11"/>
                <a:gd name="T35" fmla="*/ 16 h 33"/>
                <a:gd name="T36" fmla="*/ 7 w 11"/>
                <a:gd name="T37" fmla="*/ 15 h 33"/>
                <a:gd name="T38" fmla="*/ 7 w 11"/>
                <a:gd name="T39" fmla="*/ 15 h 33"/>
                <a:gd name="T40" fmla="*/ 5 w 11"/>
                <a:gd name="T41" fmla="*/ 15 h 33"/>
                <a:gd name="T42" fmla="*/ 4 w 11"/>
                <a:gd name="T43" fmla="*/ 15 h 33"/>
                <a:gd name="T44" fmla="*/ 4 w 11"/>
                <a:gd name="T45" fmla="*/ 16 h 33"/>
                <a:gd name="T46" fmla="*/ 4 w 11"/>
                <a:gd name="T47" fmla="*/ 31 h 33"/>
                <a:gd name="T48" fmla="*/ 3 w 11"/>
                <a:gd name="T49" fmla="*/ 32 h 33"/>
                <a:gd name="T50" fmla="*/ 1 w 11"/>
                <a:gd name="T51" fmla="*/ 31 h 33"/>
                <a:gd name="T52" fmla="*/ 1 w 11"/>
                <a:gd name="T53" fmla="*/ 16 h 33"/>
                <a:gd name="T54" fmla="*/ 1 w 11"/>
                <a:gd name="T55" fmla="*/ 0 h 33"/>
                <a:gd name="T56" fmla="*/ 0 w 11"/>
                <a:gd name="T5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33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1" y="33"/>
                    <a:pt x="3" y="33"/>
                  </a:cubicBezTo>
                  <a:cubicBezTo>
                    <a:pt x="4" y="33"/>
                    <a:pt x="5" y="32"/>
                    <a:pt x="5" y="31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8" y="33"/>
                    <a:pt x="9" y="33"/>
                  </a:cubicBezTo>
                  <a:cubicBezTo>
                    <a:pt x="10" y="33"/>
                    <a:pt x="11" y="32"/>
                    <a:pt x="11" y="31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8" y="32"/>
                    <a:pt x="7" y="31"/>
                    <a:pt x="7" y="31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4" y="15"/>
                    <a:pt x="4" y="15"/>
                  </a:cubicBezTo>
                  <a:cubicBezTo>
                    <a:pt x="4" y="15"/>
                    <a:pt x="4" y="15"/>
                    <a:pt x="4" y="16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2"/>
                    <a:pt x="3" y="32"/>
                  </a:cubicBezTo>
                  <a:cubicBezTo>
                    <a:pt x="2" y="32"/>
                    <a:pt x="1" y="31"/>
                    <a:pt x="1" y="31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8" name="Freeform 2340">
              <a:extLst>
                <a:ext uri="{FF2B5EF4-FFF2-40B4-BE49-F238E27FC236}">
                  <a16:creationId xmlns:a16="http://schemas.microsoft.com/office/drawing/2014/main" id="{5A5807BD-B6D8-4561-8EAB-CEB82A7FC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419"/>
              <a:ext cx="15" cy="20"/>
            </a:xfrm>
            <a:custGeom>
              <a:avLst/>
              <a:gdLst>
                <a:gd name="T0" fmla="*/ 6 w 6"/>
                <a:gd name="T1" fmla="*/ 8 h 8"/>
                <a:gd name="T2" fmla="*/ 1 w 6"/>
                <a:gd name="T3" fmla="*/ 8 h 8"/>
                <a:gd name="T4" fmla="*/ 0 w 6"/>
                <a:gd name="T5" fmla="*/ 8 h 8"/>
                <a:gd name="T6" fmla="*/ 0 w 6"/>
                <a:gd name="T7" fmla="*/ 1 h 8"/>
                <a:gd name="T8" fmla="*/ 1 w 6"/>
                <a:gd name="T9" fmla="*/ 0 h 8"/>
                <a:gd name="T10" fmla="*/ 6 w 6"/>
                <a:gd name="T11" fmla="*/ 0 h 8"/>
                <a:gd name="T12" fmla="*/ 6 w 6"/>
                <a:gd name="T13" fmla="*/ 1 h 8"/>
                <a:gd name="T14" fmla="*/ 6 w 6"/>
                <a:gd name="T15" fmla="*/ 8 h 8"/>
                <a:gd name="T16" fmla="*/ 6 w 6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9" name="Freeform 2341">
              <a:extLst>
                <a:ext uri="{FF2B5EF4-FFF2-40B4-BE49-F238E27FC236}">
                  <a16:creationId xmlns:a16="http://schemas.microsoft.com/office/drawing/2014/main" id="{7FFA7F60-F365-4D95-BC7F-F038148A9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" y="2419"/>
              <a:ext cx="21" cy="22"/>
            </a:xfrm>
            <a:custGeom>
              <a:avLst/>
              <a:gdLst>
                <a:gd name="T0" fmla="*/ 7 w 8"/>
                <a:gd name="T1" fmla="*/ 8 h 9"/>
                <a:gd name="T2" fmla="*/ 7 w 8"/>
                <a:gd name="T3" fmla="*/ 8 h 9"/>
                <a:gd name="T4" fmla="*/ 2 w 8"/>
                <a:gd name="T5" fmla="*/ 8 h 9"/>
                <a:gd name="T6" fmla="*/ 1 w 8"/>
                <a:gd name="T7" fmla="*/ 8 h 9"/>
                <a:gd name="T8" fmla="*/ 1 w 8"/>
                <a:gd name="T9" fmla="*/ 1 h 9"/>
                <a:gd name="T10" fmla="*/ 2 w 8"/>
                <a:gd name="T11" fmla="*/ 1 h 9"/>
                <a:gd name="T12" fmla="*/ 7 w 8"/>
                <a:gd name="T13" fmla="*/ 1 h 9"/>
                <a:gd name="T14" fmla="*/ 7 w 8"/>
                <a:gd name="T15" fmla="*/ 1 h 9"/>
                <a:gd name="T16" fmla="*/ 7 w 8"/>
                <a:gd name="T17" fmla="*/ 8 h 9"/>
                <a:gd name="T18" fmla="*/ 7 w 8"/>
                <a:gd name="T19" fmla="*/ 8 h 9"/>
                <a:gd name="T20" fmla="*/ 7 w 8"/>
                <a:gd name="T21" fmla="*/ 8 h 9"/>
                <a:gd name="T22" fmla="*/ 7 w 8"/>
                <a:gd name="T23" fmla="*/ 9 h 9"/>
                <a:gd name="T24" fmla="*/ 8 w 8"/>
                <a:gd name="T25" fmla="*/ 8 h 9"/>
                <a:gd name="T26" fmla="*/ 8 w 8"/>
                <a:gd name="T27" fmla="*/ 1 h 9"/>
                <a:gd name="T28" fmla="*/ 7 w 8"/>
                <a:gd name="T29" fmla="*/ 0 h 9"/>
                <a:gd name="T30" fmla="*/ 2 w 8"/>
                <a:gd name="T31" fmla="*/ 0 h 9"/>
                <a:gd name="T32" fmla="*/ 0 w 8"/>
                <a:gd name="T33" fmla="*/ 1 h 9"/>
                <a:gd name="T34" fmla="*/ 0 w 8"/>
                <a:gd name="T35" fmla="*/ 8 h 9"/>
                <a:gd name="T36" fmla="*/ 2 w 8"/>
                <a:gd name="T37" fmla="*/ 9 h 9"/>
                <a:gd name="T38" fmla="*/ 7 w 8"/>
                <a:gd name="T39" fmla="*/ 9 h 9"/>
                <a:gd name="T40" fmla="*/ 7 w 8"/>
                <a:gd name="T4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9"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7" y="9"/>
                    <a:pt x="7" y="9"/>
                    <a:pt x="7" y="9"/>
                  </a:cubicBezTo>
                  <a:lnTo>
                    <a:pt x="7" y="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0" name="Oval 2342">
              <a:extLst>
                <a:ext uri="{FF2B5EF4-FFF2-40B4-BE49-F238E27FC236}">
                  <a16:creationId xmlns:a16="http://schemas.microsoft.com/office/drawing/2014/main" id="{50C589C5-E9E2-4EFA-87CA-5F7FABDEBD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" y="2424"/>
              <a:ext cx="8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1" name="Freeform 2343">
              <a:extLst>
                <a:ext uri="{FF2B5EF4-FFF2-40B4-BE49-F238E27FC236}">
                  <a16:creationId xmlns:a16="http://schemas.microsoft.com/office/drawing/2014/main" id="{D5166175-B9F6-46D4-9A2D-AAA41B091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" y="2424"/>
              <a:ext cx="10" cy="10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2 h 4"/>
                <a:gd name="T4" fmla="*/ 2 w 4"/>
                <a:gd name="T5" fmla="*/ 3 h 4"/>
                <a:gd name="T6" fmla="*/ 1 w 4"/>
                <a:gd name="T7" fmla="*/ 2 h 4"/>
                <a:gd name="T8" fmla="*/ 2 w 4"/>
                <a:gd name="T9" fmla="*/ 1 h 4"/>
                <a:gd name="T10" fmla="*/ 4 w 4"/>
                <a:gd name="T11" fmla="*/ 2 h 4"/>
                <a:gd name="T12" fmla="*/ 4 w 4"/>
                <a:gd name="T13" fmla="*/ 2 h 4"/>
                <a:gd name="T14" fmla="*/ 4 w 4"/>
                <a:gd name="T15" fmla="*/ 2 h 4"/>
                <a:gd name="T16" fmla="*/ 2 w 4"/>
                <a:gd name="T17" fmla="*/ 0 h 4"/>
                <a:gd name="T18" fmla="*/ 0 w 4"/>
                <a:gd name="T19" fmla="*/ 2 h 4"/>
                <a:gd name="T20" fmla="*/ 2 w 4"/>
                <a:gd name="T21" fmla="*/ 4 h 4"/>
                <a:gd name="T22" fmla="*/ 4 w 4"/>
                <a:gd name="T2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" y="4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2" name="Oval 2344">
              <a:extLst>
                <a:ext uri="{FF2B5EF4-FFF2-40B4-BE49-F238E27FC236}">
                  <a16:creationId xmlns:a16="http://schemas.microsoft.com/office/drawing/2014/main" id="{65DFD2DC-E8CF-4CBB-9BF2-E7960357F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5" y="2381"/>
              <a:ext cx="20" cy="2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3" name="Freeform 2345">
              <a:extLst>
                <a:ext uri="{FF2B5EF4-FFF2-40B4-BE49-F238E27FC236}">
                  <a16:creationId xmlns:a16="http://schemas.microsoft.com/office/drawing/2014/main" id="{695D134C-3880-4986-84B9-5A8FA35FE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381"/>
              <a:ext cx="23" cy="22"/>
            </a:xfrm>
            <a:custGeom>
              <a:avLst/>
              <a:gdLst>
                <a:gd name="T0" fmla="*/ 9 w 9"/>
                <a:gd name="T1" fmla="*/ 4 h 9"/>
                <a:gd name="T2" fmla="*/ 8 w 9"/>
                <a:gd name="T3" fmla="*/ 4 h 9"/>
                <a:gd name="T4" fmla="*/ 7 w 9"/>
                <a:gd name="T5" fmla="*/ 7 h 9"/>
                <a:gd name="T6" fmla="*/ 5 w 9"/>
                <a:gd name="T7" fmla="*/ 8 h 9"/>
                <a:gd name="T8" fmla="*/ 2 w 9"/>
                <a:gd name="T9" fmla="*/ 7 h 9"/>
                <a:gd name="T10" fmla="*/ 1 w 9"/>
                <a:gd name="T11" fmla="*/ 4 h 9"/>
                <a:gd name="T12" fmla="*/ 2 w 9"/>
                <a:gd name="T13" fmla="*/ 2 h 9"/>
                <a:gd name="T14" fmla="*/ 5 w 9"/>
                <a:gd name="T15" fmla="*/ 1 h 9"/>
                <a:gd name="T16" fmla="*/ 7 w 9"/>
                <a:gd name="T17" fmla="*/ 2 h 9"/>
                <a:gd name="T18" fmla="*/ 8 w 9"/>
                <a:gd name="T19" fmla="*/ 4 h 9"/>
                <a:gd name="T20" fmla="*/ 9 w 9"/>
                <a:gd name="T21" fmla="*/ 4 h 9"/>
                <a:gd name="T22" fmla="*/ 9 w 9"/>
                <a:gd name="T23" fmla="*/ 4 h 9"/>
                <a:gd name="T24" fmla="*/ 5 w 9"/>
                <a:gd name="T25" fmla="*/ 0 h 9"/>
                <a:gd name="T26" fmla="*/ 0 w 9"/>
                <a:gd name="T27" fmla="*/ 4 h 9"/>
                <a:gd name="T28" fmla="*/ 2 w 9"/>
                <a:gd name="T29" fmla="*/ 8 h 9"/>
                <a:gd name="T30" fmla="*/ 5 w 9"/>
                <a:gd name="T31" fmla="*/ 9 h 9"/>
                <a:gd name="T32" fmla="*/ 8 w 9"/>
                <a:gd name="T33" fmla="*/ 8 h 9"/>
                <a:gd name="T34" fmla="*/ 9 w 9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7" y="7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4" y="8"/>
                    <a:pt x="3" y="8"/>
                    <a:pt x="2" y="7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6" y="1"/>
                    <a:pt x="6" y="1"/>
                    <a:pt x="7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1" y="7"/>
                    <a:pt x="2" y="8"/>
                  </a:cubicBezTo>
                  <a:cubicBezTo>
                    <a:pt x="2" y="9"/>
                    <a:pt x="4" y="9"/>
                    <a:pt x="5" y="9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9" y="7"/>
                    <a:pt x="9" y="5"/>
                    <a:pt x="9" y="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4" name="Freeform 2346">
              <a:extLst>
                <a:ext uri="{FF2B5EF4-FFF2-40B4-BE49-F238E27FC236}">
                  <a16:creationId xmlns:a16="http://schemas.microsoft.com/office/drawing/2014/main" id="{152B2F89-42A7-4567-9AB2-4EC12E0BD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376"/>
              <a:ext cx="25" cy="15"/>
            </a:xfrm>
            <a:custGeom>
              <a:avLst/>
              <a:gdLst>
                <a:gd name="T0" fmla="*/ 9 w 10"/>
                <a:gd name="T1" fmla="*/ 4 h 6"/>
                <a:gd name="T2" fmla="*/ 9 w 10"/>
                <a:gd name="T3" fmla="*/ 4 h 6"/>
                <a:gd name="T4" fmla="*/ 9 w 10"/>
                <a:gd name="T5" fmla="*/ 4 h 6"/>
                <a:gd name="T6" fmla="*/ 5 w 10"/>
                <a:gd name="T7" fmla="*/ 0 h 6"/>
                <a:gd name="T8" fmla="*/ 1 w 10"/>
                <a:gd name="T9" fmla="*/ 4 h 6"/>
                <a:gd name="T10" fmla="*/ 1 w 10"/>
                <a:gd name="T11" fmla="*/ 4 h 6"/>
                <a:gd name="T12" fmla="*/ 0 w 10"/>
                <a:gd name="T13" fmla="*/ 4 h 6"/>
                <a:gd name="T14" fmla="*/ 0 w 10"/>
                <a:gd name="T15" fmla="*/ 5 h 6"/>
                <a:gd name="T16" fmla="*/ 0 w 10"/>
                <a:gd name="T17" fmla="*/ 5 h 6"/>
                <a:gd name="T18" fmla="*/ 0 w 10"/>
                <a:gd name="T19" fmla="*/ 6 h 6"/>
                <a:gd name="T20" fmla="*/ 9 w 10"/>
                <a:gd name="T21" fmla="*/ 6 h 6"/>
                <a:gd name="T22" fmla="*/ 10 w 10"/>
                <a:gd name="T23" fmla="*/ 5 h 6"/>
                <a:gd name="T24" fmla="*/ 10 w 10"/>
                <a:gd name="T25" fmla="*/ 5 h 6"/>
                <a:gd name="T26" fmla="*/ 9 w 10"/>
                <a:gd name="T2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6"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4"/>
                    <a:pt x="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5" name="Freeform 2347">
              <a:extLst>
                <a:ext uri="{FF2B5EF4-FFF2-40B4-BE49-F238E27FC236}">
                  <a16:creationId xmlns:a16="http://schemas.microsoft.com/office/drawing/2014/main" id="{83E91CCF-9FB9-46DC-BD18-7B3889CB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" y="2373"/>
              <a:ext cx="28" cy="18"/>
            </a:xfrm>
            <a:custGeom>
              <a:avLst/>
              <a:gdLst>
                <a:gd name="T0" fmla="*/ 10 w 11"/>
                <a:gd name="T1" fmla="*/ 5 h 7"/>
                <a:gd name="T2" fmla="*/ 10 w 11"/>
                <a:gd name="T3" fmla="*/ 5 h 7"/>
                <a:gd name="T4" fmla="*/ 10 w 11"/>
                <a:gd name="T5" fmla="*/ 5 h 7"/>
                <a:gd name="T6" fmla="*/ 10 w 11"/>
                <a:gd name="T7" fmla="*/ 5 h 7"/>
                <a:gd name="T8" fmla="*/ 10 w 11"/>
                <a:gd name="T9" fmla="*/ 5 h 7"/>
                <a:gd name="T10" fmla="*/ 10 w 11"/>
                <a:gd name="T11" fmla="*/ 5 h 7"/>
                <a:gd name="T12" fmla="*/ 6 w 11"/>
                <a:gd name="T13" fmla="*/ 0 h 7"/>
                <a:gd name="T14" fmla="*/ 1 w 11"/>
                <a:gd name="T15" fmla="*/ 5 h 7"/>
                <a:gd name="T16" fmla="*/ 1 w 11"/>
                <a:gd name="T17" fmla="*/ 5 h 7"/>
                <a:gd name="T18" fmla="*/ 2 w 11"/>
                <a:gd name="T19" fmla="*/ 5 h 7"/>
                <a:gd name="T20" fmla="*/ 2 w 11"/>
                <a:gd name="T21" fmla="*/ 5 h 7"/>
                <a:gd name="T22" fmla="*/ 1 w 11"/>
                <a:gd name="T23" fmla="*/ 5 h 7"/>
                <a:gd name="T24" fmla="*/ 0 w 11"/>
                <a:gd name="T25" fmla="*/ 6 h 7"/>
                <a:gd name="T26" fmla="*/ 0 w 11"/>
                <a:gd name="T27" fmla="*/ 6 h 7"/>
                <a:gd name="T28" fmla="*/ 1 w 11"/>
                <a:gd name="T29" fmla="*/ 7 h 7"/>
                <a:gd name="T30" fmla="*/ 10 w 11"/>
                <a:gd name="T31" fmla="*/ 7 h 7"/>
                <a:gd name="T32" fmla="*/ 11 w 11"/>
                <a:gd name="T33" fmla="*/ 6 h 7"/>
                <a:gd name="T34" fmla="*/ 11 w 11"/>
                <a:gd name="T35" fmla="*/ 6 h 7"/>
                <a:gd name="T36" fmla="*/ 10 w 11"/>
                <a:gd name="T37" fmla="*/ 5 h 7"/>
                <a:gd name="T38" fmla="*/ 10 w 11"/>
                <a:gd name="T39" fmla="*/ 5 h 7"/>
                <a:gd name="T40" fmla="*/ 10 w 11"/>
                <a:gd name="T41" fmla="*/ 6 h 7"/>
                <a:gd name="T42" fmla="*/ 10 w 11"/>
                <a:gd name="T43" fmla="*/ 6 h 7"/>
                <a:gd name="T44" fmla="*/ 10 w 11"/>
                <a:gd name="T45" fmla="*/ 6 h 7"/>
                <a:gd name="T46" fmla="*/ 10 w 11"/>
                <a:gd name="T47" fmla="*/ 6 h 7"/>
                <a:gd name="T48" fmla="*/ 10 w 11"/>
                <a:gd name="T49" fmla="*/ 6 h 7"/>
                <a:gd name="T50" fmla="*/ 10 w 11"/>
                <a:gd name="T51" fmla="*/ 6 h 7"/>
                <a:gd name="T52" fmla="*/ 10 w 11"/>
                <a:gd name="T53" fmla="*/ 6 h 7"/>
                <a:gd name="T54" fmla="*/ 10 w 11"/>
                <a:gd name="T55" fmla="*/ 6 h 7"/>
                <a:gd name="T56" fmla="*/ 10 w 11"/>
                <a:gd name="T57" fmla="*/ 6 h 7"/>
                <a:gd name="T58" fmla="*/ 10 w 11"/>
                <a:gd name="T59" fmla="*/ 6 h 7"/>
                <a:gd name="T60" fmla="*/ 10 w 11"/>
                <a:gd name="T61" fmla="*/ 6 h 7"/>
                <a:gd name="T62" fmla="*/ 10 w 11"/>
                <a:gd name="T63" fmla="*/ 6 h 7"/>
                <a:gd name="T64" fmla="*/ 1 w 11"/>
                <a:gd name="T65" fmla="*/ 6 h 7"/>
                <a:gd name="T66" fmla="*/ 1 w 11"/>
                <a:gd name="T67" fmla="*/ 6 h 7"/>
                <a:gd name="T68" fmla="*/ 1 w 11"/>
                <a:gd name="T69" fmla="*/ 6 h 7"/>
                <a:gd name="T70" fmla="*/ 1 w 11"/>
                <a:gd name="T71" fmla="*/ 6 h 7"/>
                <a:gd name="T72" fmla="*/ 1 w 11"/>
                <a:gd name="T73" fmla="*/ 6 h 7"/>
                <a:gd name="T74" fmla="*/ 1 w 11"/>
                <a:gd name="T75" fmla="*/ 6 h 7"/>
                <a:gd name="T76" fmla="*/ 1 w 11"/>
                <a:gd name="T77" fmla="*/ 6 h 7"/>
                <a:gd name="T78" fmla="*/ 1 w 11"/>
                <a:gd name="T79" fmla="*/ 6 h 7"/>
                <a:gd name="T80" fmla="*/ 1 w 11"/>
                <a:gd name="T81" fmla="*/ 6 h 7"/>
                <a:gd name="T82" fmla="*/ 1 w 11"/>
                <a:gd name="T83" fmla="*/ 6 h 7"/>
                <a:gd name="T84" fmla="*/ 1 w 11"/>
                <a:gd name="T85" fmla="*/ 6 h 7"/>
                <a:gd name="T86" fmla="*/ 1 w 11"/>
                <a:gd name="T87" fmla="*/ 6 h 7"/>
                <a:gd name="T88" fmla="*/ 2 w 11"/>
                <a:gd name="T89" fmla="*/ 6 h 7"/>
                <a:gd name="T90" fmla="*/ 2 w 11"/>
                <a:gd name="T91" fmla="*/ 6 h 7"/>
                <a:gd name="T92" fmla="*/ 2 w 11"/>
                <a:gd name="T93" fmla="*/ 5 h 7"/>
                <a:gd name="T94" fmla="*/ 2 w 11"/>
                <a:gd name="T95" fmla="*/ 5 h 7"/>
                <a:gd name="T96" fmla="*/ 6 w 11"/>
                <a:gd name="T97" fmla="*/ 1 h 7"/>
                <a:gd name="T98" fmla="*/ 9 w 11"/>
                <a:gd name="T99" fmla="*/ 5 h 7"/>
                <a:gd name="T100" fmla="*/ 9 w 11"/>
                <a:gd name="T101" fmla="*/ 5 h 7"/>
                <a:gd name="T102" fmla="*/ 9 w 11"/>
                <a:gd name="T103" fmla="*/ 6 h 7"/>
                <a:gd name="T104" fmla="*/ 10 w 11"/>
                <a:gd name="T105" fmla="*/ 6 h 7"/>
                <a:gd name="T106" fmla="*/ 10 w 11"/>
                <a:gd name="T107" fmla="*/ 6 h 7"/>
                <a:gd name="T108" fmla="*/ 10 w 11"/>
                <a:gd name="T10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" h="7"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8" y="0"/>
                    <a:pt x="6" y="0"/>
                  </a:cubicBezTo>
                  <a:cubicBezTo>
                    <a:pt x="3" y="0"/>
                    <a:pt x="1" y="3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4" y="1"/>
                    <a:pt x="6" y="1"/>
                  </a:cubicBezTo>
                  <a:cubicBezTo>
                    <a:pt x="8" y="1"/>
                    <a:pt x="9" y="3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6" name="Freeform 2348">
              <a:extLst>
                <a:ext uri="{FF2B5EF4-FFF2-40B4-BE49-F238E27FC236}">
                  <a16:creationId xmlns:a16="http://schemas.microsoft.com/office/drawing/2014/main" id="{908FD5FD-D008-43D3-821A-413F5E9F3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376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7" name="Freeform 2349">
              <a:extLst>
                <a:ext uri="{FF2B5EF4-FFF2-40B4-BE49-F238E27FC236}">
                  <a16:creationId xmlns:a16="http://schemas.microsoft.com/office/drawing/2014/main" id="{F57CDF69-3CD9-4B5A-8AC2-CA0FAD9BF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376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8" name="Freeform 2350">
              <a:extLst>
                <a:ext uri="{FF2B5EF4-FFF2-40B4-BE49-F238E27FC236}">
                  <a16:creationId xmlns:a16="http://schemas.microsoft.com/office/drawing/2014/main" id="{CF74C615-396E-45E2-974E-502775126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376"/>
              <a:ext cx="2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2 h 4"/>
                <a:gd name="T4" fmla="*/ 0 w 1"/>
                <a:gd name="T5" fmla="*/ 4 h 4"/>
                <a:gd name="T6" fmla="*/ 0 w 1"/>
                <a:gd name="T7" fmla="*/ 4 h 4"/>
                <a:gd name="T8" fmla="*/ 1 w 1"/>
                <a:gd name="T9" fmla="*/ 4 h 4"/>
                <a:gd name="T10" fmla="*/ 1 w 1"/>
                <a:gd name="T11" fmla="*/ 2 h 4"/>
                <a:gd name="T12" fmla="*/ 1 w 1"/>
                <a:gd name="T13" fmla="*/ 0 h 4"/>
                <a:gd name="T14" fmla="*/ 0 w 1"/>
                <a:gd name="T15" fmla="*/ 0 h 4"/>
                <a:gd name="T16" fmla="*/ 0 w 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79" name="Freeform 2351">
              <a:extLst>
                <a:ext uri="{FF2B5EF4-FFF2-40B4-BE49-F238E27FC236}">
                  <a16:creationId xmlns:a16="http://schemas.microsoft.com/office/drawing/2014/main" id="{47501F1D-F1ED-4625-A316-3FED41A6A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7" y="2376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0" name="Freeform 2352">
              <a:extLst>
                <a:ext uri="{FF2B5EF4-FFF2-40B4-BE49-F238E27FC236}">
                  <a16:creationId xmlns:a16="http://schemas.microsoft.com/office/drawing/2014/main" id="{BAD36D8B-3366-41AF-B036-D5F6B2FB2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7" y="2376"/>
              <a:ext cx="0" cy="10"/>
            </a:xfrm>
            <a:custGeom>
              <a:avLst/>
              <a:gdLst>
                <a:gd name="T0" fmla="*/ 0 h 10"/>
                <a:gd name="T1" fmla="*/ 5 h 10"/>
                <a:gd name="T2" fmla="*/ 1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1" name="Freeform 2353">
              <a:extLst>
                <a:ext uri="{FF2B5EF4-FFF2-40B4-BE49-F238E27FC236}">
                  <a16:creationId xmlns:a16="http://schemas.microsoft.com/office/drawing/2014/main" id="{E64CC43A-85B5-4439-9BB6-2D19D5B24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7" y="2376"/>
              <a:ext cx="0" cy="10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4 h 4"/>
                <a:gd name="T4" fmla="*/ 4 h 4"/>
                <a:gd name="T5" fmla="*/ 2 h 4"/>
                <a:gd name="T6" fmla="*/ 0 h 4"/>
                <a:gd name="T7" fmla="*/ 0 h 4"/>
                <a:gd name="T8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2" name="Freeform 2354">
              <a:extLst>
                <a:ext uri="{FF2B5EF4-FFF2-40B4-BE49-F238E27FC236}">
                  <a16:creationId xmlns:a16="http://schemas.microsoft.com/office/drawing/2014/main" id="{73F015C2-8DC9-4122-B241-CD3B5C0A3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" y="2391"/>
              <a:ext cx="10" cy="2"/>
            </a:xfrm>
            <a:custGeom>
              <a:avLst/>
              <a:gdLst>
                <a:gd name="T0" fmla="*/ 0 w 4"/>
                <a:gd name="T1" fmla="*/ 0 h 1"/>
                <a:gd name="T2" fmla="*/ 4 w 4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2" y="0"/>
                    <a:pt x="3" y="1"/>
                    <a:pt x="4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3" name="Freeform 2355">
              <a:extLst>
                <a:ext uri="{FF2B5EF4-FFF2-40B4-BE49-F238E27FC236}">
                  <a16:creationId xmlns:a16="http://schemas.microsoft.com/office/drawing/2014/main" id="{EDCEF6B5-AB0E-4242-81ED-57AC3DB8C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" y="2388"/>
              <a:ext cx="10" cy="5"/>
            </a:xfrm>
            <a:custGeom>
              <a:avLst/>
              <a:gdLst>
                <a:gd name="T0" fmla="*/ 0 w 4"/>
                <a:gd name="T1" fmla="*/ 1 h 2"/>
                <a:gd name="T2" fmla="*/ 4 w 4"/>
                <a:gd name="T3" fmla="*/ 2 h 2"/>
                <a:gd name="T4" fmla="*/ 4 w 4"/>
                <a:gd name="T5" fmla="*/ 2 h 2"/>
                <a:gd name="T6" fmla="*/ 0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1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4" name="Freeform 2356">
              <a:extLst>
                <a:ext uri="{FF2B5EF4-FFF2-40B4-BE49-F238E27FC236}">
                  <a16:creationId xmlns:a16="http://schemas.microsoft.com/office/drawing/2014/main" id="{28496BD6-DDCD-43D0-85FF-3EC2027CE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7" y="2391"/>
              <a:ext cx="11" cy="18"/>
            </a:xfrm>
            <a:custGeom>
              <a:avLst/>
              <a:gdLst>
                <a:gd name="T0" fmla="*/ 4 w 4"/>
                <a:gd name="T1" fmla="*/ 7 h 7"/>
                <a:gd name="T2" fmla="*/ 4 w 4"/>
                <a:gd name="T3" fmla="*/ 5 h 7"/>
                <a:gd name="T4" fmla="*/ 4 w 4"/>
                <a:gd name="T5" fmla="*/ 2 h 7"/>
                <a:gd name="T6" fmla="*/ 1 w 4"/>
                <a:gd name="T7" fmla="*/ 0 h 7"/>
                <a:gd name="T8" fmla="*/ 0 w 4"/>
                <a:gd name="T9" fmla="*/ 1 h 7"/>
                <a:gd name="T10" fmla="*/ 3 w 4"/>
                <a:gd name="T11" fmla="*/ 3 h 7"/>
                <a:gd name="T12" fmla="*/ 4 w 4"/>
                <a:gd name="T13" fmla="*/ 5 h 7"/>
                <a:gd name="T14" fmla="*/ 3 w 4"/>
                <a:gd name="T15" fmla="*/ 6 h 7"/>
                <a:gd name="T16" fmla="*/ 4 w 4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4"/>
                    <a:pt x="4" y="5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5" name="Freeform 2357">
              <a:extLst>
                <a:ext uri="{FF2B5EF4-FFF2-40B4-BE49-F238E27FC236}">
                  <a16:creationId xmlns:a16="http://schemas.microsoft.com/office/drawing/2014/main" id="{643F9EBB-5FEB-4489-8CE7-6F5B27879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" y="2381"/>
              <a:ext cx="18" cy="30"/>
            </a:xfrm>
            <a:custGeom>
              <a:avLst/>
              <a:gdLst>
                <a:gd name="T0" fmla="*/ 7 w 7"/>
                <a:gd name="T1" fmla="*/ 12 h 12"/>
                <a:gd name="T2" fmla="*/ 7 w 7"/>
                <a:gd name="T3" fmla="*/ 9 h 12"/>
                <a:gd name="T4" fmla="*/ 6 w 7"/>
                <a:gd name="T5" fmla="*/ 4 h 12"/>
                <a:gd name="T6" fmla="*/ 0 w 7"/>
                <a:gd name="T7" fmla="*/ 0 h 12"/>
                <a:gd name="T8" fmla="*/ 0 w 7"/>
                <a:gd name="T9" fmla="*/ 1 h 12"/>
                <a:gd name="T10" fmla="*/ 6 w 7"/>
                <a:gd name="T11" fmla="*/ 5 h 12"/>
                <a:gd name="T12" fmla="*/ 7 w 7"/>
                <a:gd name="T13" fmla="*/ 9 h 12"/>
                <a:gd name="T14" fmla="*/ 6 w 7"/>
                <a:gd name="T15" fmla="*/ 12 h 12"/>
                <a:gd name="T16" fmla="*/ 7 w 7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cubicBezTo>
                    <a:pt x="7" y="11"/>
                    <a:pt x="7" y="10"/>
                    <a:pt x="7" y="9"/>
                  </a:cubicBezTo>
                  <a:cubicBezTo>
                    <a:pt x="7" y="7"/>
                    <a:pt x="7" y="6"/>
                    <a:pt x="6" y="4"/>
                  </a:cubicBezTo>
                  <a:cubicBezTo>
                    <a:pt x="5" y="2"/>
                    <a:pt x="3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4" y="3"/>
                    <a:pt x="6" y="5"/>
                  </a:cubicBezTo>
                  <a:cubicBezTo>
                    <a:pt x="6" y="6"/>
                    <a:pt x="7" y="7"/>
                    <a:pt x="7" y="9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6" name="Freeform 2358">
              <a:extLst>
                <a:ext uri="{FF2B5EF4-FFF2-40B4-BE49-F238E27FC236}">
                  <a16:creationId xmlns:a16="http://schemas.microsoft.com/office/drawing/2014/main" id="{A8101726-0C98-42F8-B63E-A57D2B096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" y="2371"/>
              <a:ext cx="28" cy="45"/>
            </a:xfrm>
            <a:custGeom>
              <a:avLst/>
              <a:gdLst>
                <a:gd name="T0" fmla="*/ 10 w 11"/>
                <a:gd name="T1" fmla="*/ 18 h 18"/>
                <a:gd name="T2" fmla="*/ 11 w 11"/>
                <a:gd name="T3" fmla="*/ 13 h 18"/>
                <a:gd name="T4" fmla="*/ 9 w 11"/>
                <a:gd name="T5" fmla="*/ 6 h 18"/>
                <a:gd name="T6" fmla="*/ 0 w 11"/>
                <a:gd name="T7" fmla="*/ 0 h 18"/>
                <a:gd name="T8" fmla="*/ 0 w 11"/>
                <a:gd name="T9" fmla="*/ 1 h 18"/>
                <a:gd name="T10" fmla="*/ 8 w 11"/>
                <a:gd name="T11" fmla="*/ 7 h 18"/>
                <a:gd name="T12" fmla="*/ 10 w 11"/>
                <a:gd name="T13" fmla="*/ 13 h 18"/>
                <a:gd name="T14" fmla="*/ 9 w 11"/>
                <a:gd name="T15" fmla="*/ 18 h 18"/>
                <a:gd name="T16" fmla="*/ 10 w 11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10" y="18"/>
                  </a:moveTo>
                  <a:cubicBezTo>
                    <a:pt x="10" y="16"/>
                    <a:pt x="11" y="14"/>
                    <a:pt x="11" y="13"/>
                  </a:cubicBezTo>
                  <a:cubicBezTo>
                    <a:pt x="11" y="11"/>
                    <a:pt x="10" y="8"/>
                    <a:pt x="9" y="6"/>
                  </a:cubicBezTo>
                  <a:cubicBezTo>
                    <a:pt x="7" y="3"/>
                    <a:pt x="4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3"/>
                    <a:pt x="8" y="7"/>
                  </a:cubicBezTo>
                  <a:cubicBezTo>
                    <a:pt x="9" y="9"/>
                    <a:pt x="10" y="11"/>
                    <a:pt x="10" y="13"/>
                  </a:cubicBezTo>
                  <a:cubicBezTo>
                    <a:pt x="10" y="14"/>
                    <a:pt x="9" y="16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lose/>
                </a:path>
              </a:pathLst>
            </a:custGeom>
            <a:solidFill>
              <a:srgbClr val="00C9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7" name="Freeform 2359">
              <a:extLst>
                <a:ext uri="{FF2B5EF4-FFF2-40B4-BE49-F238E27FC236}">
                  <a16:creationId xmlns:a16="http://schemas.microsoft.com/office/drawing/2014/main" id="{D1CAE3C2-DE17-4EA5-BC00-A70EF2B41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2259"/>
              <a:ext cx="23" cy="43"/>
            </a:xfrm>
            <a:custGeom>
              <a:avLst/>
              <a:gdLst>
                <a:gd name="T0" fmla="*/ 6 w 9"/>
                <a:gd name="T1" fmla="*/ 16 h 17"/>
                <a:gd name="T2" fmla="*/ 1 w 9"/>
                <a:gd name="T3" fmla="*/ 2 h 17"/>
                <a:gd name="T4" fmla="*/ 2 w 9"/>
                <a:gd name="T5" fmla="*/ 0 h 17"/>
                <a:gd name="T6" fmla="*/ 4 w 9"/>
                <a:gd name="T7" fmla="*/ 1 h 17"/>
                <a:gd name="T8" fmla="*/ 9 w 9"/>
                <a:gd name="T9" fmla="*/ 15 h 17"/>
                <a:gd name="T10" fmla="*/ 8 w 9"/>
                <a:gd name="T11" fmla="*/ 17 h 17"/>
                <a:gd name="T12" fmla="*/ 6 w 9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7">
                  <a:moveTo>
                    <a:pt x="6" y="16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6"/>
                    <a:pt x="8" y="17"/>
                  </a:cubicBezTo>
                  <a:cubicBezTo>
                    <a:pt x="7" y="17"/>
                    <a:pt x="6" y="17"/>
                    <a:pt x="6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8" name="Freeform 2360">
              <a:extLst>
                <a:ext uri="{FF2B5EF4-FFF2-40B4-BE49-F238E27FC236}">
                  <a16:creationId xmlns:a16="http://schemas.microsoft.com/office/drawing/2014/main" id="{7E81D99C-9BC4-4F60-A432-5DE19D099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2259"/>
              <a:ext cx="25" cy="43"/>
            </a:xfrm>
            <a:custGeom>
              <a:avLst/>
              <a:gdLst>
                <a:gd name="T0" fmla="*/ 6 w 10"/>
                <a:gd name="T1" fmla="*/ 16 h 17"/>
                <a:gd name="T2" fmla="*/ 7 w 10"/>
                <a:gd name="T3" fmla="*/ 15 h 17"/>
                <a:gd name="T4" fmla="*/ 1 w 10"/>
                <a:gd name="T5" fmla="*/ 2 h 17"/>
                <a:gd name="T6" fmla="*/ 1 w 10"/>
                <a:gd name="T7" fmla="*/ 2 h 17"/>
                <a:gd name="T8" fmla="*/ 1 w 10"/>
                <a:gd name="T9" fmla="*/ 2 h 17"/>
                <a:gd name="T10" fmla="*/ 1 w 10"/>
                <a:gd name="T11" fmla="*/ 2 h 17"/>
                <a:gd name="T12" fmla="*/ 2 w 10"/>
                <a:gd name="T13" fmla="*/ 1 h 17"/>
                <a:gd name="T14" fmla="*/ 2 w 10"/>
                <a:gd name="T15" fmla="*/ 1 h 17"/>
                <a:gd name="T16" fmla="*/ 3 w 10"/>
                <a:gd name="T17" fmla="*/ 1 h 17"/>
                <a:gd name="T18" fmla="*/ 3 w 10"/>
                <a:gd name="T19" fmla="*/ 1 h 17"/>
                <a:gd name="T20" fmla="*/ 9 w 10"/>
                <a:gd name="T21" fmla="*/ 15 h 17"/>
                <a:gd name="T22" fmla="*/ 9 w 10"/>
                <a:gd name="T23" fmla="*/ 15 h 17"/>
                <a:gd name="T24" fmla="*/ 9 w 10"/>
                <a:gd name="T25" fmla="*/ 15 h 17"/>
                <a:gd name="T26" fmla="*/ 9 w 10"/>
                <a:gd name="T27" fmla="*/ 15 h 17"/>
                <a:gd name="T28" fmla="*/ 8 w 10"/>
                <a:gd name="T29" fmla="*/ 16 h 17"/>
                <a:gd name="T30" fmla="*/ 8 w 10"/>
                <a:gd name="T31" fmla="*/ 16 h 17"/>
                <a:gd name="T32" fmla="*/ 7 w 10"/>
                <a:gd name="T33" fmla="*/ 16 h 17"/>
                <a:gd name="T34" fmla="*/ 7 w 10"/>
                <a:gd name="T35" fmla="*/ 16 h 17"/>
                <a:gd name="T36" fmla="*/ 7 w 10"/>
                <a:gd name="T37" fmla="*/ 15 h 17"/>
                <a:gd name="T38" fmla="*/ 6 w 10"/>
                <a:gd name="T39" fmla="*/ 16 h 17"/>
                <a:gd name="T40" fmla="*/ 6 w 10"/>
                <a:gd name="T41" fmla="*/ 16 h 17"/>
                <a:gd name="T42" fmla="*/ 8 w 10"/>
                <a:gd name="T43" fmla="*/ 17 h 17"/>
                <a:gd name="T44" fmla="*/ 8 w 10"/>
                <a:gd name="T45" fmla="*/ 17 h 17"/>
                <a:gd name="T46" fmla="*/ 10 w 10"/>
                <a:gd name="T47" fmla="*/ 15 h 17"/>
                <a:gd name="T48" fmla="*/ 10 w 10"/>
                <a:gd name="T49" fmla="*/ 14 h 17"/>
                <a:gd name="T50" fmla="*/ 10 w 10"/>
                <a:gd name="T51" fmla="*/ 14 h 17"/>
                <a:gd name="T52" fmla="*/ 4 w 10"/>
                <a:gd name="T53" fmla="*/ 1 h 17"/>
                <a:gd name="T54" fmla="*/ 4 w 10"/>
                <a:gd name="T55" fmla="*/ 1 h 17"/>
                <a:gd name="T56" fmla="*/ 4 w 10"/>
                <a:gd name="T57" fmla="*/ 1 h 17"/>
                <a:gd name="T58" fmla="*/ 2 w 10"/>
                <a:gd name="T59" fmla="*/ 0 h 17"/>
                <a:gd name="T60" fmla="*/ 1 w 10"/>
                <a:gd name="T61" fmla="*/ 0 h 17"/>
                <a:gd name="T62" fmla="*/ 0 w 10"/>
                <a:gd name="T63" fmla="*/ 2 h 17"/>
                <a:gd name="T64" fmla="*/ 0 w 10"/>
                <a:gd name="T65" fmla="*/ 3 h 17"/>
                <a:gd name="T66" fmla="*/ 0 w 10"/>
                <a:gd name="T67" fmla="*/ 3 h 17"/>
                <a:gd name="T68" fmla="*/ 6 w 10"/>
                <a:gd name="T69" fmla="*/ 16 h 17"/>
                <a:gd name="T70" fmla="*/ 6 w 10"/>
                <a:gd name="T71" fmla="*/ 16 h 17"/>
                <a:gd name="T72" fmla="*/ 6 w 10"/>
                <a:gd name="T7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7">
                  <a:moveTo>
                    <a:pt x="6" y="16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7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7"/>
                    <a:pt x="10" y="16"/>
                    <a:pt x="10" y="15"/>
                  </a:cubicBezTo>
                  <a:cubicBezTo>
                    <a:pt x="10" y="15"/>
                    <a:pt x="10" y="15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9" name="Freeform 2361">
              <a:extLst>
                <a:ext uri="{FF2B5EF4-FFF2-40B4-BE49-F238E27FC236}">
                  <a16:creationId xmlns:a16="http://schemas.microsoft.com/office/drawing/2014/main" id="{672A3339-0F89-4648-A7D3-5AF0CB8FF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" y="2269"/>
              <a:ext cx="5" cy="8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0 h 8"/>
                <a:gd name="T4" fmla="*/ 0 w 5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lnTo>
                    <a:pt x="5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0" name="Line 2362">
              <a:extLst>
                <a:ext uri="{FF2B5EF4-FFF2-40B4-BE49-F238E27FC236}">
                  <a16:creationId xmlns:a16="http://schemas.microsoft.com/office/drawing/2014/main" id="{088D68CF-801C-443E-92CC-FDB3DDE7045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24" y="2269"/>
              <a:ext cx="5" cy="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1" name="Freeform 2363">
              <a:extLst>
                <a:ext uri="{FF2B5EF4-FFF2-40B4-BE49-F238E27FC236}">
                  <a16:creationId xmlns:a16="http://schemas.microsoft.com/office/drawing/2014/main" id="{11C46FE6-08AF-4BA1-9511-A8B2ADC3A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269"/>
              <a:ext cx="8" cy="8"/>
            </a:xfrm>
            <a:custGeom>
              <a:avLst/>
              <a:gdLst>
                <a:gd name="T0" fmla="*/ 3 w 8"/>
                <a:gd name="T1" fmla="*/ 8 h 8"/>
                <a:gd name="T2" fmla="*/ 8 w 8"/>
                <a:gd name="T3" fmla="*/ 3 h 8"/>
                <a:gd name="T4" fmla="*/ 5 w 8"/>
                <a:gd name="T5" fmla="*/ 0 h 8"/>
                <a:gd name="T6" fmla="*/ 0 w 8"/>
                <a:gd name="T7" fmla="*/ 8 h 8"/>
                <a:gd name="T8" fmla="*/ 3 w 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3" y="8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8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2" name="Freeform 2364">
              <a:extLst>
                <a:ext uri="{FF2B5EF4-FFF2-40B4-BE49-F238E27FC236}">
                  <a16:creationId xmlns:a16="http://schemas.microsoft.com/office/drawing/2014/main" id="{C3B72A35-9487-4A4B-B511-F76B9561A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269"/>
              <a:ext cx="8" cy="8"/>
            </a:xfrm>
            <a:custGeom>
              <a:avLst/>
              <a:gdLst>
                <a:gd name="T0" fmla="*/ 3 w 8"/>
                <a:gd name="T1" fmla="*/ 8 h 8"/>
                <a:gd name="T2" fmla="*/ 8 w 8"/>
                <a:gd name="T3" fmla="*/ 3 h 8"/>
                <a:gd name="T4" fmla="*/ 5 w 8"/>
                <a:gd name="T5" fmla="*/ 0 h 8"/>
                <a:gd name="T6" fmla="*/ 0 w 8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3" y="8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3" name="Freeform 2365">
              <a:extLst>
                <a:ext uri="{FF2B5EF4-FFF2-40B4-BE49-F238E27FC236}">
                  <a16:creationId xmlns:a16="http://schemas.microsoft.com/office/drawing/2014/main" id="{A0C808F8-F522-4DE3-BADF-0777A7857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234"/>
              <a:ext cx="23" cy="20"/>
            </a:xfrm>
            <a:custGeom>
              <a:avLst/>
              <a:gdLst>
                <a:gd name="T0" fmla="*/ 9 w 9"/>
                <a:gd name="T1" fmla="*/ 4 h 8"/>
                <a:gd name="T2" fmla="*/ 5 w 9"/>
                <a:gd name="T3" fmla="*/ 8 h 8"/>
                <a:gd name="T4" fmla="*/ 0 w 9"/>
                <a:gd name="T5" fmla="*/ 4 h 8"/>
                <a:gd name="T6" fmla="*/ 5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5" y="8"/>
                  </a:cubicBezTo>
                  <a:cubicBezTo>
                    <a:pt x="2" y="8"/>
                    <a:pt x="1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4" name="Freeform 2366">
              <a:extLst>
                <a:ext uri="{FF2B5EF4-FFF2-40B4-BE49-F238E27FC236}">
                  <a16:creationId xmlns:a16="http://schemas.microsoft.com/office/drawing/2014/main" id="{6A940DED-B3BE-47FA-8F31-FE3221008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231"/>
              <a:ext cx="23" cy="26"/>
            </a:xfrm>
            <a:custGeom>
              <a:avLst/>
              <a:gdLst>
                <a:gd name="T0" fmla="*/ 9 w 9"/>
                <a:gd name="T1" fmla="*/ 5 h 10"/>
                <a:gd name="T2" fmla="*/ 8 w 9"/>
                <a:gd name="T3" fmla="*/ 5 h 10"/>
                <a:gd name="T4" fmla="*/ 8 w 9"/>
                <a:gd name="T5" fmla="*/ 5 h 10"/>
                <a:gd name="T6" fmla="*/ 5 w 9"/>
                <a:gd name="T7" fmla="*/ 9 h 10"/>
                <a:gd name="T8" fmla="*/ 5 w 9"/>
                <a:gd name="T9" fmla="*/ 9 h 10"/>
                <a:gd name="T10" fmla="*/ 1 w 9"/>
                <a:gd name="T11" fmla="*/ 5 h 10"/>
                <a:gd name="T12" fmla="*/ 1 w 9"/>
                <a:gd name="T13" fmla="*/ 5 h 10"/>
                <a:gd name="T14" fmla="*/ 5 w 9"/>
                <a:gd name="T15" fmla="*/ 1 h 10"/>
                <a:gd name="T16" fmla="*/ 5 w 9"/>
                <a:gd name="T17" fmla="*/ 1 h 10"/>
                <a:gd name="T18" fmla="*/ 8 w 9"/>
                <a:gd name="T19" fmla="*/ 5 h 10"/>
                <a:gd name="T20" fmla="*/ 9 w 9"/>
                <a:gd name="T21" fmla="*/ 5 h 10"/>
                <a:gd name="T22" fmla="*/ 9 w 9"/>
                <a:gd name="T23" fmla="*/ 5 h 10"/>
                <a:gd name="T24" fmla="*/ 5 w 9"/>
                <a:gd name="T25" fmla="*/ 0 h 10"/>
                <a:gd name="T26" fmla="*/ 5 w 9"/>
                <a:gd name="T27" fmla="*/ 0 h 10"/>
                <a:gd name="T28" fmla="*/ 0 w 9"/>
                <a:gd name="T29" fmla="*/ 5 h 10"/>
                <a:gd name="T30" fmla="*/ 0 w 9"/>
                <a:gd name="T31" fmla="*/ 5 h 10"/>
                <a:gd name="T32" fmla="*/ 5 w 9"/>
                <a:gd name="T33" fmla="*/ 10 h 10"/>
                <a:gd name="T34" fmla="*/ 5 w 9"/>
                <a:gd name="T35" fmla="*/ 10 h 10"/>
                <a:gd name="T36" fmla="*/ 9 w 9"/>
                <a:gd name="T37" fmla="*/ 5 h 10"/>
                <a:gd name="T38" fmla="*/ 9 w 9"/>
                <a:gd name="T3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10">
                  <a:moveTo>
                    <a:pt x="9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7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1" y="7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1"/>
                    <a:pt x="8" y="3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7" y="10"/>
                    <a:pt x="9" y="7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5" name="Freeform 2367">
              <a:extLst>
                <a:ext uri="{FF2B5EF4-FFF2-40B4-BE49-F238E27FC236}">
                  <a16:creationId xmlns:a16="http://schemas.microsoft.com/office/drawing/2014/main" id="{8E17CD16-27B0-40CE-8F39-D647D0BF0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" y="2259"/>
              <a:ext cx="43" cy="86"/>
            </a:xfrm>
            <a:custGeom>
              <a:avLst/>
              <a:gdLst>
                <a:gd name="T0" fmla="*/ 16 w 17"/>
                <a:gd name="T1" fmla="*/ 23 h 34"/>
                <a:gd name="T2" fmla="*/ 16 w 17"/>
                <a:gd name="T3" fmla="*/ 22 h 34"/>
                <a:gd name="T4" fmla="*/ 13 w 17"/>
                <a:gd name="T5" fmla="*/ 14 h 34"/>
                <a:gd name="T6" fmla="*/ 13 w 17"/>
                <a:gd name="T7" fmla="*/ 14 h 34"/>
                <a:gd name="T8" fmla="*/ 13 w 17"/>
                <a:gd name="T9" fmla="*/ 1 h 34"/>
                <a:gd name="T10" fmla="*/ 11 w 17"/>
                <a:gd name="T11" fmla="*/ 0 h 34"/>
                <a:gd name="T12" fmla="*/ 6 w 17"/>
                <a:gd name="T13" fmla="*/ 0 h 34"/>
                <a:gd name="T14" fmla="*/ 6 w 17"/>
                <a:gd name="T15" fmla="*/ 0 h 34"/>
                <a:gd name="T16" fmla="*/ 6 w 17"/>
                <a:gd name="T17" fmla="*/ 0 h 34"/>
                <a:gd name="T18" fmla="*/ 6 w 17"/>
                <a:gd name="T19" fmla="*/ 0 h 34"/>
                <a:gd name="T20" fmla="*/ 5 w 17"/>
                <a:gd name="T21" fmla="*/ 0 h 34"/>
                <a:gd name="T22" fmla="*/ 5 w 17"/>
                <a:gd name="T23" fmla="*/ 0 h 34"/>
                <a:gd name="T24" fmla="*/ 5 w 17"/>
                <a:gd name="T25" fmla="*/ 0 h 34"/>
                <a:gd name="T26" fmla="*/ 5 w 17"/>
                <a:gd name="T27" fmla="*/ 1 h 34"/>
                <a:gd name="T28" fmla="*/ 0 w 17"/>
                <a:gd name="T29" fmla="*/ 8 h 34"/>
                <a:gd name="T30" fmla="*/ 0 w 17"/>
                <a:gd name="T31" fmla="*/ 8 h 34"/>
                <a:gd name="T32" fmla="*/ 0 w 17"/>
                <a:gd name="T33" fmla="*/ 8 h 34"/>
                <a:gd name="T34" fmla="*/ 0 w 17"/>
                <a:gd name="T35" fmla="*/ 9 h 34"/>
                <a:gd name="T36" fmla="*/ 0 w 17"/>
                <a:gd name="T37" fmla="*/ 9 h 34"/>
                <a:gd name="T38" fmla="*/ 0 w 17"/>
                <a:gd name="T39" fmla="*/ 16 h 34"/>
                <a:gd name="T40" fmla="*/ 2 w 17"/>
                <a:gd name="T41" fmla="*/ 18 h 34"/>
                <a:gd name="T42" fmla="*/ 3 w 17"/>
                <a:gd name="T43" fmla="*/ 16 h 34"/>
                <a:gd name="T44" fmla="*/ 3 w 17"/>
                <a:gd name="T45" fmla="*/ 9 h 34"/>
                <a:gd name="T46" fmla="*/ 5 w 17"/>
                <a:gd name="T47" fmla="*/ 7 h 34"/>
                <a:gd name="T48" fmla="*/ 5 w 17"/>
                <a:gd name="T49" fmla="*/ 11 h 34"/>
                <a:gd name="T50" fmla="*/ 5 w 17"/>
                <a:gd name="T51" fmla="*/ 11 h 34"/>
                <a:gd name="T52" fmla="*/ 5 w 17"/>
                <a:gd name="T53" fmla="*/ 24 h 34"/>
                <a:gd name="T54" fmla="*/ 1 w 17"/>
                <a:gd name="T55" fmla="*/ 31 h 34"/>
                <a:gd name="T56" fmla="*/ 2 w 17"/>
                <a:gd name="T57" fmla="*/ 33 h 34"/>
                <a:gd name="T58" fmla="*/ 4 w 17"/>
                <a:gd name="T59" fmla="*/ 33 h 34"/>
                <a:gd name="T60" fmla="*/ 8 w 17"/>
                <a:gd name="T61" fmla="*/ 26 h 34"/>
                <a:gd name="T62" fmla="*/ 9 w 17"/>
                <a:gd name="T63" fmla="*/ 25 h 34"/>
                <a:gd name="T64" fmla="*/ 8 w 17"/>
                <a:gd name="T65" fmla="*/ 17 h 34"/>
                <a:gd name="T66" fmla="*/ 11 w 17"/>
                <a:gd name="T67" fmla="*/ 17 h 34"/>
                <a:gd name="T68" fmla="*/ 13 w 17"/>
                <a:gd name="T69" fmla="*/ 23 h 34"/>
                <a:gd name="T70" fmla="*/ 13 w 17"/>
                <a:gd name="T71" fmla="*/ 31 h 34"/>
                <a:gd name="T72" fmla="*/ 15 w 17"/>
                <a:gd name="T73" fmla="*/ 33 h 34"/>
                <a:gd name="T74" fmla="*/ 17 w 17"/>
                <a:gd name="T75" fmla="*/ 31 h 34"/>
                <a:gd name="T76" fmla="*/ 16 w 17"/>
                <a:gd name="T77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34">
                  <a:moveTo>
                    <a:pt x="16" y="23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3" y="18"/>
                    <a:pt x="3" y="17"/>
                    <a:pt x="3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3"/>
                    <a:pt x="2" y="33"/>
                  </a:cubicBezTo>
                  <a:cubicBezTo>
                    <a:pt x="2" y="34"/>
                    <a:pt x="3" y="33"/>
                    <a:pt x="4" y="33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2"/>
                    <a:pt x="14" y="33"/>
                    <a:pt x="15" y="33"/>
                  </a:cubicBezTo>
                  <a:cubicBezTo>
                    <a:pt x="16" y="33"/>
                    <a:pt x="17" y="32"/>
                    <a:pt x="17" y="31"/>
                  </a:cubicBezTo>
                  <a:cubicBezTo>
                    <a:pt x="16" y="23"/>
                    <a:pt x="16" y="23"/>
                    <a:pt x="16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6" name="Freeform 2368">
              <a:extLst>
                <a:ext uri="{FF2B5EF4-FFF2-40B4-BE49-F238E27FC236}">
                  <a16:creationId xmlns:a16="http://schemas.microsoft.com/office/drawing/2014/main" id="{69C80942-24B0-4BEA-A209-F51C3791D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" y="2257"/>
              <a:ext cx="45" cy="88"/>
            </a:xfrm>
            <a:custGeom>
              <a:avLst/>
              <a:gdLst>
                <a:gd name="T0" fmla="*/ 18 w 18"/>
                <a:gd name="T1" fmla="*/ 23 h 35"/>
                <a:gd name="T2" fmla="*/ 14 w 18"/>
                <a:gd name="T3" fmla="*/ 15 h 35"/>
                <a:gd name="T4" fmla="*/ 12 w 18"/>
                <a:gd name="T5" fmla="*/ 0 h 35"/>
                <a:gd name="T6" fmla="*/ 12 w 18"/>
                <a:gd name="T7" fmla="*/ 0 h 35"/>
                <a:gd name="T8" fmla="*/ 7 w 18"/>
                <a:gd name="T9" fmla="*/ 1 h 35"/>
                <a:gd name="T10" fmla="*/ 7 w 18"/>
                <a:gd name="T11" fmla="*/ 1 h 35"/>
                <a:gd name="T12" fmla="*/ 6 w 18"/>
                <a:gd name="T13" fmla="*/ 1 h 35"/>
                <a:gd name="T14" fmla="*/ 6 w 18"/>
                <a:gd name="T15" fmla="*/ 1 h 35"/>
                <a:gd name="T16" fmla="*/ 6 w 18"/>
                <a:gd name="T17" fmla="*/ 1 h 35"/>
                <a:gd name="T18" fmla="*/ 1 w 18"/>
                <a:gd name="T19" fmla="*/ 9 h 35"/>
                <a:gd name="T20" fmla="*/ 0 w 18"/>
                <a:gd name="T21" fmla="*/ 9 h 35"/>
                <a:gd name="T22" fmla="*/ 0 w 18"/>
                <a:gd name="T23" fmla="*/ 10 h 35"/>
                <a:gd name="T24" fmla="*/ 1 w 18"/>
                <a:gd name="T25" fmla="*/ 10 h 35"/>
                <a:gd name="T26" fmla="*/ 3 w 18"/>
                <a:gd name="T27" fmla="*/ 19 h 35"/>
                <a:gd name="T28" fmla="*/ 5 w 18"/>
                <a:gd name="T29" fmla="*/ 17 h 35"/>
                <a:gd name="T30" fmla="*/ 5 w 18"/>
                <a:gd name="T31" fmla="*/ 11 h 35"/>
                <a:gd name="T32" fmla="*/ 5 w 18"/>
                <a:gd name="T33" fmla="*/ 12 h 35"/>
                <a:gd name="T34" fmla="*/ 2 w 18"/>
                <a:gd name="T35" fmla="*/ 32 h 35"/>
                <a:gd name="T36" fmla="*/ 3 w 18"/>
                <a:gd name="T37" fmla="*/ 35 h 35"/>
                <a:gd name="T38" fmla="*/ 10 w 18"/>
                <a:gd name="T39" fmla="*/ 26 h 35"/>
                <a:gd name="T40" fmla="*/ 10 w 18"/>
                <a:gd name="T41" fmla="*/ 26 h 35"/>
                <a:gd name="T42" fmla="*/ 14 w 18"/>
                <a:gd name="T43" fmla="*/ 24 h 35"/>
                <a:gd name="T44" fmla="*/ 16 w 18"/>
                <a:gd name="T45" fmla="*/ 34 h 35"/>
                <a:gd name="T46" fmla="*/ 18 w 18"/>
                <a:gd name="T47" fmla="*/ 32 h 35"/>
                <a:gd name="T48" fmla="*/ 18 w 18"/>
                <a:gd name="T49" fmla="*/ 23 h 35"/>
                <a:gd name="T50" fmla="*/ 17 w 18"/>
                <a:gd name="T51" fmla="*/ 24 h 35"/>
                <a:gd name="T52" fmla="*/ 17 w 18"/>
                <a:gd name="T53" fmla="*/ 32 h 35"/>
                <a:gd name="T54" fmla="*/ 17 w 18"/>
                <a:gd name="T55" fmla="*/ 32 h 35"/>
                <a:gd name="T56" fmla="*/ 16 w 18"/>
                <a:gd name="T57" fmla="*/ 33 h 35"/>
                <a:gd name="T58" fmla="*/ 12 w 18"/>
                <a:gd name="T59" fmla="*/ 17 h 35"/>
                <a:gd name="T60" fmla="*/ 9 w 18"/>
                <a:gd name="T61" fmla="*/ 26 h 35"/>
                <a:gd name="T62" fmla="*/ 4 w 18"/>
                <a:gd name="T63" fmla="*/ 33 h 35"/>
                <a:gd name="T64" fmla="*/ 2 w 18"/>
                <a:gd name="T65" fmla="*/ 33 h 35"/>
                <a:gd name="T66" fmla="*/ 6 w 18"/>
                <a:gd name="T67" fmla="*/ 12 h 35"/>
                <a:gd name="T68" fmla="*/ 6 w 18"/>
                <a:gd name="T69" fmla="*/ 6 h 35"/>
                <a:gd name="T70" fmla="*/ 4 w 18"/>
                <a:gd name="T71" fmla="*/ 17 h 35"/>
                <a:gd name="T72" fmla="*/ 3 w 18"/>
                <a:gd name="T73" fmla="*/ 18 h 35"/>
                <a:gd name="T74" fmla="*/ 3 w 18"/>
                <a:gd name="T75" fmla="*/ 18 h 35"/>
                <a:gd name="T76" fmla="*/ 1 w 18"/>
                <a:gd name="T77" fmla="*/ 10 h 35"/>
                <a:gd name="T78" fmla="*/ 1 w 18"/>
                <a:gd name="T79" fmla="*/ 10 h 35"/>
                <a:gd name="T80" fmla="*/ 1 w 18"/>
                <a:gd name="T81" fmla="*/ 10 h 35"/>
                <a:gd name="T82" fmla="*/ 1 w 18"/>
                <a:gd name="T83" fmla="*/ 10 h 35"/>
                <a:gd name="T84" fmla="*/ 1 w 18"/>
                <a:gd name="T85" fmla="*/ 9 h 35"/>
                <a:gd name="T86" fmla="*/ 1 w 18"/>
                <a:gd name="T87" fmla="*/ 9 h 35"/>
                <a:gd name="T88" fmla="*/ 6 w 18"/>
                <a:gd name="T89" fmla="*/ 2 h 35"/>
                <a:gd name="T90" fmla="*/ 7 w 18"/>
                <a:gd name="T91" fmla="*/ 2 h 35"/>
                <a:gd name="T92" fmla="*/ 7 w 18"/>
                <a:gd name="T93" fmla="*/ 1 h 35"/>
                <a:gd name="T94" fmla="*/ 7 w 18"/>
                <a:gd name="T95" fmla="*/ 2 h 35"/>
                <a:gd name="T96" fmla="*/ 12 w 18"/>
                <a:gd name="T97" fmla="*/ 1 h 35"/>
                <a:gd name="T98" fmla="*/ 13 w 18"/>
                <a:gd name="T99" fmla="*/ 15 h 35"/>
                <a:gd name="T100" fmla="*/ 17 w 18"/>
                <a:gd name="T101" fmla="*/ 23 h 35"/>
                <a:gd name="T102" fmla="*/ 17 w 18"/>
                <a:gd name="T103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" h="35">
                  <a:moveTo>
                    <a:pt x="17" y="24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4" y="15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5" y="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1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4" y="19"/>
                    <a:pt x="5" y="18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1" y="33"/>
                    <a:pt x="2" y="34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4" y="35"/>
                    <a:pt x="5" y="35"/>
                    <a:pt x="5" y="3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3"/>
                    <a:pt x="15" y="34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7" y="34"/>
                    <a:pt x="18" y="33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3"/>
                    <a:pt x="17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3"/>
                    <a:pt x="15" y="33"/>
                    <a:pt x="15" y="32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4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3"/>
                    <a:pt x="2" y="33"/>
                  </a:cubicBezTo>
                  <a:cubicBezTo>
                    <a:pt x="2" y="33"/>
                    <a:pt x="2" y="32"/>
                    <a:pt x="2" y="32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8"/>
                    <a:pt x="3" y="18"/>
                    <a:pt x="3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8"/>
                    <a:pt x="1" y="18"/>
                    <a:pt x="1" y="1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7" name="Oval 2369">
              <a:extLst>
                <a:ext uri="{FF2B5EF4-FFF2-40B4-BE49-F238E27FC236}">
                  <a16:creationId xmlns:a16="http://schemas.microsoft.com/office/drawing/2014/main" id="{F6BC063F-AB00-4CEA-AEB1-CB5A2DD288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" y="2186"/>
              <a:ext cx="20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8" name="Freeform 2370">
              <a:extLst>
                <a:ext uri="{FF2B5EF4-FFF2-40B4-BE49-F238E27FC236}">
                  <a16:creationId xmlns:a16="http://schemas.microsoft.com/office/drawing/2014/main" id="{4C159230-16D1-4EAE-BAAA-89A396104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3" y="2183"/>
              <a:ext cx="20" cy="23"/>
            </a:xfrm>
            <a:custGeom>
              <a:avLst/>
              <a:gdLst>
                <a:gd name="T0" fmla="*/ 8 w 8"/>
                <a:gd name="T1" fmla="*/ 5 h 9"/>
                <a:gd name="T2" fmla="*/ 7 w 8"/>
                <a:gd name="T3" fmla="*/ 5 h 9"/>
                <a:gd name="T4" fmla="*/ 4 w 8"/>
                <a:gd name="T5" fmla="*/ 8 h 9"/>
                <a:gd name="T6" fmla="*/ 1 w 8"/>
                <a:gd name="T7" fmla="*/ 5 h 9"/>
                <a:gd name="T8" fmla="*/ 4 w 8"/>
                <a:gd name="T9" fmla="*/ 1 h 9"/>
                <a:gd name="T10" fmla="*/ 7 w 8"/>
                <a:gd name="T11" fmla="*/ 5 h 9"/>
                <a:gd name="T12" fmla="*/ 8 w 8"/>
                <a:gd name="T13" fmla="*/ 5 h 9"/>
                <a:gd name="T14" fmla="*/ 8 w 8"/>
                <a:gd name="T15" fmla="*/ 5 h 9"/>
                <a:gd name="T16" fmla="*/ 4 w 8"/>
                <a:gd name="T17" fmla="*/ 0 h 9"/>
                <a:gd name="T18" fmla="*/ 0 w 8"/>
                <a:gd name="T19" fmla="*/ 5 h 9"/>
                <a:gd name="T20" fmla="*/ 4 w 8"/>
                <a:gd name="T21" fmla="*/ 9 h 9"/>
                <a:gd name="T22" fmla="*/ 8 w 8"/>
                <a:gd name="T2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9">
                  <a:moveTo>
                    <a:pt x="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2" y="8"/>
                    <a:pt x="1" y="6"/>
                    <a:pt x="1" y="5"/>
                  </a:cubicBezTo>
                  <a:cubicBezTo>
                    <a:pt x="1" y="3"/>
                    <a:pt x="2" y="1"/>
                    <a:pt x="4" y="1"/>
                  </a:cubicBezTo>
                  <a:cubicBezTo>
                    <a:pt x="6" y="1"/>
                    <a:pt x="7" y="3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8" y="7"/>
                    <a:pt x="8" y="5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9" name="Freeform 2371">
              <a:extLst>
                <a:ext uri="{FF2B5EF4-FFF2-40B4-BE49-F238E27FC236}">
                  <a16:creationId xmlns:a16="http://schemas.microsoft.com/office/drawing/2014/main" id="{CC6B5CE5-1232-40D1-9819-6F72BD6A8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2209"/>
              <a:ext cx="40" cy="88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14 h 35"/>
                <a:gd name="T4" fmla="*/ 2 w 16"/>
                <a:gd name="T5" fmla="*/ 16 h 35"/>
                <a:gd name="T6" fmla="*/ 3 w 16"/>
                <a:gd name="T7" fmla="*/ 16 h 35"/>
                <a:gd name="T8" fmla="*/ 3 w 16"/>
                <a:gd name="T9" fmla="*/ 18 h 35"/>
                <a:gd name="T10" fmla="*/ 3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8 h 35"/>
                <a:gd name="T18" fmla="*/ 9 w 16"/>
                <a:gd name="T19" fmla="*/ 18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8 h 35"/>
                <a:gd name="T28" fmla="*/ 13 w 16"/>
                <a:gd name="T29" fmla="*/ 16 h 35"/>
                <a:gd name="T30" fmla="*/ 14 w 16"/>
                <a:gd name="T31" fmla="*/ 16 h 35"/>
                <a:gd name="T32" fmla="*/ 16 w 16"/>
                <a:gd name="T33" fmla="*/ 14 h 35"/>
                <a:gd name="T34" fmla="*/ 16 w 16"/>
                <a:gd name="T35" fmla="*/ 5 h 35"/>
                <a:gd name="T36" fmla="*/ 11 w 16"/>
                <a:gd name="T37" fmla="*/ 0 h 35"/>
                <a:gd name="T38" fmla="*/ 5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0" name="Freeform 2372">
              <a:extLst>
                <a:ext uri="{FF2B5EF4-FFF2-40B4-BE49-F238E27FC236}">
                  <a16:creationId xmlns:a16="http://schemas.microsoft.com/office/drawing/2014/main" id="{F29EBCFA-B82B-4912-A508-1ED8A1576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2206"/>
              <a:ext cx="40" cy="91"/>
            </a:xfrm>
            <a:custGeom>
              <a:avLst/>
              <a:gdLst>
                <a:gd name="T0" fmla="*/ 0 w 16"/>
                <a:gd name="T1" fmla="*/ 6 h 36"/>
                <a:gd name="T2" fmla="*/ 0 w 16"/>
                <a:gd name="T3" fmla="*/ 6 h 36"/>
                <a:gd name="T4" fmla="*/ 0 w 16"/>
                <a:gd name="T5" fmla="*/ 15 h 36"/>
                <a:gd name="T6" fmla="*/ 2 w 16"/>
                <a:gd name="T7" fmla="*/ 18 h 36"/>
                <a:gd name="T8" fmla="*/ 3 w 16"/>
                <a:gd name="T9" fmla="*/ 18 h 36"/>
                <a:gd name="T10" fmla="*/ 3 w 16"/>
                <a:gd name="T11" fmla="*/ 19 h 36"/>
                <a:gd name="T12" fmla="*/ 3 w 16"/>
                <a:gd name="T13" fmla="*/ 34 h 36"/>
                <a:gd name="T14" fmla="*/ 5 w 16"/>
                <a:gd name="T15" fmla="*/ 36 h 36"/>
                <a:gd name="T16" fmla="*/ 7 w 16"/>
                <a:gd name="T17" fmla="*/ 34 h 36"/>
                <a:gd name="T18" fmla="*/ 7 w 16"/>
                <a:gd name="T19" fmla="*/ 20 h 36"/>
                <a:gd name="T20" fmla="*/ 9 w 16"/>
                <a:gd name="T21" fmla="*/ 20 h 36"/>
                <a:gd name="T22" fmla="*/ 9 w 16"/>
                <a:gd name="T23" fmla="*/ 34 h 36"/>
                <a:gd name="T24" fmla="*/ 11 w 16"/>
                <a:gd name="T25" fmla="*/ 36 h 36"/>
                <a:gd name="T26" fmla="*/ 13 w 16"/>
                <a:gd name="T27" fmla="*/ 34 h 36"/>
                <a:gd name="T28" fmla="*/ 13 w 16"/>
                <a:gd name="T29" fmla="*/ 19 h 36"/>
                <a:gd name="T30" fmla="*/ 13 w 16"/>
                <a:gd name="T31" fmla="*/ 18 h 36"/>
                <a:gd name="T32" fmla="*/ 14 w 16"/>
                <a:gd name="T33" fmla="*/ 18 h 36"/>
                <a:gd name="T34" fmla="*/ 16 w 16"/>
                <a:gd name="T35" fmla="*/ 15 h 36"/>
                <a:gd name="T36" fmla="*/ 16 w 16"/>
                <a:gd name="T37" fmla="*/ 6 h 36"/>
                <a:gd name="T38" fmla="*/ 11 w 16"/>
                <a:gd name="T39" fmla="*/ 0 h 36"/>
                <a:gd name="T40" fmla="*/ 5 w 16"/>
                <a:gd name="T41" fmla="*/ 0 h 36"/>
                <a:gd name="T42" fmla="*/ 0 w 16"/>
                <a:gd name="T43" fmla="*/ 6 h 36"/>
                <a:gd name="T44" fmla="*/ 0 w 16"/>
                <a:gd name="T45" fmla="*/ 6 h 36"/>
                <a:gd name="T46" fmla="*/ 1 w 16"/>
                <a:gd name="T47" fmla="*/ 6 h 36"/>
                <a:gd name="T48" fmla="*/ 5 w 16"/>
                <a:gd name="T49" fmla="*/ 1 h 36"/>
                <a:gd name="T50" fmla="*/ 11 w 16"/>
                <a:gd name="T51" fmla="*/ 1 h 36"/>
                <a:gd name="T52" fmla="*/ 15 w 16"/>
                <a:gd name="T53" fmla="*/ 6 h 36"/>
                <a:gd name="T54" fmla="*/ 15 w 16"/>
                <a:gd name="T55" fmla="*/ 15 h 36"/>
                <a:gd name="T56" fmla="*/ 14 w 16"/>
                <a:gd name="T57" fmla="*/ 17 h 36"/>
                <a:gd name="T58" fmla="*/ 13 w 16"/>
                <a:gd name="T59" fmla="*/ 17 h 36"/>
                <a:gd name="T60" fmla="*/ 12 w 16"/>
                <a:gd name="T61" fmla="*/ 17 h 36"/>
                <a:gd name="T62" fmla="*/ 12 w 16"/>
                <a:gd name="T63" fmla="*/ 19 h 36"/>
                <a:gd name="T64" fmla="*/ 12 w 16"/>
                <a:gd name="T65" fmla="*/ 34 h 36"/>
                <a:gd name="T66" fmla="*/ 11 w 16"/>
                <a:gd name="T67" fmla="*/ 35 h 36"/>
                <a:gd name="T68" fmla="*/ 10 w 16"/>
                <a:gd name="T69" fmla="*/ 34 h 36"/>
                <a:gd name="T70" fmla="*/ 10 w 16"/>
                <a:gd name="T71" fmla="*/ 19 h 36"/>
                <a:gd name="T72" fmla="*/ 6 w 16"/>
                <a:gd name="T73" fmla="*/ 19 h 36"/>
                <a:gd name="T74" fmla="*/ 6 w 16"/>
                <a:gd name="T75" fmla="*/ 34 h 36"/>
                <a:gd name="T76" fmla="*/ 5 w 16"/>
                <a:gd name="T77" fmla="*/ 35 h 36"/>
                <a:gd name="T78" fmla="*/ 4 w 16"/>
                <a:gd name="T79" fmla="*/ 34 h 36"/>
                <a:gd name="T80" fmla="*/ 4 w 16"/>
                <a:gd name="T81" fmla="*/ 19 h 36"/>
                <a:gd name="T82" fmla="*/ 4 w 16"/>
                <a:gd name="T83" fmla="*/ 17 h 36"/>
                <a:gd name="T84" fmla="*/ 2 w 16"/>
                <a:gd name="T85" fmla="*/ 17 h 36"/>
                <a:gd name="T86" fmla="*/ 1 w 16"/>
                <a:gd name="T87" fmla="*/ 15 h 36"/>
                <a:gd name="T88" fmla="*/ 1 w 16"/>
                <a:gd name="T89" fmla="*/ 6 h 36"/>
                <a:gd name="T90" fmla="*/ 0 w 16"/>
                <a:gd name="T91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" h="3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4" y="36"/>
                    <a:pt x="5" y="36"/>
                  </a:cubicBezTo>
                  <a:cubicBezTo>
                    <a:pt x="6" y="36"/>
                    <a:pt x="7" y="35"/>
                    <a:pt x="7" y="34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10" y="36"/>
                    <a:pt x="11" y="36"/>
                  </a:cubicBezTo>
                  <a:cubicBezTo>
                    <a:pt x="12" y="36"/>
                    <a:pt x="13" y="35"/>
                    <a:pt x="13" y="34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6" y="17"/>
                    <a:pt x="16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4" y="0"/>
                    <a:pt x="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5" y="3"/>
                    <a:pt x="15" y="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5"/>
                    <a:pt x="12" y="35"/>
                    <a:pt x="11" y="35"/>
                  </a:cubicBezTo>
                  <a:cubicBezTo>
                    <a:pt x="10" y="35"/>
                    <a:pt x="10" y="35"/>
                    <a:pt x="10" y="3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6" y="35"/>
                    <a:pt x="5" y="35"/>
                  </a:cubicBezTo>
                  <a:cubicBezTo>
                    <a:pt x="4" y="35"/>
                    <a:pt x="4" y="35"/>
                    <a:pt x="4" y="3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1" y="16"/>
                    <a:pt x="1" y="15"/>
                  </a:cubicBezTo>
                  <a:cubicBezTo>
                    <a:pt x="1" y="6"/>
                    <a:pt x="1" y="6"/>
                    <a:pt x="1" y="6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1" name="Rectangle 2373">
              <a:extLst>
                <a:ext uri="{FF2B5EF4-FFF2-40B4-BE49-F238E27FC236}">
                  <a16:creationId xmlns:a16="http://schemas.microsoft.com/office/drawing/2014/main" id="{B5D5BDA4-BBDD-4194-B536-80718EAAC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0" y="2221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2" name="Freeform 2374">
              <a:extLst>
                <a:ext uri="{FF2B5EF4-FFF2-40B4-BE49-F238E27FC236}">
                  <a16:creationId xmlns:a16="http://schemas.microsoft.com/office/drawing/2014/main" id="{180BD2D2-38BA-471C-829B-A4FFFB461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" y="2221"/>
              <a:ext cx="3" cy="28"/>
            </a:xfrm>
            <a:custGeom>
              <a:avLst/>
              <a:gdLst>
                <a:gd name="T0" fmla="*/ 3 w 3"/>
                <a:gd name="T1" fmla="*/ 28 h 28"/>
                <a:gd name="T2" fmla="*/ 3 w 3"/>
                <a:gd name="T3" fmla="*/ 0 h 28"/>
                <a:gd name="T4" fmla="*/ 0 w 3"/>
                <a:gd name="T5" fmla="*/ 0 h 28"/>
                <a:gd name="T6" fmla="*/ 0 w 3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3" y="28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3" name="Rectangle 2375">
              <a:extLst>
                <a:ext uri="{FF2B5EF4-FFF2-40B4-BE49-F238E27FC236}">
                  <a16:creationId xmlns:a16="http://schemas.microsoft.com/office/drawing/2014/main" id="{19EAF3AA-DA2A-45DC-9F5E-1DA58B661C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3" y="2221"/>
              <a:ext cx="2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4" name="Freeform 2376">
              <a:extLst>
                <a:ext uri="{FF2B5EF4-FFF2-40B4-BE49-F238E27FC236}">
                  <a16:creationId xmlns:a16="http://schemas.microsoft.com/office/drawing/2014/main" id="{5A701054-668E-4FC3-BFA5-A44B3375E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221"/>
              <a:ext cx="2" cy="28"/>
            </a:xfrm>
            <a:custGeom>
              <a:avLst/>
              <a:gdLst>
                <a:gd name="T0" fmla="*/ 2 w 2"/>
                <a:gd name="T1" fmla="*/ 28 h 28"/>
                <a:gd name="T2" fmla="*/ 2 w 2"/>
                <a:gd name="T3" fmla="*/ 0 h 28"/>
                <a:gd name="T4" fmla="*/ 0 w 2"/>
                <a:gd name="T5" fmla="*/ 0 h 28"/>
                <a:gd name="T6" fmla="*/ 0 w 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8">
                  <a:moveTo>
                    <a:pt x="2" y="2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5" name="Freeform 2377">
              <a:extLst>
                <a:ext uri="{FF2B5EF4-FFF2-40B4-BE49-F238E27FC236}">
                  <a16:creationId xmlns:a16="http://schemas.microsoft.com/office/drawing/2014/main" id="{B371ACF9-3370-4BAB-B2B9-F3D1A34CE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" y="2188"/>
              <a:ext cx="12" cy="6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cubicBezTo>
                    <a:pt x="1" y="2"/>
                    <a:pt x="3" y="2"/>
                    <a:pt x="5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6" name="Freeform 2378">
              <a:extLst>
                <a:ext uri="{FF2B5EF4-FFF2-40B4-BE49-F238E27FC236}">
                  <a16:creationId xmlns:a16="http://schemas.microsoft.com/office/drawing/2014/main" id="{866DC1CE-8ADB-4547-A902-3928B4D3A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2188"/>
              <a:ext cx="15" cy="6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2 h 2"/>
                <a:gd name="T4" fmla="*/ 6 w 6"/>
                <a:gd name="T5" fmla="*/ 0 h 2"/>
                <a:gd name="T6" fmla="*/ 5 w 6"/>
                <a:gd name="T7" fmla="*/ 0 h 2"/>
                <a:gd name="T8" fmla="*/ 3 w 6"/>
                <a:gd name="T9" fmla="*/ 1 h 2"/>
                <a:gd name="T10" fmla="*/ 1 w 6"/>
                <a:gd name="T11" fmla="*/ 0 h 2"/>
                <a:gd name="T12" fmla="*/ 0 w 6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cubicBezTo>
                    <a:pt x="1" y="1"/>
                    <a:pt x="2" y="2"/>
                    <a:pt x="3" y="2"/>
                  </a:cubicBezTo>
                  <a:cubicBezTo>
                    <a:pt x="4" y="2"/>
                    <a:pt x="5" y="1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1"/>
                    <a:pt x="3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7" name="Rectangle 2379">
              <a:extLst>
                <a:ext uri="{FF2B5EF4-FFF2-40B4-BE49-F238E27FC236}">
                  <a16:creationId xmlns:a16="http://schemas.microsoft.com/office/drawing/2014/main" id="{D8428FE1-11C9-4DE0-93C8-3332A1EA33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5" y="2181"/>
              <a:ext cx="15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8" name="Freeform 2380">
              <a:extLst>
                <a:ext uri="{FF2B5EF4-FFF2-40B4-BE49-F238E27FC236}">
                  <a16:creationId xmlns:a16="http://schemas.microsoft.com/office/drawing/2014/main" id="{F6CFFF40-55C7-4C23-92C0-422D7870F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2181"/>
              <a:ext cx="15" cy="7"/>
            </a:xfrm>
            <a:custGeom>
              <a:avLst/>
              <a:gdLst>
                <a:gd name="T0" fmla="*/ 15 w 15"/>
                <a:gd name="T1" fmla="*/ 7 h 7"/>
                <a:gd name="T2" fmla="*/ 15 w 15"/>
                <a:gd name="T3" fmla="*/ 5 h 7"/>
                <a:gd name="T4" fmla="*/ 3 w 15"/>
                <a:gd name="T5" fmla="*/ 5 h 7"/>
                <a:gd name="T6" fmla="*/ 3 w 15"/>
                <a:gd name="T7" fmla="*/ 2 h 7"/>
                <a:gd name="T8" fmla="*/ 13 w 15"/>
                <a:gd name="T9" fmla="*/ 2 h 7"/>
                <a:gd name="T10" fmla="*/ 13 w 15"/>
                <a:gd name="T11" fmla="*/ 7 h 7"/>
                <a:gd name="T12" fmla="*/ 15 w 15"/>
                <a:gd name="T13" fmla="*/ 7 h 7"/>
                <a:gd name="T14" fmla="*/ 15 w 15"/>
                <a:gd name="T15" fmla="*/ 5 h 7"/>
                <a:gd name="T16" fmla="*/ 15 w 15"/>
                <a:gd name="T17" fmla="*/ 7 h 7"/>
                <a:gd name="T18" fmla="*/ 15 w 15"/>
                <a:gd name="T19" fmla="*/ 7 h 7"/>
                <a:gd name="T20" fmla="*/ 15 w 15"/>
                <a:gd name="T21" fmla="*/ 0 h 7"/>
                <a:gd name="T22" fmla="*/ 0 w 15"/>
                <a:gd name="T23" fmla="*/ 0 h 7"/>
                <a:gd name="T24" fmla="*/ 0 w 15"/>
                <a:gd name="T25" fmla="*/ 7 h 7"/>
                <a:gd name="T26" fmla="*/ 15 w 15"/>
                <a:gd name="T27" fmla="*/ 7 h 7"/>
                <a:gd name="T28" fmla="*/ 15 w 15"/>
                <a:gd name="T29" fmla="*/ 7 h 7"/>
                <a:gd name="T30" fmla="*/ 15 w 15"/>
                <a:gd name="T3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7">
                  <a:moveTo>
                    <a:pt x="15" y="7"/>
                  </a:moveTo>
                  <a:lnTo>
                    <a:pt x="15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13" y="2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9" name="Freeform 2381">
              <a:extLst>
                <a:ext uri="{FF2B5EF4-FFF2-40B4-BE49-F238E27FC236}">
                  <a16:creationId xmlns:a16="http://schemas.microsoft.com/office/drawing/2014/main" id="{68C7491E-829C-4F9F-8FA3-5CD76F3B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2183"/>
              <a:ext cx="15" cy="0"/>
            </a:xfrm>
            <a:custGeom>
              <a:avLst/>
              <a:gdLst>
                <a:gd name="T0" fmla="*/ 0 w 15"/>
                <a:gd name="T1" fmla="*/ 15 w 15"/>
                <a:gd name="T2" fmla="*/ 0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5">
                  <a:moveTo>
                    <a:pt x="0" y="0"/>
                  </a:move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0" name="Line 2382">
              <a:extLst>
                <a:ext uri="{FF2B5EF4-FFF2-40B4-BE49-F238E27FC236}">
                  <a16:creationId xmlns:a16="http://schemas.microsoft.com/office/drawing/2014/main" id="{CD6DF71E-0EF3-41D1-BE0D-EBF075FA2F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5" y="2183"/>
              <a:ext cx="15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1" name="Rectangle 2383">
              <a:extLst>
                <a:ext uri="{FF2B5EF4-FFF2-40B4-BE49-F238E27FC236}">
                  <a16:creationId xmlns:a16="http://schemas.microsoft.com/office/drawing/2014/main" id="{2ED63049-C10E-4DB3-9B5E-1217AA080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5" y="2183"/>
              <a:ext cx="15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2" name="Freeform 2384">
              <a:extLst>
                <a:ext uri="{FF2B5EF4-FFF2-40B4-BE49-F238E27FC236}">
                  <a16:creationId xmlns:a16="http://schemas.microsoft.com/office/drawing/2014/main" id="{E5F55CA2-DF4F-49C5-8D11-D3C26F294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2183"/>
              <a:ext cx="15" cy="3"/>
            </a:xfrm>
            <a:custGeom>
              <a:avLst/>
              <a:gdLst>
                <a:gd name="T0" fmla="*/ 0 w 15"/>
                <a:gd name="T1" fmla="*/ 3 h 3"/>
                <a:gd name="T2" fmla="*/ 15 w 15"/>
                <a:gd name="T3" fmla="*/ 3 h 3"/>
                <a:gd name="T4" fmla="*/ 15 w 15"/>
                <a:gd name="T5" fmla="*/ 0 h 3"/>
                <a:gd name="T6" fmla="*/ 0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0" y="3"/>
                  </a:moveTo>
                  <a:lnTo>
                    <a:pt x="15" y="3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3" name="Freeform 2385">
              <a:extLst>
                <a:ext uri="{FF2B5EF4-FFF2-40B4-BE49-F238E27FC236}">
                  <a16:creationId xmlns:a16="http://schemas.microsoft.com/office/drawing/2014/main" id="{2B586A6B-62EE-4015-923E-A3E58E051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" y="2191"/>
              <a:ext cx="10" cy="13"/>
            </a:xfrm>
            <a:custGeom>
              <a:avLst/>
              <a:gdLst>
                <a:gd name="T0" fmla="*/ 0 w 4"/>
                <a:gd name="T1" fmla="*/ 4 h 5"/>
                <a:gd name="T2" fmla="*/ 0 w 4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2" y="5"/>
                    <a:pt x="4" y="2"/>
                    <a:pt x="0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4" name="Freeform 2386">
              <a:extLst>
                <a:ext uri="{FF2B5EF4-FFF2-40B4-BE49-F238E27FC236}">
                  <a16:creationId xmlns:a16="http://schemas.microsoft.com/office/drawing/2014/main" id="{4104DF53-5351-4C2C-A48D-E480E5083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" y="2188"/>
              <a:ext cx="8" cy="16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6 h 6"/>
                <a:gd name="T4" fmla="*/ 2 w 3"/>
                <a:gd name="T5" fmla="*/ 5 h 6"/>
                <a:gd name="T6" fmla="*/ 3 w 3"/>
                <a:gd name="T7" fmla="*/ 3 h 6"/>
                <a:gd name="T8" fmla="*/ 1 w 3"/>
                <a:gd name="T9" fmla="*/ 0 h 6"/>
                <a:gd name="T10" fmla="*/ 0 w 3"/>
                <a:gd name="T11" fmla="*/ 1 h 6"/>
                <a:gd name="T12" fmla="*/ 2 w 3"/>
                <a:gd name="T13" fmla="*/ 3 h 6"/>
                <a:gd name="T14" fmla="*/ 1 w 3"/>
                <a:gd name="T15" fmla="*/ 4 h 6"/>
                <a:gd name="T16" fmla="*/ 0 w 3"/>
                <a:gd name="T17" fmla="*/ 5 h 6"/>
                <a:gd name="T18" fmla="*/ 0 w 3"/>
                <a:gd name="T19" fmla="*/ 5 h 6"/>
                <a:gd name="T20" fmla="*/ 0 w 3"/>
                <a:gd name="T2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6"/>
                    <a:pt x="2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5" name="Freeform 2387">
              <a:extLst>
                <a:ext uri="{FF2B5EF4-FFF2-40B4-BE49-F238E27FC236}">
                  <a16:creationId xmlns:a16="http://schemas.microsoft.com/office/drawing/2014/main" id="{7E28EA01-383D-401F-AA4E-2B954836D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191"/>
              <a:ext cx="10" cy="13"/>
            </a:xfrm>
            <a:custGeom>
              <a:avLst/>
              <a:gdLst>
                <a:gd name="T0" fmla="*/ 4 w 4"/>
                <a:gd name="T1" fmla="*/ 4 h 5"/>
                <a:gd name="T2" fmla="*/ 4 w 4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3" y="5"/>
                    <a:pt x="0" y="2"/>
                    <a:pt x="4" y="0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6" name="Freeform 2388">
              <a:extLst>
                <a:ext uri="{FF2B5EF4-FFF2-40B4-BE49-F238E27FC236}">
                  <a16:creationId xmlns:a16="http://schemas.microsoft.com/office/drawing/2014/main" id="{E824D963-7ECF-429E-85DE-334AA8D2A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" y="2188"/>
              <a:ext cx="5" cy="16"/>
            </a:xfrm>
            <a:custGeom>
              <a:avLst/>
              <a:gdLst>
                <a:gd name="T0" fmla="*/ 2 w 2"/>
                <a:gd name="T1" fmla="*/ 5 h 6"/>
                <a:gd name="T2" fmla="*/ 2 w 2"/>
                <a:gd name="T3" fmla="*/ 5 h 6"/>
                <a:gd name="T4" fmla="*/ 1 w 2"/>
                <a:gd name="T5" fmla="*/ 4 h 6"/>
                <a:gd name="T6" fmla="*/ 1 w 2"/>
                <a:gd name="T7" fmla="*/ 3 h 6"/>
                <a:gd name="T8" fmla="*/ 2 w 2"/>
                <a:gd name="T9" fmla="*/ 1 h 6"/>
                <a:gd name="T10" fmla="*/ 2 w 2"/>
                <a:gd name="T11" fmla="*/ 0 h 6"/>
                <a:gd name="T12" fmla="*/ 0 w 2"/>
                <a:gd name="T13" fmla="*/ 3 h 6"/>
                <a:gd name="T14" fmla="*/ 1 w 2"/>
                <a:gd name="T15" fmla="*/ 5 h 6"/>
                <a:gd name="T16" fmla="*/ 2 w 2"/>
                <a:gd name="T17" fmla="*/ 6 h 6"/>
                <a:gd name="T18" fmla="*/ 2 w 2"/>
                <a:gd name="T19" fmla="*/ 6 h 6"/>
                <a:gd name="T20" fmla="*/ 2 w 2"/>
                <a:gd name="T2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6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1" y="2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7" name="Oval 2389">
              <a:extLst>
                <a:ext uri="{FF2B5EF4-FFF2-40B4-BE49-F238E27FC236}">
                  <a16:creationId xmlns:a16="http://schemas.microsoft.com/office/drawing/2014/main" id="{9D582021-4F59-462A-B69A-CAB5E123C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3" y="2186"/>
              <a:ext cx="18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8" name="Freeform 2390">
              <a:extLst>
                <a:ext uri="{FF2B5EF4-FFF2-40B4-BE49-F238E27FC236}">
                  <a16:creationId xmlns:a16="http://schemas.microsoft.com/office/drawing/2014/main" id="{0F29770A-C5AC-4752-A778-407FE272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2186"/>
              <a:ext cx="22" cy="20"/>
            </a:xfrm>
            <a:custGeom>
              <a:avLst/>
              <a:gdLst>
                <a:gd name="T0" fmla="*/ 8 w 9"/>
                <a:gd name="T1" fmla="*/ 4 h 8"/>
                <a:gd name="T2" fmla="*/ 8 w 9"/>
                <a:gd name="T3" fmla="*/ 4 h 8"/>
                <a:gd name="T4" fmla="*/ 4 w 9"/>
                <a:gd name="T5" fmla="*/ 7 h 8"/>
                <a:gd name="T6" fmla="*/ 1 w 9"/>
                <a:gd name="T7" fmla="*/ 4 h 8"/>
                <a:gd name="T8" fmla="*/ 4 w 9"/>
                <a:gd name="T9" fmla="*/ 1 h 8"/>
                <a:gd name="T10" fmla="*/ 8 w 9"/>
                <a:gd name="T11" fmla="*/ 4 h 8"/>
                <a:gd name="T12" fmla="*/ 8 w 9"/>
                <a:gd name="T13" fmla="*/ 4 h 8"/>
                <a:gd name="T14" fmla="*/ 9 w 9"/>
                <a:gd name="T15" fmla="*/ 4 h 8"/>
                <a:gd name="T16" fmla="*/ 4 w 9"/>
                <a:gd name="T17" fmla="*/ 0 h 8"/>
                <a:gd name="T18" fmla="*/ 0 w 9"/>
                <a:gd name="T19" fmla="*/ 4 h 8"/>
                <a:gd name="T20" fmla="*/ 4 w 9"/>
                <a:gd name="T21" fmla="*/ 8 h 8"/>
                <a:gd name="T22" fmla="*/ 9 w 9"/>
                <a:gd name="T23" fmla="*/ 4 h 8"/>
                <a:gd name="T24" fmla="*/ 8 w 9"/>
                <a:gd name="T2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8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6" y="7"/>
                    <a:pt x="4" y="7"/>
                  </a:cubicBezTo>
                  <a:cubicBezTo>
                    <a:pt x="2" y="7"/>
                    <a:pt x="1" y="6"/>
                    <a:pt x="1" y="4"/>
                  </a:cubicBezTo>
                  <a:cubicBezTo>
                    <a:pt x="1" y="2"/>
                    <a:pt x="2" y="1"/>
                    <a:pt x="4" y="1"/>
                  </a:cubicBezTo>
                  <a:cubicBezTo>
                    <a:pt x="6" y="1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" y="8"/>
                    <a:pt x="9" y="6"/>
                    <a:pt x="9" y="4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9" name="Freeform 2391">
              <a:extLst>
                <a:ext uri="{FF2B5EF4-FFF2-40B4-BE49-F238E27FC236}">
                  <a16:creationId xmlns:a16="http://schemas.microsoft.com/office/drawing/2014/main" id="{5C2F86FF-53AF-46FE-AC3E-28F8436FC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188"/>
              <a:ext cx="12" cy="6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cubicBezTo>
                    <a:pt x="1" y="2"/>
                    <a:pt x="3" y="2"/>
                    <a:pt x="5" y="1"/>
                  </a:cubicBezTo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0" name="Freeform 2392">
              <a:extLst>
                <a:ext uri="{FF2B5EF4-FFF2-40B4-BE49-F238E27FC236}">
                  <a16:creationId xmlns:a16="http://schemas.microsoft.com/office/drawing/2014/main" id="{81735DD1-4307-4C8A-829F-5BD5D1F6A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" y="2188"/>
              <a:ext cx="15" cy="6"/>
            </a:xfrm>
            <a:custGeom>
              <a:avLst/>
              <a:gdLst>
                <a:gd name="T0" fmla="*/ 0 w 6"/>
                <a:gd name="T1" fmla="*/ 1 h 2"/>
                <a:gd name="T2" fmla="*/ 3 w 6"/>
                <a:gd name="T3" fmla="*/ 2 h 2"/>
                <a:gd name="T4" fmla="*/ 6 w 6"/>
                <a:gd name="T5" fmla="*/ 1 h 2"/>
                <a:gd name="T6" fmla="*/ 6 w 6"/>
                <a:gd name="T7" fmla="*/ 0 h 2"/>
                <a:gd name="T8" fmla="*/ 3 w 6"/>
                <a:gd name="T9" fmla="*/ 1 h 2"/>
                <a:gd name="T10" fmla="*/ 1 w 6"/>
                <a:gd name="T11" fmla="*/ 0 h 2"/>
                <a:gd name="T12" fmla="*/ 0 w 6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0" y="1"/>
                  </a:moveTo>
                  <a:cubicBezTo>
                    <a:pt x="1" y="2"/>
                    <a:pt x="2" y="2"/>
                    <a:pt x="3" y="2"/>
                  </a:cubicBezTo>
                  <a:cubicBezTo>
                    <a:pt x="4" y="2"/>
                    <a:pt x="5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5293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1" name="Rectangle 2393">
              <a:extLst>
                <a:ext uri="{FF2B5EF4-FFF2-40B4-BE49-F238E27FC236}">
                  <a16:creationId xmlns:a16="http://schemas.microsoft.com/office/drawing/2014/main" id="{52C14543-239D-40DA-9D3A-45CAC46A5D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3" y="2183"/>
              <a:ext cx="15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2" name="Freeform 2394">
              <a:extLst>
                <a:ext uri="{FF2B5EF4-FFF2-40B4-BE49-F238E27FC236}">
                  <a16:creationId xmlns:a16="http://schemas.microsoft.com/office/drawing/2014/main" id="{131C3F2A-4564-4837-8D59-A0E2467DA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" y="2181"/>
              <a:ext cx="18" cy="10"/>
            </a:xfrm>
            <a:custGeom>
              <a:avLst/>
              <a:gdLst>
                <a:gd name="T0" fmla="*/ 15 w 18"/>
                <a:gd name="T1" fmla="*/ 7 h 10"/>
                <a:gd name="T2" fmla="*/ 15 w 18"/>
                <a:gd name="T3" fmla="*/ 7 h 10"/>
                <a:gd name="T4" fmla="*/ 3 w 18"/>
                <a:gd name="T5" fmla="*/ 7 h 10"/>
                <a:gd name="T6" fmla="*/ 3 w 18"/>
                <a:gd name="T7" fmla="*/ 2 h 10"/>
                <a:gd name="T8" fmla="*/ 15 w 18"/>
                <a:gd name="T9" fmla="*/ 2 h 10"/>
                <a:gd name="T10" fmla="*/ 15 w 18"/>
                <a:gd name="T11" fmla="*/ 7 h 10"/>
                <a:gd name="T12" fmla="*/ 15 w 18"/>
                <a:gd name="T13" fmla="*/ 7 h 10"/>
                <a:gd name="T14" fmla="*/ 15 w 18"/>
                <a:gd name="T15" fmla="*/ 7 h 10"/>
                <a:gd name="T16" fmla="*/ 15 w 18"/>
                <a:gd name="T17" fmla="*/ 7 h 10"/>
                <a:gd name="T18" fmla="*/ 18 w 18"/>
                <a:gd name="T19" fmla="*/ 7 h 10"/>
                <a:gd name="T20" fmla="*/ 18 w 18"/>
                <a:gd name="T21" fmla="*/ 0 h 10"/>
                <a:gd name="T22" fmla="*/ 0 w 18"/>
                <a:gd name="T23" fmla="*/ 0 h 10"/>
                <a:gd name="T24" fmla="*/ 0 w 18"/>
                <a:gd name="T25" fmla="*/ 10 h 10"/>
                <a:gd name="T26" fmla="*/ 18 w 18"/>
                <a:gd name="T27" fmla="*/ 10 h 10"/>
                <a:gd name="T28" fmla="*/ 18 w 18"/>
                <a:gd name="T29" fmla="*/ 7 h 10"/>
                <a:gd name="T30" fmla="*/ 15 w 18"/>
                <a:gd name="T3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10">
                  <a:moveTo>
                    <a:pt x="15" y="7"/>
                  </a:moveTo>
                  <a:lnTo>
                    <a:pt x="15" y="7"/>
                  </a:lnTo>
                  <a:lnTo>
                    <a:pt x="3" y="7"/>
                  </a:lnTo>
                  <a:lnTo>
                    <a:pt x="3" y="2"/>
                  </a:lnTo>
                  <a:lnTo>
                    <a:pt x="15" y="2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8" y="10"/>
                  </a:lnTo>
                  <a:lnTo>
                    <a:pt x="18" y="7"/>
                  </a:lnTo>
                  <a:lnTo>
                    <a:pt x="15" y="7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3" name="Freeform 2395">
              <a:extLst>
                <a:ext uri="{FF2B5EF4-FFF2-40B4-BE49-F238E27FC236}">
                  <a16:creationId xmlns:a16="http://schemas.microsoft.com/office/drawing/2014/main" id="{E0A66711-0374-4E24-8789-E15C93B75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186"/>
              <a:ext cx="12" cy="0"/>
            </a:xfrm>
            <a:custGeom>
              <a:avLst/>
              <a:gdLst>
                <a:gd name="T0" fmla="*/ 0 w 12"/>
                <a:gd name="T1" fmla="*/ 12 w 12"/>
                <a:gd name="T2" fmla="*/ 0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">
                  <a:moveTo>
                    <a:pt x="0" y="0"/>
                  </a:move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4" name="Line 2396">
              <a:extLst>
                <a:ext uri="{FF2B5EF4-FFF2-40B4-BE49-F238E27FC236}">
                  <a16:creationId xmlns:a16="http://schemas.microsoft.com/office/drawing/2014/main" id="{A3968E1F-BE9C-4133-8F4F-A8DF5352CC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6" y="2186"/>
              <a:ext cx="12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5" name="Rectangle 2397">
              <a:extLst>
                <a:ext uri="{FF2B5EF4-FFF2-40B4-BE49-F238E27FC236}">
                  <a16:creationId xmlns:a16="http://schemas.microsoft.com/office/drawing/2014/main" id="{DCEDA979-EF42-454F-9129-1E45DE9C6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" y="2183"/>
              <a:ext cx="12" cy="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6" name="Freeform 2398">
              <a:extLst>
                <a:ext uri="{FF2B5EF4-FFF2-40B4-BE49-F238E27FC236}">
                  <a16:creationId xmlns:a16="http://schemas.microsoft.com/office/drawing/2014/main" id="{48B0EA3D-D4B6-442F-812D-815441AFA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183"/>
              <a:ext cx="12" cy="3"/>
            </a:xfrm>
            <a:custGeom>
              <a:avLst/>
              <a:gdLst>
                <a:gd name="T0" fmla="*/ 0 w 12"/>
                <a:gd name="T1" fmla="*/ 3 h 3"/>
                <a:gd name="T2" fmla="*/ 12 w 12"/>
                <a:gd name="T3" fmla="*/ 3 h 3"/>
                <a:gd name="T4" fmla="*/ 12 w 12"/>
                <a:gd name="T5" fmla="*/ 0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3"/>
                  </a:moveTo>
                  <a:lnTo>
                    <a:pt x="12" y="3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7" name="Freeform 2399">
              <a:extLst>
                <a:ext uri="{FF2B5EF4-FFF2-40B4-BE49-F238E27FC236}">
                  <a16:creationId xmlns:a16="http://schemas.microsoft.com/office/drawing/2014/main" id="{5CB0AE79-20E7-4262-A548-14533ABD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2209"/>
              <a:ext cx="41" cy="88"/>
            </a:xfrm>
            <a:custGeom>
              <a:avLst/>
              <a:gdLst>
                <a:gd name="T0" fmla="*/ 0 w 16"/>
                <a:gd name="T1" fmla="*/ 5 h 35"/>
                <a:gd name="T2" fmla="*/ 0 w 16"/>
                <a:gd name="T3" fmla="*/ 9 h 35"/>
                <a:gd name="T4" fmla="*/ 2 w 16"/>
                <a:gd name="T5" fmla="*/ 11 h 35"/>
                <a:gd name="T6" fmla="*/ 4 w 16"/>
                <a:gd name="T7" fmla="*/ 11 h 35"/>
                <a:gd name="T8" fmla="*/ 4 w 16"/>
                <a:gd name="T9" fmla="*/ 19 h 35"/>
                <a:gd name="T10" fmla="*/ 4 w 16"/>
                <a:gd name="T11" fmla="*/ 33 h 35"/>
                <a:gd name="T12" fmla="*/ 5 w 16"/>
                <a:gd name="T13" fmla="*/ 35 h 35"/>
                <a:gd name="T14" fmla="*/ 7 w 16"/>
                <a:gd name="T15" fmla="*/ 33 h 35"/>
                <a:gd name="T16" fmla="*/ 7 w 16"/>
                <a:gd name="T17" fmla="*/ 19 h 35"/>
                <a:gd name="T18" fmla="*/ 9 w 16"/>
                <a:gd name="T19" fmla="*/ 19 h 35"/>
                <a:gd name="T20" fmla="*/ 9 w 16"/>
                <a:gd name="T21" fmla="*/ 33 h 35"/>
                <a:gd name="T22" fmla="*/ 11 w 16"/>
                <a:gd name="T23" fmla="*/ 35 h 35"/>
                <a:gd name="T24" fmla="*/ 13 w 16"/>
                <a:gd name="T25" fmla="*/ 33 h 35"/>
                <a:gd name="T26" fmla="*/ 13 w 16"/>
                <a:gd name="T27" fmla="*/ 19 h 35"/>
                <a:gd name="T28" fmla="*/ 13 w 16"/>
                <a:gd name="T29" fmla="*/ 17 h 35"/>
                <a:gd name="T30" fmla="*/ 14 w 16"/>
                <a:gd name="T31" fmla="*/ 17 h 35"/>
                <a:gd name="T32" fmla="*/ 16 w 16"/>
                <a:gd name="T33" fmla="*/ 15 h 35"/>
                <a:gd name="T34" fmla="*/ 16 w 16"/>
                <a:gd name="T35" fmla="*/ 5 h 35"/>
                <a:gd name="T36" fmla="*/ 11 w 16"/>
                <a:gd name="T37" fmla="*/ 0 h 35"/>
                <a:gd name="T38" fmla="*/ 6 w 16"/>
                <a:gd name="T39" fmla="*/ 0 h 35"/>
                <a:gd name="T40" fmla="*/ 0 w 16"/>
                <a:gd name="T4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5">
                  <a:moveTo>
                    <a:pt x="0" y="5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4" y="35"/>
                    <a:pt x="5" y="35"/>
                  </a:cubicBezTo>
                  <a:cubicBezTo>
                    <a:pt x="6" y="35"/>
                    <a:pt x="7" y="34"/>
                    <a:pt x="7" y="33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6" y="16"/>
                    <a:pt x="16" y="1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3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8" name="Freeform 2400">
              <a:extLst>
                <a:ext uri="{FF2B5EF4-FFF2-40B4-BE49-F238E27FC236}">
                  <a16:creationId xmlns:a16="http://schemas.microsoft.com/office/drawing/2014/main" id="{15F0BB5D-6100-4357-8D08-77F55FECB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2209"/>
              <a:ext cx="43" cy="91"/>
            </a:xfrm>
            <a:custGeom>
              <a:avLst/>
              <a:gdLst>
                <a:gd name="T0" fmla="*/ 0 w 17"/>
                <a:gd name="T1" fmla="*/ 5 h 36"/>
                <a:gd name="T2" fmla="*/ 0 w 17"/>
                <a:gd name="T3" fmla="*/ 5 h 36"/>
                <a:gd name="T4" fmla="*/ 0 w 17"/>
                <a:gd name="T5" fmla="*/ 9 h 36"/>
                <a:gd name="T6" fmla="*/ 2 w 17"/>
                <a:gd name="T7" fmla="*/ 12 h 36"/>
                <a:gd name="T8" fmla="*/ 3 w 17"/>
                <a:gd name="T9" fmla="*/ 12 h 36"/>
                <a:gd name="T10" fmla="*/ 3 w 17"/>
                <a:gd name="T11" fmla="*/ 19 h 36"/>
                <a:gd name="T12" fmla="*/ 3 w 17"/>
                <a:gd name="T13" fmla="*/ 33 h 36"/>
                <a:gd name="T14" fmla="*/ 5 w 17"/>
                <a:gd name="T15" fmla="*/ 36 h 36"/>
                <a:gd name="T16" fmla="*/ 8 w 17"/>
                <a:gd name="T17" fmla="*/ 33 h 36"/>
                <a:gd name="T18" fmla="*/ 8 w 17"/>
                <a:gd name="T19" fmla="*/ 19 h 36"/>
                <a:gd name="T20" fmla="*/ 9 w 17"/>
                <a:gd name="T21" fmla="*/ 19 h 36"/>
                <a:gd name="T22" fmla="*/ 9 w 17"/>
                <a:gd name="T23" fmla="*/ 33 h 36"/>
                <a:gd name="T24" fmla="*/ 11 w 17"/>
                <a:gd name="T25" fmla="*/ 36 h 36"/>
                <a:gd name="T26" fmla="*/ 14 w 17"/>
                <a:gd name="T27" fmla="*/ 33 h 36"/>
                <a:gd name="T28" fmla="*/ 14 w 17"/>
                <a:gd name="T29" fmla="*/ 19 h 36"/>
                <a:gd name="T30" fmla="*/ 14 w 17"/>
                <a:gd name="T31" fmla="*/ 17 h 36"/>
                <a:gd name="T32" fmla="*/ 14 w 17"/>
                <a:gd name="T33" fmla="*/ 17 h 36"/>
                <a:gd name="T34" fmla="*/ 17 w 17"/>
                <a:gd name="T35" fmla="*/ 15 h 36"/>
                <a:gd name="T36" fmla="*/ 17 w 17"/>
                <a:gd name="T37" fmla="*/ 5 h 36"/>
                <a:gd name="T38" fmla="*/ 11 w 17"/>
                <a:gd name="T39" fmla="*/ 0 h 36"/>
                <a:gd name="T40" fmla="*/ 6 w 17"/>
                <a:gd name="T41" fmla="*/ 0 h 36"/>
                <a:gd name="T42" fmla="*/ 0 w 17"/>
                <a:gd name="T43" fmla="*/ 5 h 36"/>
                <a:gd name="T44" fmla="*/ 0 w 17"/>
                <a:gd name="T45" fmla="*/ 5 h 36"/>
                <a:gd name="T46" fmla="*/ 1 w 17"/>
                <a:gd name="T47" fmla="*/ 5 h 36"/>
                <a:gd name="T48" fmla="*/ 6 w 17"/>
                <a:gd name="T49" fmla="*/ 1 h 36"/>
                <a:gd name="T50" fmla="*/ 11 w 17"/>
                <a:gd name="T51" fmla="*/ 1 h 36"/>
                <a:gd name="T52" fmla="*/ 16 w 17"/>
                <a:gd name="T53" fmla="*/ 5 h 36"/>
                <a:gd name="T54" fmla="*/ 16 w 17"/>
                <a:gd name="T55" fmla="*/ 15 h 36"/>
                <a:gd name="T56" fmla="*/ 14 w 17"/>
                <a:gd name="T57" fmla="*/ 16 h 36"/>
                <a:gd name="T58" fmla="*/ 13 w 17"/>
                <a:gd name="T59" fmla="*/ 16 h 36"/>
                <a:gd name="T60" fmla="*/ 13 w 17"/>
                <a:gd name="T61" fmla="*/ 16 h 36"/>
                <a:gd name="T62" fmla="*/ 13 w 17"/>
                <a:gd name="T63" fmla="*/ 19 h 36"/>
                <a:gd name="T64" fmla="*/ 13 w 17"/>
                <a:gd name="T65" fmla="*/ 33 h 36"/>
                <a:gd name="T66" fmla="*/ 11 w 17"/>
                <a:gd name="T67" fmla="*/ 35 h 36"/>
                <a:gd name="T68" fmla="*/ 10 w 17"/>
                <a:gd name="T69" fmla="*/ 33 h 36"/>
                <a:gd name="T70" fmla="*/ 10 w 17"/>
                <a:gd name="T71" fmla="*/ 18 h 36"/>
                <a:gd name="T72" fmla="*/ 7 w 17"/>
                <a:gd name="T73" fmla="*/ 18 h 36"/>
                <a:gd name="T74" fmla="*/ 7 w 17"/>
                <a:gd name="T75" fmla="*/ 33 h 36"/>
                <a:gd name="T76" fmla="*/ 5 w 17"/>
                <a:gd name="T77" fmla="*/ 35 h 36"/>
                <a:gd name="T78" fmla="*/ 4 w 17"/>
                <a:gd name="T79" fmla="*/ 33 h 36"/>
                <a:gd name="T80" fmla="*/ 4 w 17"/>
                <a:gd name="T81" fmla="*/ 19 h 36"/>
                <a:gd name="T82" fmla="*/ 4 w 17"/>
                <a:gd name="T83" fmla="*/ 11 h 36"/>
                <a:gd name="T84" fmla="*/ 2 w 17"/>
                <a:gd name="T85" fmla="*/ 11 h 36"/>
                <a:gd name="T86" fmla="*/ 1 w 17"/>
                <a:gd name="T87" fmla="*/ 9 h 36"/>
                <a:gd name="T88" fmla="*/ 1 w 17"/>
                <a:gd name="T89" fmla="*/ 5 h 36"/>
                <a:gd name="T90" fmla="*/ 0 w 17"/>
                <a:gd name="T91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" h="36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4" y="36"/>
                    <a:pt x="5" y="36"/>
                  </a:cubicBezTo>
                  <a:cubicBezTo>
                    <a:pt x="7" y="36"/>
                    <a:pt x="8" y="34"/>
                    <a:pt x="8" y="3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0" y="36"/>
                    <a:pt x="11" y="36"/>
                  </a:cubicBezTo>
                  <a:cubicBezTo>
                    <a:pt x="12" y="36"/>
                    <a:pt x="14" y="34"/>
                    <a:pt x="14" y="33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7"/>
                    <a:pt x="17" y="16"/>
                    <a:pt x="17" y="1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4" y="1"/>
                    <a:pt x="16" y="3"/>
                    <a:pt x="16" y="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5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4"/>
                    <a:pt x="12" y="35"/>
                    <a:pt x="11" y="35"/>
                  </a:cubicBezTo>
                  <a:cubicBezTo>
                    <a:pt x="10" y="35"/>
                    <a:pt x="10" y="34"/>
                    <a:pt x="10" y="33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4"/>
                    <a:pt x="6" y="35"/>
                    <a:pt x="5" y="35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5"/>
                    <a:pt x="1" y="5"/>
                    <a:pt x="1" y="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9" name="Rectangle 2401">
              <a:extLst>
                <a:ext uri="{FF2B5EF4-FFF2-40B4-BE49-F238E27FC236}">
                  <a16:creationId xmlns:a16="http://schemas.microsoft.com/office/drawing/2014/main" id="{A3108113-BC5E-47FA-8660-4F9CC508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8" y="2224"/>
              <a:ext cx="3" cy="13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0" name="Freeform 2402">
              <a:extLst>
                <a:ext uri="{FF2B5EF4-FFF2-40B4-BE49-F238E27FC236}">
                  <a16:creationId xmlns:a16="http://schemas.microsoft.com/office/drawing/2014/main" id="{78253031-9643-40CD-AEFE-037C78FCD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" y="2224"/>
              <a:ext cx="3" cy="13"/>
            </a:xfrm>
            <a:custGeom>
              <a:avLst/>
              <a:gdLst>
                <a:gd name="T0" fmla="*/ 3 w 3"/>
                <a:gd name="T1" fmla="*/ 13 h 13"/>
                <a:gd name="T2" fmla="*/ 3 w 3"/>
                <a:gd name="T3" fmla="*/ 0 h 13"/>
                <a:gd name="T4" fmla="*/ 0 w 3"/>
                <a:gd name="T5" fmla="*/ 0 h 13"/>
                <a:gd name="T6" fmla="*/ 0 w 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3" y="1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1" name="Rectangle 2403">
              <a:extLst>
                <a:ext uri="{FF2B5EF4-FFF2-40B4-BE49-F238E27FC236}">
                  <a16:creationId xmlns:a16="http://schemas.microsoft.com/office/drawing/2014/main" id="{E1D349DA-881A-4AA8-8469-1BFB0F146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3" y="2224"/>
              <a:ext cx="3" cy="28"/>
            </a:xfrm>
            <a:prstGeom prst="rect">
              <a:avLst/>
            </a:pr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2" name="Freeform 2404">
              <a:extLst>
                <a:ext uri="{FF2B5EF4-FFF2-40B4-BE49-F238E27FC236}">
                  <a16:creationId xmlns:a16="http://schemas.microsoft.com/office/drawing/2014/main" id="{ADB080C5-9B7D-4151-B3B8-EED786A8B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" y="2224"/>
              <a:ext cx="3" cy="28"/>
            </a:xfrm>
            <a:custGeom>
              <a:avLst/>
              <a:gdLst>
                <a:gd name="T0" fmla="*/ 3 w 3"/>
                <a:gd name="T1" fmla="*/ 28 h 28"/>
                <a:gd name="T2" fmla="*/ 3 w 3"/>
                <a:gd name="T3" fmla="*/ 0 h 28"/>
                <a:gd name="T4" fmla="*/ 0 w 3"/>
                <a:gd name="T5" fmla="*/ 0 h 28"/>
                <a:gd name="T6" fmla="*/ 0 w 3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8">
                  <a:moveTo>
                    <a:pt x="3" y="28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3" name="Rectangle 2405">
              <a:extLst>
                <a:ext uri="{FF2B5EF4-FFF2-40B4-BE49-F238E27FC236}">
                  <a16:creationId xmlns:a16="http://schemas.microsoft.com/office/drawing/2014/main" id="{365B4D08-9CFF-44D4-9AA3-19D70E2A7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8" y="2226"/>
              <a:ext cx="8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4" name="Freeform 2406">
              <a:extLst>
                <a:ext uri="{FF2B5EF4-FFF2-40B4-BE49-F238E27FC236}">
                  <a16:creationId xmlns:a16="http://schemas.microsoft.com/office/drawing/2014/main" id="{F545EA10-504D-44B3-8D19-BF9E33305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8" y="2226"/>
              <a:ext cx="10" cy="13"/>
            </a:xfrm>
            <a:custGeom>
              <a:avLst/>
              <a:gdLst>
                <a:gd name="T0" fmla="*/ 8 w 10"/>
                <a:gd name="T1" fmla="*/ 11 h 13"/>
                <a:gd name="T2" fmla="*/ 8 w 10"/>
                <a:gd name="T3" fmla="*/ 11 h 13"/>
                <a:gd name="T4" fmla="*/ 0 w 10"/>
                <a:gd name="T5" fmla="*/ 11 h 13"/>
                <a:gd name="T6" fmla="*/ 0 w 10"/>
                <a:gd name="T7" fmla="*/ 0 h 13"/>
                <a:gd name="T8" fmla="*/ 8 w 10"/>
                <a:gd name="T9" fmla="*/ 0 h 13"/>
                <a:gd name="T10" fmla="*/ 8 w 10"/>
                <a:gd name="T11" fmla="*/ 11 h 13"/>
                <a:gd name="T12" fmla="*/ 8 w 10"/>
                <a:gd name="T13" fmla="*/ 11 h 13"/>
                <a:gd name="T14" fmla="*/ 8 w 10"/>
                <a:gd name="T15" fmla="*/ 11 h 13"/>
                <a:gd name="T16" fmla="*/ 8 w 10"/>
                <a:gd name="T17" fmla="*/ 11 h 13"/>
                <a:gd name="T18" fmla="*/ 10 w 10"/>
                <a:gd name="T19" fmla="*/ 11 h 13"/>
                <a:gd name="T20" fmla="*/ 10 w 10"/>
                <a:gd name="T21" fmla="*/ 0 h 13"/>
                <a:gd name="T22" fmla="*/ 0 w 10"/>
                <a:gd name="T23" fmla="*/ 0 h 13"/>
                <a:gd name="T24" fmla="*/ 0 w 10"/>
                <a:gd name="T25" fmla="*/ 13 h 13"/>
                <a:gd name="T26" fmla="*/ 10 w 10"/>
                <a:gd name="T27" fmla="*/ 13 h 13"/>
                <a:gd name="T28" fmla="*/ 10 w 10"/>
                <a:gd name="T29" fmla="*/ 11 h 13"/>
                <a:gd name="T30" fmla="*/ 8 w 10"/>
                <a:gd name="T3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3">
                  <a:moveTo>
                    <a:pt x="8" y="11"/>
                  </a:moveTo>
                  <a:lnTo>
                    <a:pt x="8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5" name="Freeform 2407">
              <a:extLst>
                <a:ext uri="{FF2B5EF4-FFF2-40B4-BE49-F238E27FC236}">
                  <a16:creationId xmlns:a16="http://schemas.microsoft.com/office/drawing/2014/main" id="{47916E68-2A22-43BA-B206-00E5B3DBC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229"/>
              <a:ext cx="20" cy="15"/>
            </a:xfrm>
            <a:custGeom>
              <a:avLst/>
              <a:gdLst>
                <a:gd name="T0" fmla="*/ 0 w 8"/>
                <a:gd name="T1" fmla="*/ 3 h 6"/>
                <a:gd name="T2" fmla="*/ 6 w 8"/>
                <a:gd name="T3" fmla="*/ 5 h 6"/>
                <a:gd name="T4" fmla="*/ 8 w 8"/>
                <a:gd name="T5" fmla="*/ 4 h 6"/>
                <a:gd name="T6" fmla="*/ 7 w 8"/>
                <a:gd name="T7" fmla="*/ 2 h 6"/>
                <a:gd name="T8" fmla="*/ 2 w 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0" y="3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8" y="5"/>
                    <a:pt x="8" y="4"/>
                  </a:cubicBezTo>
                  <a:cubicBezTo>
                    <a:pt x="8" y="4"/>
                    <a:pt x="8" y="3"/>
                    <a:pt x="7" y="2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6" name="Freeform 2408">
              <a:extLst>
                <a:ext uri="{FF2B5EF4-FFF2-40B4-BE49-F238E27FC236}">
                  <a16:creationId xmlns:a16="http://schemas.microsoft.com/office/drawing/2014/main" id="{BF4813EF-039A-4864-B1CE-425045568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2229"/>
              <a:ext cx="23" cy="15"/>
            </a:xfrm>
            <a:custGeom>
              <a:avLst/>
              <a:gdLst>
                <a:gd name="T0" fmla="*/ 0 w 9"/>
                <a:gd name="T1" fmla="*/ 3 h 6"/>
                <a:gd name="T2" fmla="*/ 6 w 9"/>
                <a:gd name="T3" fmla="*/ 6 h 6"/>
                <a:gd name="T4" fmla="*/ 7 w 9"/>
                <a:gd name="T5" fmla="*/ 6 h 6"/>
                <a:gd name="T6" fmla="*/ 9 w 9"/>
                <a:gd name="T7" fmla="*/ 5 h 6"/>
                <a:gd name="T8" fmla="*/ 9 w 9"/>
                <a:gd name="T9" fmla="*/ 4 h 6"/>
                <a:gd name="T10" fmla="*/ 7 w 9"/>
                <a:gd name="T11" fmla="*/ 2 h 6"/>
                <a:gd name="T12" fmla="*/ 7 w 9"/>
                <a:gd name="T13" fmla="*/ 2 h 6"/>
                <a:gd name="T14" fmla="*/ 7 w 9"/>
                <a:gd name="T15" fmla="*/ 2 h 6"/>
                <a:gd name="T16" fmla="*/ 2 w 9"/>
                <a:gd name="T17" fmla="*/ 0 h 6"/>
                <a:gd name="T18" fmla="*/ 2 w 9"/>
                <a:gd name="T19" fmla="*/ 1 h 6"/>
                <a:gd name="T20" fmla="*/ 7 w 9"/>
                <a:gd name="T21" fmla="*/ 3 h 6"/>
                <a:gd name="T22" fmla="*/ 7 w 9"/>
                <a:gd name="T23" fmla="*/ 3 h 6"/>
                <a:gd name="T24" fmla="*/ 8 w 9"/>
                <a:gd name="T25" fmla="*/ 4 h 6"/>
                <a:gd name="T26" fmla="*/ 8 w 9"/>
                <a:gd name="T27" fmla="*/ 4 h 6"/>
                <a:gd name="T28" fmla="*/ 7 w 9"/>
                <a:gd name="T29" fmla="*/ 5 h 6"/>
                <a:gd name="T30" fmla="*/ 6 w 9"/>
                <a:gd name="T31" fmla="*/ 5 h 6"/>
                <a:gd name="T32" fmla="*/ 1 w 9"/>
                <a:gd name="T33" fmla="*/ 2 h 6"/>
                <a:gd name="T34" fmla="*/ 0 w 9"/>
                <a:gd name="T3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6">
                  <a:moveTo>
                    <a:pt x="0" y="3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8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11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2338" name="Rectangle 2337">
            <a:extLst>
              <a:ext uri="{FF2B5EF4-FFF2-40B4-BE49-F238E27FC236}">
                <a16:creationId xmlns:a16="http://schemas.microsoft.com/office/drawing/2014/main" id="{04B32F12-BC1C-40E7-B6F2-79E683443DBC}"/>
              </a:ext>
            </a:extLst>
          </p:cNvPr>
          <p:cNvSpPr/>
          <p:nvPr/>
        </p:nvSpPr>
        <p:spPr>
          <a:xfrm>
            <a:off x="1496532" y="1147972"/>
            <a:ext cx="1950098" cy="1135144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Attai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efficie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on-tim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oper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2339" name="Rectangle 2338">
            <a:extLst>
              <a:ext uri="{FF2B5EF4-FFF2-40B4-BE49-F238E27FC236}">
                <a16:creationId xmlns:a16="http://schemas.microsoft.com/office/drawing/2014/main" id="{FF302163-63A7-4DE9-9DE2-0D8555426FB7}"/>
              </a:ext>
            </a:extLst>
          </p:cNvPr>
          <p:cNvSpPr/>
          <p:nvPr/>
        </p:nvSpPr>
        <p:spPr>
          <a:xfrm>
            <a:off x="460000" y="2557335"/>
            <a:ext cx="1363220" cy="998002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Enhanc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passenger experience</a:t>
            </a:r>
          </a:p>
        </p:txBody>
      </p:sp>
      <p:sp>
        <p:nvSpPr>
          <p:cNvPr id="2340" name="Rectangle 2339">
            <a:extLst>
              <a:ext uri="{FF2B5EF4-FFF2-40B4-BE49-F238E27FC236}">
                <a16:creationId xmlns:a16="http://schemas.microsoft.com/office/drawing/2014/main" id="{0738DA15-2920-4226-B760-E2EFF0947499}"/>
              </a:ext>
            </a:extLst>
          </p:cNvPr>
          <p:cNvSpPr/>
          <p:nvPr/>
        </p:nvSpPr>
        <p:spPr>
          <a:xfrm>
            <a:off x="4970644" y="1147972"/>
            <a:ext cx="2522341" cy="1149623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Serving a </a:t>
            </a:r>
            <a:r>
              <a:rPr lang="en-US" sz="1600" b="1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growing population </a:t>
            </a:r>
            <a:r>
              <a:rPr lang="en-US" sz="1600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without jeopardizing traffic safety</a:t>
            </a:r>
          </a:p>
        </p:txBody>
      </p:sp>
      <p:sp>
        <p:nvSpPr>
          <p:cNvPr id="2342" name="Rectangle 2341">
            <a:extLst>
              <a:ext uri="{FF2B5EF4-FFF2-40B4-BE49-F238E27FC236}">
                <a16:creationId xmlns:a16="http://schemas.microsoft.com/office/drawing/2014/main" id="{51D35B8F-9AA0-4FD6-8DCC-8E6332BEE32A}"/>
              </a:ext>
            </a:extLst>
          </p:cNvPr>
          <p:cNvSpPr/>
          <p:nvPr/>
        </p:nvSpPr>
        <p:spPr>
          <a:xfrm>
            <a:off x="6621055" y="2599309"/>
            <a:ext cx="1887151" cy="1137494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Develop </a:t>
            </a:r>
            <a:r>
              <a:rPr lang="en-US" sz="1600" b="1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new revenues </a:t>
            </a:r>
            <a:r>
              <a:rPr lang="en-US" sz="1600" dirty="0">
                <a:solidFill>
                  <a:srgbClr val="001135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to improve fiscal sustainability</a:t>
            </a:r>
          </a:p>
        </p:txBody>
      </p:sp>
      <p:sp>
        <p:nvSpPr>
          <p:cNvPr id="2337" name="Rectangle 2336">
            <a:extLst>
              <a:ext uri="{FF2B5EF4-FFF2-40B4-BE49-F238E27FC236}">
                <a16:creationId xmlns:a16="http://schemas.microsoft.com/office/drawing/2014/main" id="{44771333-6F56-43B1-B4CF-3DC20E2F19A3}"/>
              </a:ext>
            </a:extLst>
          </p:cNvPr>
          <p:cNvSpPr/>
          <p:nvPr/>
        </p:nvSpPr>
        <p:spPr>
          <a:xfrm>
            <a:off x="3034103" y="2557335"/>
            <a:ext cx="1950098" cy="1245859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Maintain round-the-clock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safet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security</a:t>
            </a:r>
          </a:p>
        </p:txBody>
      </p:sp>
    </p:spTree>
    <p:extLst>
      <p:ext uri="{BB962C8B-B14F-4D97-AF65-F5344CB8AC3E}">
        <p14:creationId xmlns:p14="http://schemas.microsoft.com/office/powerpoint/2010/main" val="2211973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30"/>
          <p:cNvSpPr/>
          <p:nvPr/>
        </p:nvSpPr>
        <p:spPr>
          <a:xfrm>
            <a:off x="431800" y="2252553"/>
            <a:ext cx="8280400" cy="19285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/>
          <a:lstStyle/>
          <a:p>
            <a:pPr marL="0" marR="0" lvl="0" indent="0" algn="l" defTabSz="4570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Applications</a:t>
            </a:r>
          </a:p>
        </p:txBody>
      </p:sp>
      <p:sp>
        <p:nvSpPr>
          <p:cNvPr id="80" name="Rectangle 35"/>
          <p:cNvSpPr/>
          <p:nvPr/>
        </p:nvSpPr>
        <p:spPr>
          <a:xfrm>
            <a:off x="4133198" y="2395453"/>
            <a:ext cx="2123315" cy="1668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/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+mn-ea"/>
                <a:cs typeface="Arial" panose="020B0604020202020204" pitchFamily="34" charset="0"/>
              </a:rPr>
              <a:t>Safety-relate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Arial" panose="020B0604020202020204" pitchFamily="34" charset="0"/>
            </a:endParaRPr>
          </a:p>
          <a:p>
            <a:pPr marL="138113" marR="0" lvl="0" indent="-138113" algn="l" defTabSz="457200" rtl="0" eaLnBrk="1" fontAlgn="auto" latinLnBrk="0" hangingPunct="1">
              <a:spcBef>
                <a:spcPts val="0"/>
              </a:spcBef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CCTV</a:t>
            </a:r>
          </a:p>
          <a:p>
            <a:pPr marL="138113" marR="0" lvl="0" indent="-138113" algn="l" defTabSz="457200" rtl="0" eaLnBrk="1" fontAlgn="auto" latinLnBrk="0" hangingPunct="1">
              <a:spcBef>
                <a:spcPts val="0"/>
              </a:spcBef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Mission-critical voice</a:t>
            </a:r>
          </a:p>
          <a:p>
            <a:pPr marL="138113" marR="0" lvl="0" indent="-138113" algn="l" defTabSz="457200" rtl="0" eaLnBrk="1" fontAlgn="auto" latinLnBrk="0" hangingPunct="1">
              <a:spcBef>
                <a:spcPts val="0"/>
              </a:spcBef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Door clearance</a:t>
            </a:r>
          </a:p>
          <a:p>
            <a:pPr marL="138113" marR="0" lvl="0" indent="-138113" algn="l" defTabSz="457200" rtl="0" eaLnBrk="1" fontAlgn="auto" latinLnBrk="0" hangingPunct="1">
              <a:spcBef>
                <a:spcPts val="0"/>
              </a:spcBef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PIS/PA</a:t>
            </a:r>
          </a:p>
          <a:p>
            <a:pPr marL="138113" marR="0" lvl="0" indent="-138113" algn="l" defTabSz="457200" rtl="0" eaLnBrk="1" fontAlgn="auto" latinLnBrk="0" hangingPunct="1">
              <a:spcBef>
                <a:spcPts val="0"/>
              </a:spcBef>
              <a:buClrTx/>
              <a:buSzTx/>
              <a:buFont typeface="Arial" charset="0"/>
              <a:buChar char="•"/>
              <a:tabLst/>
              <a:defRPr/>
            </a:pPr>
            <a:r>
              <a:rPr lang="en-US" sz="1400" dirty="0">
                <a:solidFill>
                  <a:srgbClr val="001135"/>
                </a:solidFill>
                <a:latin typeface="Nokia Pure Text Light"/>
                <a:cs typeface="Arial" panose="020B0604020202020204" pitchFamily="34" charset="0"/>
              </a:rPr>
              <a:t>Io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Rectangle 35"/>
          <p:cNvSpPr/>
          <p:nvPr/>
        </p:nvSpPr>
        <p:spPr>
          <a:xfrm>
            <a:off x="6394572" y="2395452"/>
            <a:ext cx="2178597" cy="1665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/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+mn-ea"/>
                <a:cs typeface="Arial" panose="020B0604020202020204" pitchFamily="34" charset="0"/>
              </a:rPr>
              <a:t>Non safety related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Arial" panose="020B0604020202020204" pitchFamily="34" charset="0"/>
            </a:endParaRPr>
          </a:p>
          <a:p>
            <a:pPr marL="138113" marR="0" lvl="0" indent="-138113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Public Wi-Fi</a:t>
            </a:r>
          </a:p>
          <a:p>
            <a:pPr marL="138113" marR="0" lvl="0" indent="-138113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Arial" panose="020B0604020202020204" pitchFamily="34" charset="0"/>
              </a:rPr>
              <a:t>Infotainment</a:t>
            </a:r>
          </a:p>
        </p:txBody>
      </p:sp>
      <p:sp>
        <p:nvSpPr>
          <p:cNvPr id="84" name="Rectangle 35"/>
          <p:cNvSpPr/>
          <p:nvPr/>
        </p:nvSpPr>
        <p:spPr>
          <a:xfrm>
            <a:off x="1828801" y="2395453"/>
            <a:ext cx="2166338" cy="1665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/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+mn-ea"/>
                <a:cs typeface="Arial" panose="020B0604020202020204" pitchFamily="34" charset="0"/>
              </a:rPr>
              <a:t>Safety-critical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Arial" panose="020B0604020202020204" pitchFamily="34" charset="0"/>
            </a:endParaRPr>
          </a:p>
          <a:p>
            <a:pPr marL="138113" indent="-138113">
              <a:lnSpc>
                <a:spcPct val="9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lang="en-GB" sz="1400" dirty="0">
                <a:solidFill>
                  <a:srgbClr val="001135"/>
                </a:solidFill>
                <a:latin typeface="Nokia Pure Text Light"/>
                <a:cs typeface="Arial" panose="020B0604020202020204" pitchFamily="34" charset="0"/>
              </a:rPr>
              <a:t>CBTC</a:t>
            </a:r>
          </a:p>
          <a:p>
            <a:pPr marL="138113" indent="-138113">
              <a:lnSpc>
                <a:spcPct val="9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lang="en-GB" sz="1400" dirty="0">
                <a:solidFill>
                  <a:srgbClr val="001135"/>
                </a:solidFill>
                <a:latin typeface="Nokia Pure Text Light"/>
                <a:cs typeface="Arial" panose="020B0604020202020204" pitchFamily="34" charset="0"/>
              </a:rPr>
              <a:t>SCADA</a:t>
            </a:r>
          </a:p>
        </p:txBody>
      </p:sp>
      <p:sp>
        <p:nvSpPr>
          <p:cNvPr id="81" name="Text Placeholder 28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ission-critical broadband network – the integral foundation</a:t>
            </a:r>
            <a:endParaRPr lang="en-CA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Urban rail operators embracing digital transformation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1682133" y="1180506"/>
            <a:ext cx="545463" cy="292786"/>
            <a:chOff x="2517222" y="1040547"/>
            <a:chExt cx="545463" cy="292786"/>
          </a:xfrm>
        </p:grpSpPr>
        <p:sp>
          <p:nvSpPr>
            <p:cNvPr id="28" name="Freeform 19"/>
            <p:cNvSpPr>
              <a:spLocks/>
            </p:cNvSpPr>
            <p:nvPr/>
          </p:nvSpPr>
          <p:spPr bwMode="auto">
            <a:xfrm>
              <a:off x="2818029" y="1040547"/>
              <a:ext cx="244656" cy="177810"/>
            </a:xfrm>
            <a:custGeom>
              <a:avLst/>
              <a:gdLst>
                <a:gd name="T0" fmla="*/ 17 w 75"/>
                <a:gd name="T1" fmla="*/ 54 h 54"/>
                <a:gd name="T2" fmla="*/ 69 w 75"/>
                <a:gd name="T3" fmla="*/ 54 h 54"/>
                <a:gd name="T4" fmla="*/ 75 w 75"/>
                <a:gd name="T5" fmla="*/ 48 h 54"/>
                <a:gd name="T6" fmla="*/ 75 w 75"/>
                <a:gd name="T7" fmla="*/ 6 h 54"/>
                <a:gd name="T8" fmla="*/ 69 w 75"/>
                <a:gd name="T9" fmla="*/ 0 h 54"/>
                <a:gd name="T10" fmla="*/ 6 w 75"/>
                <a:gd name="T11" fmla="*/ 0 h 54"/>
                <a:gd name="T12" fmla="*/ 0 w 75"/>
                <a:gd name="T13" fmla="*/ 6 h 54"/>
                <a:gd name="T14" fmla="*/ 0 w 75"/>
                <a:gd name="T1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54">
                  <a:moveTo>
                    <a:pt x="17" y="54"/>
                  </a:moveTo>
                  <a:cubicBezTo>
                    <a:pt x="69" y="54"/>
                    <a:pt x="69" y="54"/>
                    <a:pt x="69" y="54"/>
                  </a:cubicBezTo>
                  <a:cubicBezTo>
                    <a:pt x="72" y="54"/>
                    <a:pt x="75" y="51"/>
                    <a:pt x="75" y="48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5" y="3"/>
                    <a:pt x="72" y="0"/>
                    <a:pt x="6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solidFill>
              <a:srgbClr val="FFFFFF"/>
            </a:solidFill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2517222" y="1040547"/>
              <a:ext cx="244656" cy="177810"/>
            </a:xfrm>
            <a:custGeom>
              <a:avLst/>
              <a:gdLst>
                <a:gd name="T0" fmla="*/ 58 w 75"/>
                <a:gd name="T1" fmla="*/ 54 h 54"/>
                <a:gd name="T2" fmla="*/ 5 w 75"/>
                <a:gd name="T3" fmla="*/ 54 h 54"/>
                <a:gd name="T4" fmla="*/ 0 w 75"/>
                <a:gd name="T5" fmla="*/ 48 h 54"/>
                <a:gd name="T6" fmla="*/ 0 w 75"/>
                <a:gd name="T7" fmla="*/ 6 h 54"/>
                <a:gd name="T8" fmla="*/ 5 w 75"/>
                <a:gd name="T9" fmla="*/ 0 h 54"/>
                <a:gd name="T10" fmla="*/ 69 w 75"/>
                <a:gd name="T11" fmla="*/ 0 h 54"/>
                <a:gd name="T12" fmla="*/ 75 w 75"/>
                <a:gd name="T13" fmla="*/ 6 h 54"/>
                <a:gd name="T14" fmla="*/ 75 w 75"/>
                <a:gd name="T1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54">
                  <a:moveTo>
                    <a:pt x="58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2" y="54"/>
                    <a:pt x="0" y="5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2" y="0"/>
                    <a:pt x="75" y="3"/>
                    <a:pt x="75" y="6"/>
                  </a:cubicBezTo>
                  <a:cubicBezTo>
                    <a:pt x="75" y="10"/>
                    <a:pt x="75" y="10"/>
                    <a:pt x="75" y="10"/>
                  </a:cubicBezTo>
                </a:path>
              </a:pathLst>
            </a:custGeom>
            <a:solidFill>
              <a:srgbClr val="FFFFFF"/>
            </a:solidFill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2676984" y="1109399"/>
              <a:ext cx="222597" cy="223934"/>
            </a:xfrm>
            <a:custGeom>
              <a:avLst/>
              <a:gdLst>
                <a:gd name="T0" fmla="*/ 68 w 68"/>
                <a:gd name="T1" fmla="*/ 68 h 68"/>
                <a:gd name="T2" fmla="*/ 48 w 68"/>
                <a:gd name="T3" fmla="*/ 37 h 68"/>
                <a:gd name="T4" fmla="*/ 56 w 68"/>
                <a:gd name="T5" fmla="*/ 21 h 68"/>
                <a:gd name="T6" fmla="*/ 34 w 68"/>
                <a:gd name="T7" fmla="*/ 0 h 68"/>
                <a:gd name="T8" fmla="*/ 13 w 68"/>
                <a:gd name="T9" fmla="*/ 21 h 68"/>
                <a:gd name="T10" fmla="*/ 20 w 68"/>
                <a:gd name="T11" fmla="*/ 37 h 68"/>
                <a:gd name="T12" fmla="*/ 0 w 68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cubicBezTo>
                    <a:pt x="68" y="54"/>
                    <a:pt x="60" y="43"/>
                    <a:pt x="48" y="37"/>
                  </a:cubicBezTo>
                  <a:cubicBezTo>
                    <a:pt x="53" y="33"/>
                    <a:pt x="56" y="28"/>
                    <a:pt x="56" y="21"/>
                  </a:cubicBezTo>
                  <a:cubicBezTo>
                    <a:pt x="56" y="10"/>
                    <a:pt x="46" y="0"/>
                    <a:pt x="34" y="0"/>
                  </a:cubicBezTo>
                  <a:cubicBezTo>
                    <a:pt x="22" y="0"/>
                    <a:pt x="13" y="10"/>
                    <a:pt x="13" y="21"/>
                  </a:cubicBezTo>
                  <a:cubicBezTo>
                    <a:pt x="13" y="28"/>
                    <a:pt x="16" y="33"/>
                    <a:pt x="20" y="37"/>
                  </a:cubicBezTo>
                  <a:cubicBezTo>
                    <a:pt x="8" y="43"/>
                    <a:pt x="0" y="54"/>
                    <a:pt x="0" y="68"/>
                  </a:cubicBezTo>
                </a:path>
              </a:pathLst>
            </a:custGeom>
            <a:solidFill>
              <a:srgbClr val="FFFFFF"/>
            </a:solidFill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1" name="Rectangle 12"/>
            <p:cNvSpPr>
              <a:spLocks noChangeArrowheads="1"/>
            </p:cNvSpPr>
            <p:nvPr/>
          </p:nvSpPr>
          <p:spPr bwMode="auto">
            <a:xfrm>
              <a:off x="2690353" y="1158865"/>
              <a:ext cx="16043" cy="39439"/>
            </a:xfrm>
            <a:prstGeom prst="rect">
              <a:avLst/>
            </a:prstGeom>
            <a:solidFill>
              <a:srgbClr val="0E0F1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2873511" y="1158865"/>
              <a:ext cx="16043" cy="39439"/>
            </a:xfrm>
            <a:prstGeom prst="rect">
              <a:avLst/>
            </a:prstGeom>
            <a:solidFill>
              <a:srgbClr val="0E0F1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2840756" y="1060601"/>
              <a:ext cx="199201" cy="118318"/>
            </a:xfrm>
            <a:custGeom>
              <a:avLst/>
              <a:gdLst>
                <a:gd name="T0" fmla="*/ 98 w 298"/>
                <a:gd name="T1" fmla="*/ 177 h 177"/>
                <a:gd name="T2" fmla="*/ 298 w 298"/>
                <a:gd name="T3" fmla="*/ 177 h 177"/>
                <a:gd name="T4" fmla="*/ 298 w 298"/>
                <a:gd name="T5" fmla="*/ 0 h 177"/>
                <a:gd name="T6" fmla="*/ 0 w 298"/>
                <a:gd name="T7" fmla="*/ 0 h 177"/>
                <a:gd name="T8" fmla="*/ 0 w 298"/>
                <a:gd name="T9" fmla="*/ 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177">
                  <a:moveTo>
                    <a:pt x="98" y="177"/>
                  </a:moveTo>
                  <a:lnTo>
                    <a:pt x="298" y="177"/>
                  </a:lnTo>
                  <a:lnTo>
                    <a:pt x="298" y="0"/>
                  </a:lnTo>
                  <a:lnTo>
                    <a:pt x="0" y="0"/>
                  </a:lnTo>
                  <a:lnTo>
                    <a:pt x="0" y="29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2906265" y="1270497"/>
              <a:ext cx="100938" cy="49466"/>
            </a:xfrm>
            <a:custGeom>
              <a:avLst/>
              <a:gdLst>
                <a:gd name="T0" fmla="*/ 0 w 151"/>
                <a:gd name="T1" fmla="*/ 0 h 74"/>
                <a:gd name="T2" fmla="*/ 151 w 151"/>
                <a:gd name="T3" fmla="*/ 0 h 74"/>
                <a:gd name="T4" fmla="*/ 151 w 151"/>
                <a:gd name="T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1" h="74">
                  <a:moveTo>
                    <a:pt x="0" y="0"/>
                  </a:moveTo>
                  <a:lnTo>
                    <a:pt x="151" y="0"/>
                  </a:lnTo>
                  <a:lnTo>
                    <a:pt x="151" y="74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" name="Freeform 16"/>
            <p:cNvSpPr>
              <a:spLocks/>
            </p:cNvSpPr>
            <p:nvPr/>
          </p:nvSpPr>
          <p:spPr bwMode="auto">
            <a:xfrm>
              <a:off x="2922308" y="1290551"/>
              <a:ext cx="13369" cy="16712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" name="Freeform 17"/>
            <p:cNvSpPr>
              <a:spLocks/>
            </p:cNvSpPr>
            <p:nvPr/>
          </p:nvSpPr>
          <p:spPr bwMode="auto">
            <a:xfrm>
              <a:off x="2945035" y="1290551"/>
              <a:ext cx="13369" cy="16712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" name="Freeform 18"/>
            <p:cNvSpPr>
              <a:spLocks/>
            </p:cNvSpPr>
            <p:nvPr/>
          </p:nvSpPr>
          <p:spPr bwMode="auto">
            <a:xfrm>
              <a:off x="2967763" y="1290551"/>
              <a:ext cx="13369" cy="16712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" name="Freeform 20"/>
            <p:cNvSpPr>
              <a:spLocks/>
            </p:cNvSpPr>
            <p:nvPr/>
          </p:nvSpPr>
          <p:spPr bwMode="auto">
            <a:xfrm>
              <a:off x="2536608" y="1060600"/>
              <a:ext cx="202543" cy="118318"/>
            </a:xfrm>
            <a:custGeom>
              <a:avLst/>
              <a:gdLst>
                <a:gd name="T0" fmla="*/ 205 w 303"/>
                <a:gd name="T1" fmla="*/ 177 h 177"/>
                <a:gd name="T2" fmla="*/ 0 w 303"/>
                <a:gd name="T3" fmla="*/ 177 h 177"/>
                <a:gd name="T4" fmla="*/ 0 w 303"/>
                <a:gd name="T5" fmla="*/ 0 h 177"/>
                <a:gd name="T6" fmla="*/ 303 w 303"/>
                <a:gd name="T7" fmla="*/ 0 h 177"/>
                <a:gd name="T8" fmla="*/ 303 w 303"/>
                <a:gd name="T9" fmla="*/ 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177">
                  <a:moveTo>
                    <a:pt x="205" y="177"/>
                  </a:moveTo>
                  <a:lnTo>
                    <a:pt x="0" y="177"/>
                  </a:lnTo>
                  <a:lnTo>
                    <a:pt x="0" y="0"/>
                  </a:lnTo>
                  <a:lnTo>
                    <a:pt x="303" y="0"/>
                  </a:lnTo>
                  <a:lnTo>
                    <a:pt x="303" y="29"/>
                  </a:lnTo>
                </a:path>
              </a:pathLst>
            </a:custGeom>
            <a:noFill/>
            <a:ln w="7938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131277" y="1191229"/>
            <a:ext cx="1200150" cy="849312"/>
            <a:chOff x="6661150" y="158751"/>
            <a:chExt cx="1200150" cy="849312"/>
          </a:xfrm>
        </p:grpSpPr>
        <p:sp>
          <p:nvSpPr>
            <p:cNvPr id="48" name="Freeform 257"/>
            <p:cNvSpPr>
              <a:spLocks/>
            </p:cNvSpPr>
            <p:nvPr/>
          </p:nvSpPr>
          <p:spPr bwMode="auto">
            <a:xfrm>
              <a:off x="7043738" y="239713"/>
              <a:ext cx="0" cy="758825"/>
            </a:xfrm>
            <a:custGeom>
              <a:avLst/>
              <a:gdLst>
                <a:gd name="T0" fmla="*/ 2376 h 2376"/>
                <a:gd name="T1" fmla="*/ 2376 h 2376"/>
                <a:gd name="T2" fmla="*/ 0 h 237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376">
                  <a:moveTo>
                    <a:pt x="0" y="2376"/>
                  </a:moveTo>
                  <a:lnTo>
                    <a:pt x="0" y="2376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" name="Freeform 258"/>
            <p:cNvSpPr>
              <a:spLocks/>
            </p:cNvSpPr>
            <p:nvPr/>
          </p:nvSpPr>
          <p:spPr bwMode="auto">
            <a:xfrm>
              <a:off x="7259638" y="239713"/>
              <a:ext cx="0" cy="758825"/>
            </a:xfrm>
            <a:custGeom>
              <a:avLst/>
              <a:gdLst>
                <a:gd name="T0" fmla="*/ 2376 h 2376"/>
                <a:gd name="T1" fmla="*/ 2376 h 2376"/>
                <a:gd name="T2" fmla="*/ 0 h 237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376">
                  <a:moveTo>
                    <a:pt x="0" y="2376"/>
                  </a:moveTo>
                  <a:lnTo>
                    <a:pt x="0" y="2376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0" name="Freeform 259"/>
            <p:cNvSpPr>
              <a:spLocks/>
            </p:cNvSpPr>
            <p:nvPr/>
          </p:nvSpPr>
          <p:spPr bwMode="auto">
            <a:xfrm>
              <a:off x="7064375" y="260351"/>
              <a:ext cx="41275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" name="Freeform 260"/>
            <p:cNvSpPr>
              <a:spLocks/>
            </p:cNvSpPr>
            <p:nvPr/>
          </p:nvSpPr>
          <p:spPr bwMode="auto">
            <a:xfrm>
              <a:off x="7064375" y="382588"/>
              <a:ext cx="41275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" name="Freeform 261"/>
            <p:cNvSpPr>
              <a:spLocks/>
            </p:cNvSpPr>
            <p:nvPr/>
          </p:nvSpPr>
          <p:spPr bwMode="auto">
            <a:xfrm>
              <a:off x="7064375" y="504826"/>
              <a:ext cx="41275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" name="Freeform 262"/>
            <p:cNvSpPr>
              <a:spLocks/>
            </p:cNvSpPr>
            <p:nvPr/>
          </p:nvSpPr>
          <p:spPr bwMode="auto">
            <a:xfrm>
              <a:off x="7064375" y="627063"/>
              <a:ext cx="41275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" name="Freeform 263"/>
            <p:cNvSpPr>
              <a:spLocks/>
            </p:cNvSpPr>
            <p:nvPr/>
          </p:nvSpPr>
          <p:spPr bwMode="auto">
            <a:xfrm>
              <a:off x="7064375" y="747713"/>
              <a:ext cx="41275" cy="103188"/>
            </a:xfrm>
            <a:custGeom>
              <a:avLst/>
              <a:gdLst>
                <a:gd name="T0" fmla="*/ 134 w 134"/>
                <a:gd name="T1" fmla="*/ 0 h 319"/>
                <a:gd name="T2" fmla="*/ 134 w 134"/>
                <a:gd name="T3" fmla="*/ 0 h 319"/>
                <a:gd name="T4" fmla="*/ 0 w 134"/>
                <a:gd name="T5" fmla="*/ 0 h 319"/>
                <a:gd name="T6" fmla="*/ 0 w 134"/>
                <a:gd name="T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9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" name="Freeform 264"/>
            <p:cNvSpPr>
              <a:spLocks/>
            </p:cNvSpPr>
            <p:nvPr/>
          </p:nvSpPr>
          <p:spPr bwMode="auto">
            <a:xfrm>
              <a:off x="7064375" y="869951"/>
              <a:ext cx="41275" cy="103188"/>
            </a:xfrm>
            <a:custGeom>
              <a:avLst/>
              <a:gdLst>
                <a:gd name="T0" fmla="*/ 134 w 134"/>
                <a:gd name="T1" fmla="*/ 0 h 319"/>
                <a:gd name="T2" fmla="*/ 134 w 134"/>
                <a:gd name="T3" fmla="*/ 0 h 319"/>
                <a:gd name="T4" fmla="*/ 0 w 134"/>
                <a:gd name="T5" fmla="*/ 0 h 319"/>
                <a:gd name="T6" fmla="*/ 0 w 134"/>
                <a:gd name="T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9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7" name="Freeform 265"/>
            <p:cNvSpPr>
              <a:spLocks/>
            </p:cNvSpPr>
            <p:nvPr/>
          </p:nvSpPr>
          <p:spPr bwMode="auto">
            <a:xfrm>
              <a:off x="7129463" y="260351"/>
              <a:ext cx="44450" cy="101600"/>
            </a:xfrm>
            <a:custGeom>
              <a:avLst/>
              <a:gdLst>
                <a:gd name="T0" fmla="*/ 0 w 135"/>
                <a:gd name="T1" fmla="*/ 318 h 318"/>
                <a:gd name="T2" fmla="*/ 0 w 135"/>
                <a:gd name="T3" fmla="*/ 318 h 318"/>
                <a:gd name="T4" fmla="*/ 0 w 135"/>
                <a:gd name="T5" fmla="*/ 0 h 318"/>
                <a:gd name="T6" fmla="*/ 135 w 135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318">
                  <a:moveTo>
                    <a:pt x="0" y="318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" name="Freeform 266"/>
            <p:cNvSpPr>
              <a:spLocks/>
            </p:cNvSpPr>
            <p:nvPr/>
          </p:nvSpPr>
          <p:spPr bwMode="auto">
            <a:xfrm>
              <a:off x="7129463" y="382588"/>
              <a:ext cx="44450" cy="101600"/>
            </a:xfrm>
            <a:custGeom>
              <a:avLst/>
              <a:gdLst>
                <a:gd name="T0" fmla="*/ 0 w 135"/>
                <a:gd name="T1" fmla="*/ 318 h 318"/>
                <a:gd name="T2" fmla="*/ 0 w 135"/>
                <a:gd name="T3" fmla="*/ 318 h 318"/>
                <a:gd name="T4" fmla="*/ 0 w 135"/>
                <a:gd name="T5" fmla="*/ 0 h 318"/>
                <a:gd name="T6" fmla="*/ 135 w 135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318">
                  <a:moveTo>
                    <a:pt x="0" y="318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" name="Freeform 267"/>
            <p:cNvSpPr>
              <a:spLocks/>
            </p:cNvSpPr>
            <p:nvPr/>
          </p:nvSpPr>
          <p:spPr bwMode="auto">
            <a:xfrm>
              <a:off x="7129463" y="504826"/>
              <a:ext cx="44450" cy="101600"/>
            </a:xfrm>
            <a:custGeom>
              <a:avLst/>
              <a:gdLst>
                <a:gd name="T0" fmla="*/ 0 w 135"/>
                <a:gd name="T1" fmla="*/ 318 h 318"/>
                <a:gd name="T2" fmla="*/ 0 w 135"/>
                <a:gd name="T3" fmla="*/ 318 h 318"/>
                <a:gd name="T4" fmla="*/ 0 w 135"/>
                <a:gd name="T5" fmla="*/ 0 h 318"/>
                <a:gd name="T6" fmla="*/ 135 w 135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318">
                  <a:moveTo>
                    <a:pt x="0" y="318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" name="Freeform 268"/>
            <p:cNvSpPr>
              <a:spLocks/>
            </p:cNvSpPr>
            <p:nvPr/>
          </p:nvSpPr>
          <p:spPr bwMode="auto">
            <a:xfrm>
              <a:off x="7129463" y="627063"/>
              <a:ext cx="44450" cy="101600"/>
            </a:xfrm>
            <a:custGeom>
              <a:avLst/>
              <a:gdLst>
                <a:gd name="T0" fmla="*/ 0 w 135"/>
                <a:gd name="T1" fmla="*/ 318 h 318"/>
                <a:gd name="T2" fmla="*/ 0 w 135"/>
                <a:gd name="T3" fmla="*/ 318 h 318"/>
                <a:gd name="T4" fmla="*/ 0 w 135"/>
                <a:gd name="T5" fmla="*/ 0 h 318"/>
                <a:gd name="T6" fmla="*/ 135 w 135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318">
                  <a:moveTo>
                    <a:pt x="0" y="318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" name="Freeform 269"/>
            <p:cNvSpPr>
              <a:spLocks/>
            </p:cNvSpPr>
            <p:nvPr/>
          </p:nvSpPr>
          <p:spPr bwMode="auto">
            <a:xfrm>
              <a:off x="7129463" y="747713"/>
              <a:ext cx="44450" cy="103188"/>
            </a:xfrm>
            <a:custGeom>
              <a:avLst/>
              <a:gdLst>
                <a:gd name="T0" fmla="*/ 0 w 135"/>
                <a:gd name="T1" fmla="*/ 319 h 319"/>
                <a:gd name="T2" fmla="*/ 0 w 135"/>
                <a:gd name="T3" fmla="*/ 319 h 319"/>
                <a:gd name="T4" fmla="*/ 0 w 135"/>
                <a:gd name="T5" fmla="*/ 0 h 319"/>
                <a:gd name="T6" fmla="*/ 135 w 135"/>
                <a:gd name="T7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319">
                  <a:moveTo>
                    <a:pt x="0" y="319"/>
                  </a:moveTo>
                  <a:lnTo>
                    <a:pt x="0" y="319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" name="Freeform 270"/>
            <p:cNvSpPr>
              <a:spLocks/>
            </p:cNvSpPr>
            <p:nvPr/>
          </p:nvSpPr>
          <p:spPr bwMode="auto">
            <a:xfrm>
              <a:off x="7129463" y="869951"/>
              <a:ext cx="44450" cy="41275"/>
            </a:xfrm>
            <a:custGeom>
              <a:avLst/>
              <a:gdLst>
                <a:gd name="T0" fmla="*/ 0 w 135"/>
                <a:gd name="T1" fmla="*/ 128 h 128"/>
                <a:gd name="T2" fmla="*/ 0 w 135"/>
                <a:gd name="T3" fmla="*/ 128 h 128"/>
                <a:gd name="T4" fmla="*/ 0 w 135"/>
                <a:gd name="T5" fmla="*/ 0 h 128"/>
                <a:gd name="T6" fmla="*/ 135 w 135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28">
                  <a:moveTo>
                    <a:pt x="0" y="128"/>
                  </a:moveTo>
                  <a:lnTo>
                    <a:pt x="0" y="128"/>
                  </a:lnTo>
                  <a:lnTo>
                    <a:pt x="0" y="0"/>
                  </a:lnTo>
                  <a:lnTo>
                    <a:pt x="13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" name="Freeform 271"/>
            <p:cNvSpPr>
              <a:spLocks/>
            </p:cNvSpPr>
            <p:nvPr/>
          </p:nvSpPr>
          <p:spPr bwMode="auto">
            <a:xfrm>
              <a:off x="7129463" y="931863"/>
              <a:ext cx="44450" cy="73025"/>
            </a:xfrm>
            <a:custGeom>
              <a:avLst/>
              <a:gdLst>
                <a:gd name="T0" fmla="*/ 0 w 135"/>
                <a:gd name="T1" fmla="*/ 229 h 229"/>
                <a:gd name="T2" fmla="*/ 0 w 135"/>
                <a:gd name="T3" fmla="*/ 229 h 229"/>
                <a:gd name="T4" fmla="*/ 0 w 135"/>
                <a:gd name="T5" fmla="*/ 0 h 229"/>
                <a:gd name="T6" fmla="*/ 135 w 135"/>
                <a:gd name="T7" fmla="*/ 0 h 229"/>
                <a:gd name="T8" fmla="*/ 135 w 135"/>
                <a:gd name="T9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29">
                  <a:moveTo>
                    <a:pt x="0" y="229"/>
                  </a:moveTo>
                  <a:lnTo>
                    <a:pt x="0" y="229"/>
                  </a:lnTo>
                  <a:lnTo>
                    <a:pt x="0" y="0"/>
                  </a:lnTo>
                  <a:lnTo>
                    <a:pt x="135" y="0"/>
                  </a:lnTo>
                  <a:lnTo>
                    <a:pt x="135" y="22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4" name="Freeform 272"/>
            <p:cNvSpPr>
              <a:spLocks/>
            </p:cNvSpPr>
            <p:nvPr/>
          </p:nvSpPr>
          <p:spPr bwMode="auto">
            <a:xfrm>
              <a:off x="7196138" y="260351"/>
              <a:ext cx="42863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5" name="Freeform 273"/>
            <p:cNvSpPr>
              <a:spLocks/>
            </p:cNvSpPr>
            <p:nvPr/>
          </p:nvSpPr>
          <p:spPr bwMode="auto">
            <a:xfrm>
              <a:off x="7196138" y="382588"/>
              <a:ext cx="42863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" name="Freeform 274"/>
            <p:cNvSpPr>
              <a:spLocks/>
            </p:cNvSpPr>
            <p:nvPr/>
          </p:nvSpPr>
          <p:spPr bwMode="auto">
            <a:xfrm>
              <a:off x="7196138" y="504826"/>
              <a:ext cx="42863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" name="Freeform 275"/>
            <p:cNvSpPr>
              <a:spLocks/>
            </p:cNvSpPr>
            <p:nvPr/>
          </p:nvSpPr>
          <p:spPr bwMode="auto">
            <a:xfrm>
              <a:off x="7196138" y="627063"/>
              <a:ext cx="42863" cy="101600"/>
            </a:xfrm>
            <a:custGeom>
              <a:avLst/>
              <a:gdLst>
                <a:gd name="T0" fmla="*/ 134 w 134"/>
                <a:gd name="T1" fmla="*/ 0 h 318"/>
                <a:gd name="T2" fmla="*/ 134 w 134"/>
                <a:gd name="T3" fmla="*/ 0 h 318"/>
                <a:gd name="T4" fmla="*/ 0 w 134"/>
                <a:gd name="T5" fmla="*/ 0 h 318"/>
                <a:gd name="T6" fmla="*/ 0 w 134"/>
                <a:gd name="T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8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8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" name="Freeform 276"/>
            <p:cNvSpPr>
              <a:spLocks/>
            </p:cNvSpPr>
            <p:nvPr/>
          </p:nvSpPr>
          <p:spPr bwMode="auto">
            <a:xfrm>
              <a:off x="7196138" y="747713"/>
              <a:ext cx="42863" cy="103188"/>
            </a:xfrm>
            <a:custGeom>
              <a:avLst/>
              <a:gdLst>
                <a:gd name="T0" fmla="*/ 134 w 134"/>
                <a:gd name="T1" fmla="*/ 0 h 319"/>
                <a:gd name="T2" fmla="*/ 134 w 134"/>
                <a:gd name="T3" fmla="*/ 0 h 319"/>
                <a:gd name="T4" fmla="*/ 0 w 134"/>
                <a:gd name="T5" fmla="*/ 0 h 319"/>
                <a:gd name="T6" fmla="*/ 0 w 134"/>
                <a:gd name="T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9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9" name="Freeform 277"/>
            <p:cNvSpPr>
              <a:spLocks/>
            </p:cNvSpPr>
            <p:nvPr/>
          </p:nvSpPr>
          <p:spPr bwMode="auto">
            <a:xfrm>
              <a:off x="7196138" y="869951"/>
              <a:ext cx="42863" cy="103188"/>
            </a:xfrm>
            <a:custGeom>
              <a:avLst/>
              <a:gdLst>
                <a:gd name="T0" fmla="*/ 134 w 134"/>
                <a:gd name="T1" fmla="*/ 0 h 319"/>
                <a:gd name="T2" fmla="*/ 134 w 134"/>
                <a:gd name="T3" fmla="*/ 0 h 319"/>
                <a:gd name="T4" fmla="*/ 0 w 134"/>
                <a:gd name="T5" fmla="*/ 0 h 319"/>
                <a:gd name="T6" fmla="*/ 0 w 134"/>
                <a:gd name="T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319">
                  <a:moveTo>
                    <a:pt x="134" y="0"/>
                  </a:moveTo>
                  <a:lnTo>
                    <a:pt x="134" y="0"/>
                  </a:lnTo>
                  <a:lnTo>
                    <a:pt x="0" y="0"/>
                  </a:lnTo>
                  <a:lnTo>
                    <a:pt x="0" y="31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0" name="Freeform 278"/>
            <p:cNvSpPr>
              <a:spLocks/>
            </p:cNvSpPr>
            <p:nvPr/>
          </p:nvSpPr>
          <p:spPr bwMode="auto">
            <a:xfrm>
              <a:off x="7029450" y="158751"/>
              <a:ext cx="244475" cy="80963"/>
            </a:xfrm>
            <a:custGeom>
              <a:avLst/>
              <a:gdLst>
                <a:gd name="T0" fmla="*/ 763 w 763"/>
                <a:gd name="T1" fmla="*/ 254 h 254"/>
                <a:gd name="T2" fmla="*/ 763 w 763"/>
                <a:gd name="T3" fmla="*/ 254 h 254"/>
                <a:gd name="T4" fmla="*/ 509 w 763"/>
                <a:gd name="T5" fmla="*/ 0 h 254"/>
                <a:gd name="T6" fmla="*/ 254 w 763"/>
                <a:gd name="T7" fmla="*/ 0 h 254"/>
                <a:gd name="T8" fmla="*/ 0 w 763"/>
                <a:gd name="T9" fmla="*/ 254 h 254"/>
                <a:gd name="T10" fmla="*/ 763 w 763"/>
                <a:gd name="T11" fmla="*/ 254 h 254"/>
                <a:gd name="T12" fmla="*/ 763 w 763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3" h="254">
                  <a:moveTo>
                    <a:pt x="763" y="254"/>
                  </a:moveTo>
                  <a:lnTo>
                    <a:pt x="763" y="254"/>
                  </a:lnTo>
                  <a:lnTo>
                    <a:pt x="509" y="0"/>
                  </a:lnTo>
                  <a:lnTo>
                    <a:pt x="254" y="0"/>
                  </a:lnTo>
                  <a:lnTo>
                    <a:pt x="0" y="254"/>
                  </a:lnTo>
                  <a:lnTo>
                    <a:pt x="763" y="254"/>
                  </a:lnTo>
                  <a:lnTo>
                    <a:pt x="763" y="254"/>
                  </a:lnTo>
                  <a:close/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" name="Freeform 279"/>
            <p:cNvSpPr>
              <a:spLocks/>
            </p:cNvSpPr>
            <p:nvPr/>
          </p:nvSpPr>
          <p:spPr bwMode="auto">
            <a:xfrm>
              <a:off x="6757988" y="568326"/>
              <a:ext cx="0" cy="430213"/>
            </a:xfrm>
            <a:custGeom>
              <a:avLst/>
              <a:gdLst>
                <a:gd name="T0" fmla="*/ 1348 h 1348"/>
                <a:gd name="T1" fmla="*/ 1348 h 1348"/>
                <a:gd name="T2" fmla="*/ 0 h 134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48">
                  <a:moveTo>
                    <a:pt x="0" y="1348"/>
                  </a:moveTo>
                  <a:lnTo>
                    <a:pt x="0" y="1348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" name="Freeform 280"/>
            <p:cNvSpPr>
              <a:spLocks/>
            </p:cNvSpPr>
            <p:nvPr/>
          </p:nvSpPr>
          <p:spPr bwMode="auto">
            <a:xfrm>
              <a:off x="6799263" y="544513"/>
              <a:ext cx="0" cy="454025"/>
            </a:xfrm>
            <a:custGeom>
              <a:avLst/>
              <a:gdLst>
                <a:gd name="T0" fmla="*/ 1424 h 1424"/>
                <a:gd name="T1" fmla="*/ 1424 h 1424"/>
                <a:gd name="T2" fmla="*/ 0 h 142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424">
                  <a:moveTo>
                    <a:pt x="0" y="1424"/>
                  </a:moveTo>
                  <a:lnTo>
                    <a:pt x="0" y="1424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3" name="Freeform 281"/>
            <p:cNvSpPr>
              <a:spLocks/>
            </p:cNvSpPr>
            <p:nvPr/>
          </p:nvSpPr>
          <p:spPr bwMode="auto">
            <a:xfrm>
              <a:off x="6840538" y="519113"/>
              <a:ext cx="0" cy="479425"/>
            </a:xfrm>
            <a:custGeom>
              <a:avLst/>
              <a:gdLst>
                <a:gd name="T0" fmla="*/ 1500 h 1500"/>
                <a:gd name="T1" fmla="*/ 1500 h 1500"/>
                <a:gd name="T2" fmla="*/ 0 h 150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500">
                  <a:moveTo>
                    <a:pt x="0" y="1500"/>
                  </a:moveTo>
                  <a:lnTo>
                    <a:pt x="0" y="1500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" name="Freeform 282"/>
            <p:cNvSpPr>
              <a:spLocks/>
            </p:cNvSpPr>
            <p:nvPr/>
          </p:nvSpPr>
          <p:spPr bwMode="auto">
            <a:xfrm>
              <a:off x="6880225" y="495301"/>
              <a:ext cx="0" cy="503238"/>
            </a:xfrm>
            <a:custGeom>
              <a:avLst/>
              <a:gdLst>
                <a:gd name="T0" fmla="*/ 1575 h 1575"/>
                <a:gd name="T1" fmla="*/ 1575 h 1575"/>
                <a:gd name="T2" fmla="*/ 0 h 157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575">
                  <a:moveTo>
                    <a:pt x="0" y="1575"/>
                  </a:moveTo>
                  <a:lnTo>
                    <a:pt x="0" y="157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" name="Freeform 283"/>
            <p:cNvSpPr>
              <a:spLocks/>
            </p:cNvSpPr>
            <p:nvPr/>
          </p:nvSpPr>
          <p:spPr bwMode="auto">
            <a:xfrm>
              <a:off x="6921500" y="471488"/>
              <a:ext cx="0" cy="527050"/>
            </a:xfrm>
            <a:custGeom>
              <a:avLst/>
              <a:gdLst>
                <a:gd name="T0" fmla="*/ 1651 h 1651"/>
                <a:gd name="T1" fmla="*/ 1651 h 1651"/>
                <a:gd name="T2" fmla="*/ 0 h 165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51">
                  <a:moveTo>
                    <a:pt x="0" y="1651"/>
                  </a:moveTo>
                  <a:lnTo>
                    <a:pt x="0" y="1651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" name="Freeform 284"/>
            <p:cNvSpPr>
              <a:spLocks/>
            </p:cNvSpPr>
            <p:nvPr/>
          </p:nvSpPr>
          <p:spPr bwMode="auto">
            <a:xfrm>
              <a:off x="6962775" y="447676"/>
              <a:ext cx="0" cy="550863"/>
            </a:xfrm>
            <a:custGeom>
              <a:avLst/>
              <a:gdLst>
                <a:gd name="T0" fmla="*/ 1727 h 1727"/>
                <a:gd name="T1" fmla="*/ 1727 h 1727"/>
                <a:gd name="T2" fmla="*/ 0 h 17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27">
                  <a:moveTo>
                    <a:pt x="0" y="1727"/>
                  </a:moveTo>
                  <a:lnTo>
                    <a:pt x="0" y="1727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" name="Freeform 285"/>
            <p:cNvSpPr>
              <a:spLocks/>
            </p:cNvSpPr>
            <p:nvPr/>
          </p:nvSpPr>
          <p:spPr bwMode="auto">
            <a:xfrm>
              <a:off x="6718300" y="422276"/>
              <a:ext cx="284163" cy="576263"/>
            </a:xfrm>
            <a:custGeom>
              <a:avLst/>
              <a:gdLst>
                <a:gd name="T0" fmla="*/ 891 w 891"/>
                <a:gd name="T1" fmla="*/ 1803 h 1803"/>
                <a:gd name="T2" fmla="*/ 891 w 891"/>
                <a:gd name="T3" fmla="*/ 1803 h 1803"/>
                <a:gd name="T4" fmla="*/ 891 w 891"/>
                <a:gd name="T5" fmla="*/ 0 h 1803"/>
                <a:gd name="T6" fmla="*/ 0 w 891"/>
                <a:gd name="T7" fmla="*/ 531 h 1803"/>
                <a:gd name="T8" fmla="*/ 0 w 891"/>
                <a:gd name="T9" fmla="*/ 1803 h 1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1" h="1803">
                  <a:moveTo>
                    <a:pt x="891" y="1803"/>
                  </a:moveTo>
                  <a:lnTo>
                    <a:pt x="891" y="1803"/>
                  </a:lnTo>
                  <a:lnTo>
                    <a:pt x="891" y="0"/>
                  </a:lnTo>
                  <a:lnTo>
                    <a:pt x="0" y="531"/>
                  </a:lnTo>
                  <a:lnTo>
                    <a:pt x="0" y="1803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" name="Freeform 286"/>
            <p:cNvSpPr>
              <a:spLocks/>
            </p:cNvSpPr>
            <p:nvPr/>
          </p:nvSpPr>
          <p:spPr bwMode="auto">
            <a:xfrm>
              <a:off x="6661150" y="1001713"/>
              <a:ext cx="471488" cy="0"/>
            </a:xfrm>
            <a:custGeom>
              <a:avLst/>
              <a:gdLst>
                <a:gd name="T0" fmla="*/ 0 w 1475"/>
                <a:gd name="T1" fmla="*/ 0 w 1475"/>
                <a:gd name="T2" fmla="*/ 1475 w 147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475">
                  <a:moveTo>
                    <a:pt x="0" y="0"/>
                  </a:moveTo>
                  <a:lnTo>
                    <a:pt x="0" y="0"/>
                  </a:lnTo>
                  <a:lnTo>
                    <a:pt x="1475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" name="Freeform 287"/>
            <p:cNvSpPr>
              <a:spLocks/>
            </p:cNvSpPr>
            <p:nvPr/>
          </p:nvSpPr>
          <p:spPr bwMode="auto">
            <a:xfrm>
              <a:off x="7170738" y="1001713"/>
              <a:ext cx="144463" cy="0"/>
            </a:xfrm>
            <a:custGeom>
              <a:avLst/>
              <a:gdLst>
                <a:gd name="T0" fmla="*/ 0 w 453"/>
                <a:gd name="T1" fmla="*/ 0 w 453"/>
                <a:gd name="T2" fmla="*/ 453 w 4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53">
                  <a:moveTo>
                    <a:pt x="0" y="0"/>
                  </a:moveTo>
                  <a:lnTo>
                    <a:pt x="0" y="0"/>
                  </a:lnTo>
                  <a:lnTo>
                    <a:pt x="453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" name="Freeform 288"/>
            <p:cNvSpPr>
              <a:spLocks noEditPoints="1"/>
            </p:cNvSpPr>
            <p:nvPr/>
          </p:nvSpPr>
          <p:spPr bwMode="auto">
            <a:xfrm>
              <a:off x="7616825" y="427038"/>
              <a:ext cx="244475" cy="581025"/>
            </a:xfrm>
            <a:custGeom>
              <a:avLst/>
              <a:gdLst>
                <a:gd name="T0" fmla="*/ 0 w 765"/>
                <a:gd name="T1" fmla="*/ 1802 h 1815"/>
                <a:gd name="T2" fmla="*/ 0 w 765"/>
                <a:gd name="T3" fmla="*/ 1802 h 1815"/>
                <a:gd name="T4" fmla="*/ 0 w 765"/>
                <a:gd name="T5" fmla="*/ 0 h 1815"/>
                <a:gd name="T6" fmla="*/ 765 w 765"/>
                <a:gd name="T7" fmla="*/ 0 h 1815"/>
                <a:gd name="T8" fmla="*/ 765 w 765"/>
                <a:gd name="T9" fmla="*/ 1815 h 1815"/>
                <a:gd name="T10" fmla="*/ 327 w 765"/>
                <a:gd name="T11" fmla="*/ 317 h 1815"/>
                <a:gd name="T12" fmla="*/ 327 w 765"/>
                <a:gd name="T13" fmla="*/ 317 h 1815"/>
                <a:gd name="T14" fmla="*/ 327 w 765"/>
                <a:gd name="T15" fmla="*/ 100 h 1815"/>
                <a:gd name="T16" fmla="*/ 443 w 765"/>
                <a:gd name="T17" fmla="*/ 100 h 1815"/>
                <a:gd name="T18" fmla="*/ 494 w 765"/>
                <a:gd name="T19" fmla="*/ 317 h 1815"/>
                <a:gd name="T20" fmla="*/ 494 w 765"/>
                <a:gd name="T21" fmla="*/ 317 h 1815"/>
                <a:gd name="T22" fmla="*/ 494 w 765"/>
                <a:gd name="T23" fmla="*/ 100 h 1815"/>
                <a:gd name="T24" fmla="*/ 610 w 765"/>
                <a:gd name="T25" fmla="*/ 100 h 1815"/>
                <a:gd name="T26" fmla="*/ 489 w 765"/>
                <a:gd name="T27" fmla="*/ 616 h 1815"/>
                <a:gd name="T28" fmla="*/ 489 w 765"/>
                <a:gd name="T29" fmla="*/ 616 h 1815"/>
                <a:gd name="T30" fmla="*/ 489 w 765"/>
                <a:gd name="T31" fmla="*/ 399 h 1815"/>
                <a:gd name="T32" fmla="*/ 605 w 765"/>
                <a:gd name="T33" fmla="*/ 399 h 1815"/>
                <a:gd name="T34" fmla="*/ 155 w 765"/>
                <a:gd name="T35" fmla="*/ 616 h 1815"/>
                <a:gd name="T36" fmla="*/ 155 w 765"/>
                <a:gd name="T37" fmla="*/ 616 h 1815"/>
                <a:gd name="T38" fmla="*/ 155 w 765"/>
                <a:gd name="T39" fmla="*/ 399 h 1815"/>
                <a:gd name="T40" fmla="*/ 271 w 765"/>
                <a:gd name="T41" fmla="*/ 399 h 1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5" h="1815">
                  <a:moveTo>
                    <a:pt x="0" y="1802"/>
                  </a:moveTo>
                  <a:lnTo>
                    <a:pt x="0" y="1802"/>
                  </a:lnTo>
                  <a:lnTo>
                    <a:pt x="0" y="0"/>
                  </a:lnTo>
                  <a:lnTo>
                    <a:pt x="765" y="0"/>
                  </a:lnTo>
                  <a:lnTo>
                    <a:pt x="765" y="1815"/>
                  </a:lnTo>
                  <a:moveTo>
                    <a:pt x="327" y="317"/>
                  </a:moveTo>
                  <a:lnTo>
                    <a:pt x="327" y="317"/>
                  </a:lnTo>
                  <a:lnTo>
                    <a:pt x="327" y="100"/>
                  </a:lnTo>
                  <a:lnTo>
                    <a:pt x="443" y="100"/>
                  </a:lnTo>
                  <a:moveTo>
                    <a:pt x="494" y="317"/>
                  </a:moveTo>
                  <a:lnTo>
                    <a:pt x="494" y="317"/>
                  </a:lnTo>
                  <a:lnTo>
                    <a:pt x="494" y="100"/>
                  </a:lnTo>
                  <a:lnTo>
                    <a:pt x="610" y="100"/>
                  </a:lnTo>
                  <a:moveTo>
                    <a:pt x="489" y="616"/>
                  </a:moveTo>
                  <a:lnTo>
                    <a:pt x="489" y="616"/>
                  </a:lnTo>
                  <a:lnTo>
                    <a:pt x="489" y="399"/>
                  </a:lnTo>
                  <a:lnTo>
                    <a:pt x="605" y="399"/>
                  </a:lnTo>
                  <a:moveTo>
                    <a:pt x="155" y="616"/>
                  </a:moveTo>
                  <a:lnTo>
                    <a:pt x="155" y="616"/>
                  </a:lnTo>
                  <a:lnTo>
                    <a:pt x="155" y="399"/>
                  </a:lnTo>
                  <a:lnTo>
                    <a:pt x="271" y="399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" name="Freeform 289"/>
            <p:cNvSpPr>
              <a:spLocks noEditPoints="1"/>
            </p:cNvSpPr>
            <p:nvPr/>
          </p:nvSpPr>
          <p:spPr bwMode="auto">
            <a:xfrm>
              <a:off x="7372350" y="557213"/>
              <a:ext cx="242888" cy="450850"/>
            </a:xfrm>
            <a:custGeom>
              <a:avLst/>
              <a:gdLst>
                <a:gd name="T0" fmla="*/ 0 w 764"/>
                <a:gd name="T1" fmla="*/ 1410 h 1410"/>
                <a:gd name="T2" fmla="*/ 0 w 764"/>
                <a:gd name="T3" fmla="*/ 1410 h 1410"/>
                <a:gd name="T4" fmla="*/ 0 w 764"/>
                <a:gd name="T5" fmla="*/ 0 h 1410"/>
                <a:gd name="T6" fmla="*/ 764 w 764"/>
                <a:gd name="T7" fmla="*/ 0 h 1410"/>
                <a:gd name="T8" fmla="*/ 327 w 764"/>
                <a:gd name="T9" fmla="*/ 311 h 1410"/>
                <a:gd name="T10" fmla="*/ 327 w 764"/>
                <a:gd name="T11" fmla="*/ 311 h 1410"/>
                <a:gd name="T12" fmla="*/ 327 w 764"/>
                <a:gd name="T13" fmla="*/ 95 h 1410"/>
                <a:gd name="T14" fmla="*/ 443 w 764"/>
                <a:gd name="T15" fmla="*/ 95 h 1410"/>
                <a:gd name="T16" fmla="*/ 160 w 764"/>
                <a:gd name="T17" fmla="*/ 579 h 1410"/>
                <a:gd name="T18" fmla="*/ 160 w 764"/>
                <a:gd name="T19" fmla="*/ 579 h 1410"/>
                <a:gd name="T20" fmla="*/ 160 w 764"/>
                <a:gd name="T21" fmla="*/ 362 h 1410"/>
                <a:gd name="T22" fmla="*/ 276 w 764"/>
                <a:gd name="T23" fmla="*/ 362 h 1410"/>
                <a:gd name="T24" fmla="*/ 494 w 764"/>
                <a:gd name="T25" fmla="*/ 311 h 1410"/>
                <a:gd name="T26" fmla="*/ 494 w 764"/>
                <a:gd name="T27" fmla="*/ 311 h 1410"/>
                <a:gd name="T28" fmla="*/ 494 w 764"/>
                <a:gd name="T29" fmla="*/ 95 h 1410"/>
                <a:gd name="T30" fmla="*/ 610 w 764"/>
                <a:gd name="T31" fmla="*/ 95 h 1410"/>
                <a:gd name="T32" fmla="*/ 494 w 764"/>
                <a:gd name="T33" fmla="*/ 579 h 1410"/>
                <a:gd name="T34" fmla="*/ 494 w 764"/>
                <a:gd name="T35" fmla="*/ 579 h 1410"/>
                <a:gd name="T36" fmla="*/ 494 w 764"/>
                <a:gd name="T37" fmla="*/ 362 h 1410"/>
                <a:gd name="T38" fmla="*/ 610 w 764"/>
                <a:gd name="T39" fmla="*/ 362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4" h="1410">
                  <a:moveTo>
                    <a:pt x="0" y="1410"/>
                  </a:moveTo>
                  <a:lnTo>
                    <a:pt x="0" y="1410"/>
                  </a:lnTo>
                  <a:lnTo>
                    <a:pt x="0" y="0"/>
                  </a:lnTo>
                  <a:lnTo>
                    <a:pt x="764" y="0"/>
                  </a:lnTo>
                  <a:moveTo>
                    <a:pt x="327" y="311"/>
                  </a:moveTo>
                  <a:lnTo>
                    <a:pt x="327" y="311"/>
                  </a:lnTo>
                  <a:lnTo>
                    <a:pt x="327" y="95"/>
                  </a:lnTo>
                  <a:lnTo>
                    <a:pt x="443" y="95"/>
                  </a:lnTo>
                  <a:moveTo>
                    <a:pt x="160" y="579"/>
                  </a:moveTo>
                  <a:lnTo>
                    <a:pt x="160" y="579"/>
                  </a:lnTo>
                  <a:lnTo>
                    <a:pt x="160" y="362"/>
                  </a:lnTo>
                  <a:lnTo>
                    <a:pt x="276" y="362"/>
                  </a:lnTo>
                  <a:moveTo>
                    <a:pt x="494" y="311"/>
                  </a:moveTo>
                  <a:lnTo>
                    <a:pt x="494" y="311"/>
                  </a:lnTo>
                  <a:lnTo>
                    <a:pt x="494" y="95"/>
                  </a:lnTo>
                  <a:lnTo>
                    <a:pt x="610" y="95"/>
                  </a:lnTo>
                  <a:moveTo>
                    <a:pt x="494" y="579"/>
                  </a:moveTo>
                  <a:lnTo>
                    <a:pt x="494" y="579"/>
                  </a:lnTo>
                  <a:lnTo>
                    <a:pt x="494" y="362"/>
                  </a:lnTo>
                  <a:lnTo>
                    <a:pt x="610" y="362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" name="Freeform 290"/>
            <p:cNvSpPr>
              <a:spLocks noEditPoints="1"/>
            </p:cNvSpPr>
            <p:nvPr/>
          </p:nvSpPr>
          <p:spPr bwMode="auto">
            <a:xfrm>
              <a:off x="7418388" y="762001"/>
              <a:ext cx="144463" cy="69850"/>
            </a:xfrm>
            <a:custGeom>
              <a:avLst/>
              <a:gdLst>
                <a:gd name="T0" fmla="*/ 0 w 450"/>
                <a:gd name="T1" fmla="*/ 216 h 216"/>
                <a:gd name="T2" fmla="*/ 0 w 450"/>
                <a:gd name="T3" fmla="*/ 216 h 216"/>
                <a:gd name="T4" fmla="*/ 0 w 450"/>
                <a:gd name="T5" fmla="*/ 0 h 216"/>
                <a:gd name="T6" fmla="*/ 116 w 450"/>
                <a:gd name="T7" fmla="*/ 0 h 216"/>
                <a:gd name="T8" fmla="*/ 334 w 450"/>
                <a:gd name="T9" fmla="*/ 216 h 216"/>
                <a:gd name="T10" fmla="*/ 334 w 450"/>
                <a:gd name="T11" fmla="*/ 216 h 216"/>
                <a:gd name="T12" fmla="*/ 334 w 450"/>
                <a:gd name="T13" fmla="*/ 0 h 216"/>
                <a:gd name="T14" fmla="*/ 450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" name="Freeform 291"/>
            <p:cNvSpPr>
              <a:spLocks noEditPoints="1"/>
            </p:cNvSpPr>
            <p:nvPr/>
          </p:nvSpPr>
          <p:spPr bwMode="auto">
            <a:xfrm>
              <a:off x="7418388" y="762001"/>
              <a:ext cx="144463" cy="69850"/>
            </a:xfrm>
            <a:custGeom>
              <a:avLst/>
              <a:gdLst>
                <a:gd name="T0" fmla="*/ 0 w 450"/>
                <a:gd name="T1" fmla="*/ 216 h 216"/>
                <a:gd name="T2" fmla="*/ 0 w 450"/>
                <a:gd name="T3" fmla="*/ 216 h 216"/>
                <a:gd name="T4" fmla="*/ 0 w 450"/>
                <a:gd name="T5" fmla="*/ 0 h 216"/>
                <a:gd name="T6" fmla="*/ 116 w 450"/>
                <a:gd name="T7" fmla="*/ 0 h 216"/>
                <a:gd name="T8" fmla="*/ 334 w 450"/>
                <a:gd name="T9" fmla="*/ 216 h 216"/>
                <a:gd name="T10" fmla="*/ 334 w 450"/>
                <a:gd name="T11" fmla="*/ 216 h 216"/>
                <a:gd name="T12" fmla="*/ 334 w 450"/>
                <a:gd name="T13" fmla="*/ 0 h 216"/>
                <a:gd name="T14" fmla="*/ 450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" name="Freeform 292"/>
            <p:cNvSpPr>
              <a:spLocks noEditPoints="1"/>
            </p:cNvSpPr>
            <p:nvPr/>
          </p:nvSpPr>
          <p:spPr bwMode="auto">
            <a:xfrm>
              <a:off x="7418388" y="854076"/>
              <a:ext cx="144463" cy="68263"/>
            </a:xfrm>
            <a:custGeom>
              <a:avLst/>
              <a:gdLst>
                <a:gd name="T0" fmla="*/ 0 w 450"/>
                <a:gd name="T1" fmla="*/ 216 h 216"/>
                <a:gd name="T2" fmla="*/ 0 w 450"/>
                <a:gd name="T3" fmla="*/ 216 h 216"/>
                <a:gd name="T4" fmla="*/ 0 w 450"/>
                <a:gd name="T5" fmla="*/ 0 h 216"/>
                <a:gd name="T6" fmla="*/ 116 w 450"/>
                <a:gd name="T7" fmla="*/ 0 h 216"/>
                <a:gd name="T8" fmla="*/ 334 w 450"/>
                <a:gd name="T9" fmla="*/ 216 h 216"/>
                <a:gd name="T10" fmla="*/ 334 w 450"/>
                <a:gd name="T11" fmla="*/ 216 h 216"/>
                <a:gd name="T12" fmla="*/ 334 w 450"/>
                <a:gd name="T13" fmla="*/ 0 h 216"/>
                <a:gd name="T14" fmla="*/ 450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" name="Freeform 293"/>
            <p:cNvSpPr>
              <a:spLocks noEditPoints="1"/>
            </p:cNvSpPr>
            <p:nvPr/>
          </p:nvSpPr>
          <p:spPr bwMode="auto">
            <a:xfrm>
              <a:off x="7418388" y="854076"/>
              <a:ext cx="144463" cy="68263"/>
            </a:xfrm>
            <a:custGeom>
              <a:avLst/>
              <a:gdLst>
                <a:gd name="T0" fmla="*/ 0 w 450"/>
                <a:gd name="T1" fmla="*/ 216 h 216"/>
                <a:gd name="T2" fmla="*/ 0 w 450"/>
                <a:gd name="T3" fmla="*/ 216 h 216"/>
                <a:gd name="T4" fmla="*/ 0 w 450"/>
                <a:gd name="T5" fmla="*/ 0 h 216"/>
                <a:gd name="T6" fmla="*/ 116 w 450"/>
                <a:gd name="T7" fmla="*/ 0 h 216"/>
                <a:gd name="T8" fmla="*/ 334 w 450"/>
                <a:gd name="T9" fmla="*/ 216 h 216"/>
                <a:gd name="T10" fmla="*/ 334 w 450"/>
                <a:gd name="T11" fmla="*/ 216 h 216"/>
                <a:gd name="T12" fmla="*/ 334 w 450"/>
                <a:gd name="T13" fmla="*/ 0 h 216"/>
                <a:gd name="T14" fmla="*/ 450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" name="Freeform 294"/>
            <p:cNvSpPr>
              <a:spLocks noEditPoints="1"/>
            </p:cNvSpPr>
            <p:nvPr/>
          </p:nvSpPr>
          <p:spPr bwMode="auto">
            <a:xfrm>
              <a:off x="7666038" y="650876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" name="Freeform 295"/>
            <p:cNvSpPr>
              <a:spLocks noEditPoints="1"/>
            </p:cNvSpPr>
            <p:nvPr/>
          </p:nvSpPr>
          <p:spPr bwMode="auto">
            <a:xfrm>
              <a:off x="7666038" y="650876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" name="Freeform 296"/>
            <p:cNvSpPr>
              <a:spLocks noEditPoints="1"/>
            </p:cNvSpPr>
            <p:nvPr/>
          </p:nvSpPr>
          <p:spPr bwMode="auto">
            <a:xfrm>
              <a:off x="7666038" y="749301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" name="Freeform 297"/>
            <p:cNvSpPr>
              <a:spLocks noEditPoints="1"/>
            </p:cNvSpPr>
            <p:nvPr/>
          </p:nvSpPr>
          <p:spPr bwMode="auto">
            <a:xfrm>
              <a:off x="7666038" y="749301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" name="Freeform 298"/>
            <p:cNvSpPr>
              <a:spLocks noEditPoints="1"/>
            </p:cNvSpPr>
            <p:nvPr/>
          </p:nvSpPr>
          <p:spPr bwMode="auto">
            <a:xfrm>
              <a:off x="7666038" y="847726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" name="Freeform 299"/>
            <p:cNvSpPr>
              <a:spLocks noEditPoints="1"/>
            </p:cNvSpPr>
            <p:nvPr/>
          </p:nvSpPr>
          <p:spPr bwMode="auto">
            <a:xfrm>
              <a:off x="7666038" y="847726"/>
              <a:ext cx="144463" cy="68263"/>
            </a:xfrm>
            <a:custGeom>
              <a:avLst/>
              <a:gdLst>
                <a:gd name="T0" fmla="*/ 334 w 450"/>
                <a:gd name="T1" fmla="*/ 216 h 216"/>
                <a:gd name="T2" fmla="*/ 334 w 450"/>
                <a:gd name="T3" fmla="*/ 216 h 216"/>
                <a:gd name="T4" fmla="*/ 334 w 450"/>
                <a:gd name="T5" fmla="*/ 0 h 216"/>
                <a:gd name="T6" fmla="*/ 450 w 450"/>
                <a:gd name="T7" fmla="*/ 0 h 216"/>
                <a:gd name="T8" fmla="*/ 0 w 450"/>
                <a:gd name="T9" fmla="*/ 216 h 216"/>
                <a:gd name="T10" fmla="*/ 0 w 450"/>
                <a:gd name="T11" fmla="*/ 216 h 216"/>
                <a:gd name="T12" fmla="*/ 0 w 450"/>
                <a:gd name="T13" fmla="*/ 0 h 216"/>
                <a:gd name="T14" fmla="*/ 116 w 450"/>
                <a:gd name="T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216">
                  <a:moveTo>
                    <a:pt x="334" y="216"/>
                  </a:moveTo>
                  <a:lnTo>
                    <a:pt x="334" y="216"/>
                  </a:lnTo>
                  <a:lnTo>
                    <a:pt x="334" y="0"/>
                  </a:lnTo>
                  <a:lnTo>
                    <a:pt x="450" y="0"/>
                  </a:lnTo>
                  <a:moveTo>
                    <a:pt x="0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16" y="0"/>
                  </a:lnTo>
                </a:path>
              </a:pathLst>
            </a:custGeom>
            <a:noFill/>
            <a:ln w="9525" cap="flat">
              <a:solidFill>
                <a:srgbClr val="00184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 flipH="1">
            <a:off x="5150707" y="1738826"/>
            <a:ext cx="1537768" cy="315580"/>
            <a:chOff x="4986299" y="2511671"/>
            <a:chExt cx="4336370" cy="889905"/>
          </a:xfrm>
        </p:grpSpPr>
        <p:sp>
          <p:nvSpPr>
            <p:cNvPr id="122" name="Freeform 6"/>
            <p:cNvSpPr>
              <a:spLocks/>
            </p:cNvSpPr>
            <p:nvPr/>
          </p:nvSpPr>
          <p:spPr bwMode="auto">
            <a:xfrm flipH="1">
              <a:off x="7340561" y="2554008"/>
              <a:ext cx="970862" cy="277392"/>
            </a:xfrm>
            <a:custGeom>
              <a:avLst/>
              <a:gdLst>
                <a:gd name="T0" fmla="*/ 29 w 32"/>
                <a:gd name="T1" fmla="*/ 1 h 9"/>
                <a:gd name="T2" fmla="*/ 0 w 32"/>
                <a:gd name="T3" fmla="*/ 9 h 9"/>
                <a:gd name="T4" fmla="*/ 28 w 32"/>
                <a:gd name="T5" fmla="*/ 9 h 9"/>
                <a:gd name="T6" fmla="*/ 32 w 32"/>
                <a:gd name="T7" fmla="*/ 5 h 9"/>
                <a:gd name="T8" fmla="*/ 32 w 32"/>
                <a:gd name="T9" fmla="*/ 1 h 9"/>
                <a:gd name="T10" fmla="*/ 29 w 32"/>
                <a:gd name="T1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9">
                  <a:moveTo>
                    <a:pt x="29" y="1"/>
                  </a:moveTo>
                  <a:cubicBezTo>
                    <a:pt x="13" y="0"/>
                    <a:pt x="0" y="9"/>
                    <a:pt x="0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0" y="9"/>
                    <a:pt x="32" y="7"/>
                    <a:pt x="32" y="5"/>
                  </a:cubicBezTo>
                  <a:cubicBezTo>
                    <a:pt x="32" y="1"/>
                    <a:pt x="32" y="1"/>
                    <a:pt x="32" y="1"/>
                  </a:cubicBezTo>
                  <a:lnTo>
                    <a:pt x="29" y="1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3" name="Line 7"/>
            <p:cNvSpPr>
              <a:spLocks noChangeShapeType="1"/>
            </p:cNvSpPr>
            <p:nvPr/>
          </p:nvSpPr>
          <p:spPr bwMode="auto">
            <a:xfrm flipH="1">
              <a:off x="4986299" y="3339934"/>
              <a:ext cx="4336370" cy="0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4" name="Line 8"/>
            <p:cNvSpPr>
              <a:spLocks noChangeShapeType="1"/>
            </p:cNvSpPr>
            <p:nvPr/>
          </p:nvSpPr>
          <p:spPr bwMode="auto">
            <a:xfrm flipH="1">
              <a:off x="9019596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5" name="Line 9"/>
            <p:cNvSpPr>
              <a:spLocks noChangeShapeType="1"/>
            </p:cNvSpPr>
            <p:nvPr/>
          </p:nvSpPr>
          <p:spPr bwMode="auto">
            <a:xfrm flipH="1">
              <a:off x="8408313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6" name="Line 10"/>
            <p:cNvSpPr>
              <a:spLocks noChangeShapeType="1"/>
            </p:cNvSpPr>
            <p:nvPr/>
          </p:nvSpPr>
          <p:spPr bwMode="auto">
            <a:xfrm flipH="1">
              <a:off x="8408313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7" name="Line 11"/>
            <p:cNvSpPr>
              <a:spLocks noChangeShapeType="1"/>
            </p:cNvSpPr>
            <p:nvPr/>
          </p:nvSpPr>
          <p:spPr bwMode="auto">
            <a:xfrm flipH="1">
              <a:off x="7832987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8" name="Line 12"/>
            <p:cNvSpPr>
              <a:spLocks noChangeShapeType="1"/>
            </p:cNvSpPr>
            <p:nvPr/>
          </p:nvSpPr>
          <p:spPr bwMode="auto">
            <a:xfrm flipH="1">
              <a:off x="7832987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" name="Line 13"/>
            <p:cNvSpPr>
              <a:spLocks noChangeShapeType="1"/>
            </p:cNvSpPr>
            <p:nvPr/>
          </p:nvSpPr>
          <p:spPr bwMode="auto">
            <a:xfrm flipH="1">
              <a:off x="7226840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0" name="Line 14"/>
            <p:cNvSpPr>
              <a:spLocks noChangeShapeType="1"/>
            </p:cNvSpPr>
            <p:nvPr/>
          </p:nvSpPr>
          <p:spPr bwMode="auto">
            <a:xfrm flipH="1">
              <a:off x="7226840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1" name="Line 15"/>
            <p:cNvSpPr>
              <a:spLocks noChangeShapeType="1"/>
            </p:cNvSpPr>
            <p:nvPr/>
          </p:nvSpPr>
          <p:spPr bwMode="auto">
            <a:xfrm flipH="1">
              <a:off x="6651515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2" name="Line 16"/>
            <p:cNvSpPr>
              <a:spLocks noChangeShapeType="1"/>
            </p:cNvSpPr>
            <p:nvPr/>
          </p:nvSpPr>
          <p:spPr bwMode="auto">
            <a:xfrm flipH="1">
              <a:off x="6651515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3" name="Line 17"/>
            <p:cNvSpPr>
              <a:spLocks noChangeShapeType="1"/>
            </p:cNvSpPr>
            <p:nvPr/>
          </p:nvSpPr>
          <p:spPr bwMode="auto">
            <a:xfrm flipH="1">
              <a:off x="6045368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" name="Line 18"/>
            <p:cNvSpPr>
              <a:spLocks noChangeShapeType="1"/>
            </p:cNvSpPr>
            <p:nvPr/>
          </p:nvSpPr>
          <p:spPr bwMode="auto">
            <a:xfrm flipH="1">
              <a:off x="6045368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" name="Line 19"/>
            <p:cNvSpPr>
              <a:spLocks noChangeShapeType="1"/>
            </p:cNvSpPr>
            <p:nvPr/>
          </p:nvSpPr>
          <p:spPr bwMode="auto">
            <a:xfrm flipH="1">
              <a:off x="5470040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" name="Line 20"/>
            <p:cNvSpPr>
              <a:spLocks noChangeShapeType="1"/>
            </p:cNvSpPr>
            <p:nvPr/>
          </p:nvSpPr>
          <p:spPr bwMode="auto">
            <a:xfrm flipH="1">
              <a:off x="5470040" y="3309113"/>
              <a:ext cx="0" cy="92463"/>
            </a:xfrm>
            <a:prstGeom prst="line">
              <a:avLst/>
            </a:pr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" name="Freeform 48"/>
            <p:cNvSpPr>
              <a:spLocks/>
            </p:cNvSpPr>
            <p:nvPr/>
          </p:nvSpPr>
          <p:spPr bwMode="auto">
            <a:xfrm flipH="1">
              <a:off x="6862123" y="2584827"/>
              <a:ext cx="246568" cy="277392"/>
            </a:xfrm>
            <a:custGeom>
              <a:avLst/>
              <a:gdLst>
                <a:gd name="T0" fmla="*/ 0 w 48"/>
                <a:gd name="T1" fmla="*/ 0 h 54"/>
                <a:gd name="T2" fmla="*/ 0 w 48"/>
                <a:gd name="T3" fmla="*/ 54 h 54"/>
                <a:gd name="T4" fmla="*/ 48 w 48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4">
                  <a:moveTo>
                    <a:pt x="0" y="0"/>
                  </a:moveTo>
                  <a:lnTo>
                    <a:pt x="0" y="54"/>
                  </a:lnTo>
                  <a:lnTo>
                    <a:pt x="48" y="54"/>
                  </a:lnTo>
                </a:path>
              </a:pathLst>
            </a:cu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" name="Freeform 49"/>
            <p:cNvSpPr>
              <a:spLocks/>
            </p:cNvSpPr>
            <p:nvPr/>
          </p:nvSpPr>
          <p:spPr bwMode="auto">
            <a:xfrm flipH="1">
              <a:off x="6255976" y="2584827"/>
              <a:ext cx="215747" cy="277392"/>
            </a:xfrm>
            <a:custGeom>
              <a:avLst/>
              <a:gdLst>
                <a:gd name="T0" fmla="*/ 0 w 42"/>
                <a:gd name="T1" fmla="*/ 0 h 54"/>
                <a:gd name="T2" fmla="*/ 0 w 42"/>
                <a:gd name="T3" fmla="*/ 54 h 54"/>
                <a:gd name="T4" fmla="*/ 42 w 42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54">
                  <a:moveTo>
                    <a:pt x="0" y="0"/>
                  </a:moveTo>
                  <a:lnTo>
                    <a:pt x="0" y="54"/>
                  </a:lnTo>
                  <a:lnTo>
                    <a:pt x="42" y="54"/>
                  </a:lnTo>
                </a:path>
              </a:pathLst>
            </a:cu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9" name="Freeform 50"/>
            <p:cNvSpPr>
              <a:spLocks/>
            </p:cNvSpPr>
            <p:nvPr/>
          </p:nvSpPr>
          <p:spPr bwMode="auto">
            <a:xfrm flipH="1">
              <a:off x="5619008" y="2584827"/>
              <a:ext cx="246568" cy="277392"/>
            </a:xfrm>
            <a:custGeom>
              <a:avLst/>
              <a:gdLst>
                <a:gd name="T0" fmla="*/ 0 w 48"/>
                <a:gd name="T1" fmla="*/ 0 h 54"/>
                <a:gd name="T2" fmla="*/ 0 w 48"/>
                <a:gd name="T3" fmla="*/ 54 h 54"/>
                <a:gd name="T4" fmla="*/ 48 w 48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4">
                  <a:moveTo>
                    <a:pt x="0" y="0"/>
                  </a:moveTo>
                  <a:lnTo>
                    <a:pt x="0" y="54"/>
                  </a:lnTo>
                  <a:lnTo>
                    <a:pt x="48" y="54"/>
                  </a:lnTo>
                </a:path>
              </a:pathLst>
            </a:cu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40" name="Freeform 139"/>
            <p:cNvSpPr/>
            <p:nvPr/>
          </p:nvSpPr>
          <p:spPr>
            <a:xfrm>
              <a:off x="5369678" y="2511671"/>
              <a:ext cx="3508979" cy="830173"/>
            </a:xfrm>
            <a:custGeom>
              <a:avLst/>
              <a:gdLst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447191 w 3537906"/>
                <a:gd name="connsiteY3" fmla="*/ 750894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26237 w 3537906"/>
                <a:gd name="connsiteY8" fmla="*/ 458600 h 831527"/>
                <a:gd name="connsiteX9" fmla="*/ 3285919 w 3537906"/>
                <a:gd name="connsiteY9" fmla="*/ 443481 h 831527"/>
                <a:gd name="connsiteX10" fmla="*/ 3270799 w 3537906"/>
                <a:gd name="connsiteY10" fmla="*/ 428363 h 831527"/>
                <a:gd name="connsiteX11" fmla="*/ 3260720 w 3537906"/>
                <a:gd name="connsiteY11" fmla="*/ 423323 h 831527"/>
                <a:gd name="connsiteX12" fmla="*/ 2877699 w 3537906"/>
                <a:gd name="connsiteY12" fmla="*/ 196543 h 831527"/>
                <a:gd name="connsiteX13" fmla="*/ 2832341 w 3537906"/>
                <a:gd name="connsiteY13" fmla="*/ 181424 h 831527"/>
                <a:gd name="connsiteX14" fmla="*/ 2822261 w 3537906"/>
                <a:gd name="connsiteY14" fmla="*/ 166305 h 831527"/>
                <a:gd name="connsiteX15" fmla="*/ 2797063 w 3537906"/>
                <a:gd name="connsiteY15" fmla="*/ 161266 h 831527"/>
                <a:gd name="connsiteX16" fmla="*/ 2484598 w 3537906"/>
                <a:gd name="connsiteY16" fmla="*/ 40316 h 831527"/>
                <a:gd name="connsiteX17" fmla="*/ 2424121 w 3537906"/>
                <a:gd name="connsiteY17" fmla="*/ 25198 h 831527"/>
                <a:gd name="connsiteX18" fmla="*/ 2398922 w 3537906"/>
                <a:gd name="connsiteY18" fmla="*/ 15119 h 831527"/>
                <a:gd name="connsiteX19" fmla="*/ 2217491 w 3537906"/>
                <a:gd name="connsiteY19" fmla="*/ 0 h 831527"/>
                <a:gd name="connsiteX20" fmla="*/ 0 w 3537906"/>
                <a:gd name="connsiteY20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447191 w 3537906"/>
                <a:gd name="connsiteY3" fmla="*/ 750894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26237 w 3537906"/>
                <a:gd name="connsiteY8" fmla="*/ 458600 h 831527"/>
                <a:gd name="connsiteX9" fmla="*/ 3285919 w 3537906"/>
                <a:gd name="connsiteY9" fmla="*/ 443481 h 831527"/>
                <a:gd name="connsiteX10" fmla="*/ 3270799 w 3537906"/>
                <a:gd name="connsiteY10" fmla="*/ 428363 h 831527"/>
                <a:gd name="connsiteX11" fmla="*/ 3260720 w 3537906"/>
                <a:gd name="connsiteY11" fmla="*/ 423323 h 831527"/>
                <a:gd name="connsiteX12" fmla="*/ 2877699 w 3537906"/>
                <a:gd name="connsiteY12" fmla="*/ 196543 h 831527"/>
                <a:gd name="connsiteX13" fmla="*/ 2832341 w 3537906"/>
                <a:gd name="connsiteY13" fmla="*/ 181424 h 831527"/>
                <a:gd name="connsiteX14" fmla="*/ 2797063 w 3537906"/>
                <a:gd name="connsiteY14" fmla="*/ 161266 h 831527"/>
                <a:gd name="connsiteX15" fmla="*/ 2484598 w 3537906"/>
                <a:gd name="connsiteY15" fmla="*/ 40316 h 831527"/>
                <a:gd name="connsiteX16" fmla="*/ 2424121 w 3537906"/>
                <a:gd name="connsiteY16" fmla="*/ 25198 h 831527"/>
                <a:gd name="connsiteX17" fmla="*/ 2398922 w 3537906"/>
                <a:gd name="connsiteY17" fmla="*/ 15119 h 831527"/>
                <a:gd name="connsiteX18" fmla="*/ 2217491 w 3537906"/>
                <a:gd name="connsiteY18" fmla="*/ 0 h 831527"/>
                <a:gd name="connsiteX19" fmla="*/ 0 w 3537906"/>
                <a:gd name="connsiteY19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447191 w 3537906"/>
                <a:gd name="connsiteY3" fmla="*/ 750894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26237 w 3537906"/>
                <a:gd name="connsiteY8" fmla="*/ 458600 h 831527"/>
                <a:gd name="connsiteX9" fmla="*/ 3270799 w 3537906"/>
                <a:gd name="connsiteY9" fmla="*/ 428363 h 831527"/>
                <a:gd name="connsiteX10" fmla="*/ 3260720 w 3537906"/>
                <a:gd name="connsiteY10" fmla="*/ 423323 h 831527"/>
                <a:gd name="connsiteX11" fmla="*/ 2877699 w 3537906"/>
                <a:gd name="connsiteY11" fmla="*/ 196543 h 831527"/>
                <a:gd name="connsiteX12" fmla="*/ 2832341 w 3537906"/>
                <a:gd name="connsiteY12" fmla="*/ 181424 h 831527"/>
                <a:gd name="connsiteX13" fmla="*/ 2797063 w 3537906"/>
                <a:gd name="connsiteY13" fmla="*/ 161266 h 831527"/>
                <a:gd name="connsiteX14" fmla="*/ 2484598 w 3537906"/>
                <a:gd name="connsiteY14" fmla="*/ 40316 h 831527"/>
                <a:gd name="connsiteX15" fmla="*/ 2424121 w 3537906"/>
                <a:gd name="connsiteY15" fmla="*/ 25198 h 831527"/>
                <a:gd name="connsiteX16" fmla="*/ 2398922 w 3537906"/>
                <a:gd name="connsiteY16" fmla="*/ 15119 h 831527"/>
                <a:gd name="connsiteX17" fmla="*/ 2217491 w 3537906"/>
                <a:gd name="connsiteY17" fmla="*/ 0 h 831527"/>
                <a:gd name="connsiteX18" fmla="*/ 0 w 3537906"/>
                <a:gd name="connsiteY18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447191 w 3537906"/>
                <a:gd name="connsiteY3" fmla="*/ 750894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26237 w 3537906"/>
                <a:gd name="connsiteY8" fmla="*/ 458600 h 831527"/>
                <a:gd name="connsiteX9" fmla="*/ 3270799 w 3537906"/>
                <a:gd name="connsiteY9" fmla="*/ 428363 h 831527"/>
                <a:gd name="connsiteX10" fmla="*/ 2877699 w 3537906"/>
                <a:gd name="connsiteY10" fmla="*/ 196543 h 831527"/>
                <a:gd name="connsiteX11" fmla="*/ 2832341 w 3537906"/>
                <a:gd name="connsiteY11" fmla="*/ 181424 h 831527"/>
                <a:gd name="connsiteX12" fmla="*/ 2797063 w 3537906"/>
                <a:gd name="connsiteY12" fmla="*/ 161266 h 831527"/>
                <a:gd name="connsiteX13" fmla="*/ 2484598 w 3537906"/>
                <a:gd name="connsiteY13" fmla="*/ 40316 h 831527"/>
                <a:gd name="connsiteX14" fmla="*/ 2424121 w 3537906"/>
                <a:gd name="connsiteY14" fmla="*/ 25198 h 831527"/>
                <a:gd name="connsiteX15" fmla="*/ 2398922 w 3537906"/>
                <a:gd name="connsiteY15" fmla="*/ 15119 h 831527"/>
                <a:gd name="connsiteX16" fmla="*/ 2217491 w 3537906"/>
                <a:gd name="connsiteY16" fmla="*/ 0 h 831527"/>
                <a:gd name="connsiteX17" fmla="*/ 0 w 3537906"/>
                <a:gd name="connsiteY17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447191 w 3537906"/>
                <a:gd name="connsiteY3" fmla="*/ 750894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68981 w 3537906"/>
                <a:gd name="connsiteY8" fmla="*/ 493571 h 831527"/>
                <a:gd name="connsiteX9" fmla="*/ 3270799 w 3537906"/>
                <a:gd name="connsiteY9" fmla="*/ 428363 h 831527"/>
                <a:gd name="connsiteX10" fmla="*/ 2877699 w 3537906"/>
                <a:gd name="connsiteY10" fmla="*/ 196543 h 831527"/>
                <a:gd name="connsiteX11" fmla="*/ 2832341 w 3537906"/>
                <a:gd name="connsiteY11" fmla="*/ 181424 h 831527"/>
                <a:gd name="connsiteX12" fmla="*/ 2797063 w 3537906"/>
                <a:gd name="connsiteY12" fmla="*/ 161266 h 831527"/>
                <a:gd name="connsiteX13" fmla="*/ 2484598 w 3537906"/>
                <a:gd name="connsiteY13" fmla="*/ 40316 h 831527"/>
                <a:gd name="connsiteX14" fmla="*/ 2424121 w 3537906"/>
                <a:gd name="connsiteY14" fmla="*/ 25198 h 831527"/>
                <a:gd name="connsiteX15" fmla="*/ 2398922 w 3537906"/>
                <a:gd name="connsiteY15" fmla="*/ 15119 h 831527"/>
                <a:gd name="connsiteX16" fmla="*/ 2217491 w 3537906"/>
                <a:gd name="connsiteY16" fmla="*/ 0 h 831527"/>
                <a:gd name="connsiteX17" fmla="*/ 0 w 3537906"/>
                <a:gd name="connsiteY17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373362 w 3537906"/>
                <a:gd name="connsiteY3" fmla="*/ 789750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68981 w 3537906"/>
                <a:gd name="connsiteY8" fmla="*/ 493571 h 831527"/>
                <a:gd name="connsiteX9" fmla="*/ 3270799 w 3537906"/>
                <a:gd name="connsiteY9" fmla="*/ 428363 h 831527"/>
                <a:gd name="connsiteX10" fmla="*/ 2877699 w 3537906"/>
                <a:gd name="connsiteY10" fmla="*/ 196543 h 831527"/>
                <a:gd name="connsiteX11" fmla="*/ 2832341 w 3537906"/>
                <a:gd name="connsiteY11" fmla="*/ 181424 h 831527"/>
                <a:gd name="connsiteX12" fmla="*/ 2797063 w 3537906"/>
                <a:gd name="connsiteY12" fmla="*/ 161266 h 831527"/>
                <a:gd name="connsiteX13" fmla="*/ 2484598 w 3537906"/>
                <a:gd name="connsiteY13" fmla="*/ 40316 h 831527"/>
                <a:gd name="connsiteX14" fmla="*/ 2424121 w 3537906"/>
                <a:gd name="connsiteY14" fmla="*/ 25198 h 831527"/>
                <a:gd name="connsiteX15" fmla="*/ 2398922 w 3537906"/>
                <a:gd name="connsiteY15" fmla="*/ 15119 h 831527"/>
                <a:gd name="connsiteX16" fmla="*/ 2217491 w 3537906"/>
                <a:gd name="connsiteY16" fmla="*/ 0 h 831527"/>
                <a:gd name="connsiteX17" fmla="*/ 0 w 3537906"/>
                <a:gd name="connsiteY17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373362 w 3537906"/>
                <a:gd name="connsiteY3" fmla="*/ 789750 h 831527"/>
                <a:gd name="connsiteX4" fmla="*/ 3492548 w 3537906"/>
                <a:gd name="connsiteY4" fmla="*/ 705538 h 831527"/>
                <a:gd name="connsiteX5" fmla="*/ 3517747 w 3537906"/>
                <a:gd name="connsiteY5" fmla="*/ 675301 h 831527"/>
                <a:gd name="connsiteX6" fmla="*/ 3527827 w 3537906"/>
                <a:gd name="connsiteY6" fmla="*/ 650103 h 831527"/>
                <a:gd name="connsiteX7" fmla="*/ 3537906 w 3537906"/>
                <a:gd name="connsiteY7" fmla="*/ 629945 h 831527"/>
                <a:gd name="connsiteX8" fmla="*/ 3368981 w 3537906"/>
                <a:gd name="connsiteY8" fmla="*/ 493571 h 831527"/>
                <a:gd name="connsiteX9" fmla="*/ 3270799 w 3537906"/>
                <a:gd name="connsiteY9" fmla="*/ 428363 h 831527"/>
                <a:gd name="connsiteX10" fmla="*/ 2877699 w 3537906"/>
                <a:gd name="connsiteY10" fmla="*/ 196543 h 831527"/>
                <a:gd name="connsiteX11" fmla="*/ 2832341 w 3537906"/>
                <a:gd name="connsiteY11" fmla="*/ 181424 h 831527"/>
                <a:gd name="connsiteX12" fmla="*/ 2797063 w 3537906"/>
                <a:gd name="connsiteY12" fmla="*/ 161266 h 831527"/>
                <a:gd name="connsiteX13" fmla="*/ 2484598 w 3537906"/>
                <a:gd name="connsiteY13" fmla="*/ 40316 h 831527"/>
                <a:gd name="connsiteX14" fmla="*/ 2424121 w 3537906"/>
                <a:gd name="connsiteY14" fmla="*/ 25198 h 831527"/>
                <a:gd name="connsiteX15" fmla="*/ 2398922 w 3537906"/>
                <a:gd name="connsiteY15" fmla="*/ 15119 h 831527"/>
                <a:gd name="connsiteX16" fmla="*/ 2217491 w 3537906"/>
                <a:gd name="connsiteY16" fmla="*/ 0 h 831527"/>
                <a:gd name="connsiteX17" fmla="*/ 0 w 3537906"/>
                <a:gd name="connsiteY17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373362 w 3537906"/>
                <a:gd name="connsiteY3" fmla="*/ 789750 h 831527"/>
                <a:gd name="connsiteX4" fmla="*/ 3517747 w 3537906"/>
                <a:gd name="connsiteY4" fmla="*/ 675301 h 831527"/>
                <a:gd name="connsiteX5" fmla="*/ 3527827 w 3537906"/>
                <a:gd name="connsiteY5" fmla="*/ 650103 h 831527"/>
                <a:gd name="connsiteX6" fmla="*/ 3537906 w 3537906"/>
                <a:gd name="connsiteY6" fmla="*/ 629945 h 831527"/>
                <a:gd name="connsiteX7" fmla="*/ 3368981 w 3537906"/>
                <a:gd name="connsiteY7" fmla="*/ 493571 h 831527"/>
                <a:gd name="connsiteX8" fmla="*/ 3270799 w 3537906"/>
                <a:gd name="connsiteY8" fmla="*/ 428363 h 831527"/>
                <a:gd name="connsiteX9" fmla="*/ 2877699 w 3537906"/>
                <a:gd name="connsiteY9" fmla="*/ 196543 h 831527"/>
                <a:gd name="connsiteX10" fmla="*/ 2832341 w 3537906"/>
                <a:gd name="connsiteY10" fmla="*/ 181424 h 831527"/>
                <a:gd name="connsiteX11" fmla="*/ 2797063 w 3537906"/>
                <a:gd name="connsiteY11" fmla="*/ 161266 h 831527"/>
                <a:gd name="connsiteX12" fmla="*/ 2484598 w 3537906"/>
                <a:gd name="connsiteY12" fmla="*/ 40316 h 831527"/>
                <a:gd name="connsiteX13" fmla="*/ 2424121 w 3537906"/>
                <a:gd name="connsiteY13" fmla="*/ 25198 h 831527"/>
                <a:gd name="connsiteX14" fmla="*/ 2398922 w 3537906"/>
                <a:gd name="connsiteY14" fmla="*/ 15119 h 831527"/>
                <a:gd name="connsiteX15" fmla="*/ 2217491 w 3537906"/>
                <a:gd name="connsiteY15" fmla="*/ 0 h 831527"/>
                <a:gd name="connsiteX16" fmla="*/ 0 w 3537906"/>
                <a:gd name="connsiteY16" fmla="*/ 5040 h 831527"/>
                <a:gd name="connsiteX0" fmla="*/ 0 w 3537906"/>
                <a:gd name="connsiteY0" fmla="*/ 5040 h 831527"/>
                <a:gd name="connsiteX1" fmla="*/ 5040 w 3537906"/>
                <a:gd name="connsiteY1" fmla="*/ 826488 h 831527"/>
                <a:gd name="connsiteX2" fmla="*/ 3149845 w 3537906"/>
                <a:gd name="connsiteY2" fmla="*/ 831527 h 831527"/>
                <a:gd name="connsiteX3" fmla="*/ 3373362 w 3537906"/>
                <a:gd name="connsiteY3" fmla="*/ 789750 h 831527"/>
                <a:gd name="connsiteX4" fmla="*/ 3494433 w 3537906"/>
                <a:gd name="connsiteY4" fmla="*/ 710272 h 831527"/>
                <a:gd name="connsiteX5" fmla="*/ 3527827 w 3537906"/>
                <a:gd name="connsiteY5" fmla="*/ 650103 h 831527"/>
                <a:gd name="connsiteX6" fmla="*/ 3537906 w 3537906"/>
                <a:gd name="connsiteY6" fmla="*/ 629945 h 831527"/>
                <a:gd name="connsiteX7" fmla="*/ 3368981 w 3537906"/>
                <a:gd name="connsiteY7" fmla="*/ 493571 h 831527"/>
                <a:gd name="connsiteX8" fmla="*/ 3270799 w 3537906"/>
                <a:gd name="connsiteY8" fmla="*/ 428363 h 831527"/>
                <a:gd name="connsiteX9" fmla="*/ 2877699 w 3537906"/>
                <a:gd name="connsiteY9" fmla="*/ 196543 h 831527"/>
                <a:gd name="connsiteX10" fmla="*/ 2832341 w 3537906"/>
                <a:gd name="connsiteY10" fmla="*/ 181424 h 831527"/>
                <a:gd name="connsiteX11" fmla="*/ 2797063 w 3537906"/>
                <a:gd name="connsiteY11" fmla="*/ 161266 h 831527"/>
                <a:gd name="connsiteX12" fmla="*/ 2484598 w 3537906"/>
                <a:gd name="connsiteY12" fmla="*/ 40316 h 831527"/>
                <a:gd name="connsiteX13" fmla="*/ 2424121 w 3537906"/>
                <a:gd name="connsiteY13" fmla="*/ 25198 h 831527"/>
                <a:gd name="connsiteX14" fmla="*/ 2398922 w 3537906"/>
                <a:gd name="connsiteY14" fmla="*/ 15119 h 831527"/>
                <a:gd name="connsiteX15" fmla="*/ 2217491 w 3537906"/>
                <a:gd name="connsiteY15" fmla="*/ 0 h 831527"/>
                <a:gd name="connsiteX16" fmla="*/ 0 w 3537906"/>
                <a:gd name="connsiteY16" fmla="*/ 5040 h 831527"/>
                <a:gd name="connsiteX0" fmla="*/ 0 w 3544050"/>
                <a:gd name="connsiteY0" fmla="*/ 5040 h 831527"/>
                <a:gd name="connsiteX1" fmla="*/ 5040 w 3544050"/>
                <a:gd name="connsiteY1" fmla="*/ 826488 h 831527"/>
                <a:gd name="connsiteX2" fmla="*/ 3149845 w 3544050"/>
                <a:gd name="connsiteY2" fmla="*/ 831527 h 831527"/>
                <a:gd name="connsiteX3" fmla="*/ 3373362 w 3544050"/>
                <a:gd name="connsiteY3" fmla="*/ 789750 h 831527"/>
                <a:gd name="connsiteX4" fmla="*/ 3494433 w 3544050"/>
                <a:gd name="connsiteY4" fmla="*/ 710272 h 831527"/>
                <a:gd name="connsiteX5" fmla="*/ 3537906 w 3544050"/>
                <a:gd name="connsiteY5" fmla="*/ 629945 h 831527"/>
                <a:gd name="connsiteX6" fmla="*/ 3368981 w 3544050"/>
                <a:gd name="connsiteY6" fmla="*/ 493571 h 831527"/>
                <a:gd name="connsiteX7" fmla="*/ 3270799 w 3544050"/>
                <a:gd name="connsiteY7" fmla="*/ 428363 h 831527"/>
                <a:gd name="connsiteX8" fmla="*/ 2877699 w 3544050"/>
                <a:gd name="connsiteY8" fmla="*/ 196543 h 831527"/>
                <a:gd name="connsiteX9" fmla="*/ 2832341 w 3544050"/>
                <a:gd name="connsiteY9" fmla="*/ 181424 h 831527"/>
                <a:gd name="connsiteX10" fmla="*/ 2797063 w 3544050"/>
                <a:gd name="connsiteY10" fmla="*/ 161266 h 831527"/>
                <a:gd name="connsiteX11" fmla="*/ 2484598 w 3544050"/>
                <a:gd name="connsiteY11" fmla="*/ 40316 h 831527"/>
                <a:gd name="connsiteX12" fmla="*/ 2424121 w 3544050"/>
                <a:gd name="connsiteY12" fmla="*/ 25198 h 831527"/>
                <a:gd name="connsiteX13" fmla="*/ 2398922 w 3544050"/>
                <a:gd name="connsiteY13" fmla="*/ 15119 h 831527"/>
                <a:gd name="connsiteX14" fmla="*/ 2217491 w 3544050"/>
                <a:gd name="connsiteY14" fmla="*/ 0 h 831527"/>
                <a:gd name="connsiteX15" fmla="*/ 0 w 3544050"/>
                <a:gd name="connsiteY15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877699 w 3523922"/>
                <a:gd name="connsiteY8" fmla="*/ 196543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484598 w 3523922"/>
                <a:gd name="connsiteY11" fmla="*/ 40316 h 831527"/>
                <a:gd name="connsiteX12" fmla="*/ 2424121 w 3523922"/>
                <a:gd name="connsiteY12" fmla="*/ 25198 h 831527"/>
                <a:gd name="connsiteX13" fmla="*/ 2398922 w 3523922"/>
                <a:gd name="connsiteY13" fmla="*/ 15119 h 831527"/>
                <a:gd name="connsiteX14" fmla="*/ 2217491 w 3523922"/>
                <a:gd name="connsiteY14" fmla="*/ 0 h 831527"/>
                <a:gd name="connsiteX15" fmla="*/ 0 w 3523922"/>
                <a:gd name="connsiteY15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924328 w 3523922"/>
                <a:gd name="connsiteY8" fmla="*/ 231514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484598 w 3523922"/>
                <a:gd name="connsiteY11" fmla="*/ 40316 h 831527"/>
                <a:gd name="connsiteX12" fmla="*/ 2424121 w 3523922"/>
                <a:gd name="connsiteY12" fmla="*/ 25198 h 831527"/>
                <a:gd name="connsiteX13" fmla="*/ 2398922 w 3523922"/>
                <a:gd name="connsiteY13" fmla="*/ 15119 h 831527"/>
                <a:gd name="connsiteX14" fmla="*/ 2217491 w 3523922"/>
                <a:gd name="connsiteY14" fmla="*/ 0 h 831527"/>
                <a:gd name="connsiteX15" fmla="*/ 0 w 3523922"/>
                <a:gd name="connsiteY15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924328 w 3523922"/>
                <a:gd name="connsiteY8" fmla="*/ 231514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546770 w 3523922"/>
                <a:gd name="connsiteY11" fmla="*/ 71401 h 831527"/>
                <a:gd name="connsiteX12" fmla="*/ 2424121 w 3523922"/>
                <a:gd name="connsiteY12" fmla="*/ 25198 h 831527"/>
                <a:gd name="connsiteX13" fmla="*/ 2398922 w 3523922"/>
                <a:gd name="connsiteY13" fmla="*/ 15119 h 831527"/>
                <a:gd name="connsiteX14" fmla="*/ 2217491 w 3523922"/>
                <a:gd name="connsiteY14" fmla="*/ 0 h 831527"/>
                <a:gd name="connsiteX15" fmla="*/ 0 w 3523922"/>
                <a:gd name="connsiteY15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924328 w 3523922"/>
                <a:gd name="connsiteY8" fmla="*/ 231514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566200 w 3523922"/>
                <a:gd name="connsiteY11" fmla="*/ 71401 h 831527"/>
                <a:gd name="connsiteX12" fmla="*/ 2424121 w 3523922"/>
                <a:gd name="connsiteY12" fmla="*/ 25198 h 831527"/>
                <a:gd name="connsiteX13" fmla="*/ 2398922 w 3523922"/>
                <a:gd name="connsiteY13" fmla="*/ 15119 h 831527"/>
                <a:gd name="connsiteX14" fmla="*/ 2217491 w 3523922"/>
                <a:gd name="connsiteY14" fmla="*/ 0 h 831527"/>
                <a:gd name="connsiteX15" fmla="*/ 0 w 3523922"/>
                <a:gd name="connsiteY15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924328 w 3523922"/>
                <a:gd name="connsiteY8" fmla="*/ 231514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566200 w 3523922"/>
                <a:gd name="connsiteY11" fmla="*/ 71401 h 831527"/>
                <a:gd name="connsiteX12" fmla="*/ 2398922 w 3523922"/>
                <a:gd name="connsiteY12" fmla="*/ 15119 h 831527"/>
                <a:gd name="connsiteX13" fmla="*/ 2217491 w 3523922"/>
                <a:gd name="connsiteY13" fmla="*/ 0 h 831527"/>
                <a:gd name="connsiteX14" fmla="*/ 0 w 3523922"/>
                <a:gd name="connsiteY14" fmla="*/ 5040 h 831527"/>
                <a:gd name="connsiteX0" fmla="*/ 0 w 3523922"/>
                <a:gd name="connsiteY0" fmla="*/ 5040 h 831527"/>
                <a:gd name="connsiteX1" fmla="*/ 5040 w 3523922"/>
                <a:gd name="connsiteY1" fmla="*/ 826488 h 831527"/>
                <a:gd name="connsiteX2" fmla="*/ 3149845 w 3523922"/>
                <a:gd name="connsiteY2" fmla="*/ 831527 h 831527"/>
                <a:gd name="connsiteX3" fmla="*/ 3373362 w 3523922"/>
                <a:gd name="connsiteY3" fmla="*/ 789750 h 831527"/>
                <a:gd name="connsiteX4" fmla="*/ 3494433 w 3523922"/>
                <a:gd name="connsiteY4" fmla="*/ 710272 h 831527"/>
                <a:gd name="connsiteX5" fmla="*/ 3514592 w 3523922"/>
                <a:gd name="connsiteY5" fmla="*/ 602745 h 831527"/>
                <a:gd name="connsiteX6" fmla="*/ 3368981 w 3523922"/>
                <a:gd name="connsiteY6" fmla="*/ 493571 h 831527"/>
                <a:gd name="connsiteX7" fmla="*/ 3270799 w 3523922"/>
                <a:gd name="connsiteY7" fmla="*/ 428363 h 831527"/>
                <a:gd name="connsiteX8" fmla="*/ 2924328 w 3523922"/>
                <a:gd name="connsiteY8" fmla="*/ 231514 h 831527"/>
                <a:gd name="connsiteX9" fmla="*/ 2832341 w 3523922"/>
                <a:gd name="connsiteY9" fmla="*/ 181424 h 831527"/>
                <a:gd name="connsiteX10" fmla="*/ 2797063 w 3523922"/>
                <a:gd name="connsiteY10" fmla="*/ 161266 h 831527"/>
                <a:gd name="connsiteX11" fmla="*/ 2566200 w 3523922"/>
                <a:gd name="connsiteY11" fmla="*/ 71401 h 831527"/>
                <a:gd name="connsiteX12" fmla="*/ 2398922 w 3523922"/>
                <a:gd name="connsiteY12" fmla="*/ 15119 h 831527"/>
                <a:gd name="connsiteX13" fmla="*/ 2217491 w 3523922"/>
                <a:gd name="connsiteY13" fmla="*/ 0 h 831527"/>
                <a:gd name="connsiteX14" fmla="*/ 0 w 3523922"/>
                <a:gd name="connsiteY14" fmla="*/ 5040 h 831527"/>
                <a:gd name="connsiteX0" fmla="*/ 0 w 3510261"/>
                <a:gd name="connsiteY0" fmla="*/ 5040 h 831527"/>
                <a:gd name="connsiteX1" fmla="*/ 5040 w 3510261"/>
                <a:gd name="connsiteY1" fmla="*/ 826488 h 831527"/>
                <a:gd name="connsiteX2" fmla="*/ 3149845 w 3510261"/>
                <a:gd name="connsiteY2" fmla="*/ 831527 h 831527"/>
                <a:gd name="connsiteX3" fmla="*/ 3373362 w 3510261"/>
                <a:gd name="connsiteY3" fmla="*/ 789750 h 831527"/>
                <a:gd name="connsiteX4" fmla="*/ 3494433 w 3510261"/>
                <a:gd name="connsiteY4" fmla="*/ 710272 h 831527"/>
                <a:gd name="connsiteX5" fmla="*/ 3495163 w 3510261"/>
                <a:gd name="connsiteY5" fmla="*/ 587203 h 831527"/>
                <a:gd name="connsiteX6" fmla="*/ 3368981 w 3510261"/>
                <a:gd name="connsiteY6" fmla="*/ 493571 h 831527"/>
                <a:gd name="connsiteX7" fmla="*/ 3270799 w 3510261"/>
                <a:gd name="connsiteY7" fmla="*/ 428363 h 831527"/>
                <a:gd name="connsiteX8" fmla="*/ 2924328 w 3510261"/>
                <a:gd name="connsiteY8" fmla="*/ 231514 h 831527"/>
                <a:gd name="connsiteX9" fmla="*/ 2832341 w 3510261"/>
                <a:gd name="connsiteY9" fmla="*/ 181424 h 831527"/>
                <a:gd name="connsiteX10" fmla="*/ 2797063 w 3510261"/>
                <a:gd name="connsiteY10" fmla="*/ 161266 h 831527"/>
                <a:gd name="connsiteX11" fmla="*/ 2566200 w 3510261"/>
                <a:gd name="connsiteY11" fmla="*/ 71401 h 831527"/>
                <a:gd name="connsiteX12" fmla="*/ 2398922 w 3510261"/>
                <a:gd name="connsiteY12" fmla="*/ 15119 h 831527"/>
                <a:gd name="connsiteX13" fmla="*/ 2217491 w 3510261"/>
                <a:gd name="connsiteY13" fmla="*/ 0 h 831527"/>
                <a:gd name="connsiteX14" fmla="*/ 0 w 3510261"/>
                <a:gd name="connsiteY14" fmla="*/ 5040 h 831527"/>
                <a:gd name="connsiteX0" fmla="*/ 0 w 3510261"/>
                <a:gd name="connsiteY0" fmla="*/ 5040 h 831527"/>
                <a:gd name="connsiteX1" fmla="*/ 5040 w 3510261"/>
                <a:gd name="connsiteY1" fmla="*/ 826488 h 831527"/>
                <a:gd name="connsiteX2" fmla="*/ 3149845 w 3510261"/>
                <a:gd name="connsiteY2" fmla="*/ 831527 h 831527"/>
                <a:gd name="connsiteX3" fmla="*/ 3373362 w 3510261"/>
                <a:gd name="connsiteY3" fmla="*/ 789750 h 831527"/>
                <a:gd name="connsiteX4" fmla="*/ 3494433 w 3510261"/>
                <a:gd name="connsiteY4" fmla="*/ 710272 h 831527"/>
                <a:gd name="connsiteX5" fmla="*/ 3495163 w 3510261"/>
                <a:gd name="connsiteY5" fmla="*/ 587203 h 831527"/>
                <a:gd name="connsiteX6" fmla="*/ 3368981 w 3510261"/>
                <a:gd name="connsiteY6" fmla="*/ 493571 h 831527"/>
                <a:gd name="connsiteX7" fmla="*/ 3270799 w 3510261"/>
                <a:gd name="connsiteY7" fmla="*/ 428363 h 831527"/>
                <a:gd name="connsiteX8" fmla="*/ 2924328 w 3510261"/>
                <a:gd name="connsiteY8" fmla="*/ 231514 h 831527"/>
                <a:gd name="connsiteX9" fmla="*/ 2797063 w 3510261"/>
                <a:gd name="connsiteY9" fmla="*/ 161266 h 831527"/>
                <a:gd name="connsiteX10" fmla="*/ 2566200 w 3510261"/>
                <a:gd name="connsiteY10" fmla="*/ 71401 h 831527"/>
                <a:gd name="connsiteX11" fmla="*/ 2398922 w 3510261"/>
                <a:gd name="connsiteY11" fmla="*/ 15119 h 831527"/>
                <a:gd name="connsiteX12" fmla="*/ 2217491 w 3510261"/>
                <a:gd name="connsiteY12" fmla="*/ 0 h 831527"/>
                <a:gd name="connsiteX13" fmla="*/ 0 w 3510261"/>
                <a:gd name="connsiteY13" fmla="*/ 5040 h 831527"/>
                <a:gd name="connsiteX0" fmla="*/ 0 w 3510261"/>
                <a:gd name="connsiteY0" fmla="*/ 5040 h 831527"/>
                <a:gd name="connsiteX1" fmla="*/ 5040 w 3510261"/>
                <a:gd name="connsiteY1" fmla="*/ 826488 h 831527"/>
                <a:gd name="connsiteX2" fmla="*/ 3149845 w 3510261"/>
                <a:gd name="connsiteY2" fmla="*/ 831527 h 831527"/>
                <a:gd name="connsiteX3" fmla="*/ 3373362 w 3510261"/>
                <a:gd name="connsiteY3" fmla="*/ 789750 h 831527"/>
                <a:gd name="connsiteX4" fmla="*/ 3494433 w 3510261"/>
                <a:gd name="connsiteY4" fmla="*/ 710272 h 831527"/>
                <a:gd name="connsiteX5" fmla="*/ 3495163 w 3510261"/>
                <a:gd name="connsiteY5" fmla="*/ 587203 h 831527"/>
                <a:gd name="connsiteX6" fmla="*/ 3368981 w 3510261"/>
                <a:gd name="connsiteY6" fmla="*/ 493571 h 831527"/>
                <a:gd name="connsiteX7" fmla="*/ 3270799 w 3510261"/>
                <a:gd name="connsiteY7" fmla="*/ 428363 h 831527"/>
                <a:gd name="connsiteX8" fmla="*/ 2924328 w 3510261"/>
                <a:gd name="connsiteY8" fmla="*/ 231514 h 831527"/>
                <a:gd name="connsiteX9" fmla="*/ 2797063 w 3510261"/>
                <a:gd name="connsiteY9" fmla="*/ 161266 h 831527"/>
                <a:gd name="connsiteX10" fmla="*/ 2566200 w 3510261"/>
                <a:gd name="connsiteY10" fmla="*/ 71401 h 831527"/>
                <a:gd name="connsiteX11" fmla="*/ 2398922 w 3510261"/>
                <a:gd name="connsiteY11" fmla="*/ 15119 h 831527"/>
                <a:gd name="connsiteX12" fmla="*/ 2217491 w 3510261"/>
                <a:gd name="connsiteY12" fmla="*/ 0 h 831527"/>
                <a:gd name="connsiteX13" fmla="*/ 0 w 3510261"/>
                <a:gd name="connsiteY13" fmla="*/ 5040 h 831527"/>
                <a:gd name="connsiteX0" fmla="*/ 0 w 3510261"/>
                <a:gd name="connsiteY0" fmla="*/ 5040 h 831527"/>
                <a:gd name="connsiteX1" fmla="*/ 5040 w 3510261"/>
                <a:gd name="connsiteY1" fmla="*/ 826488 h 831527"/>
                <a:gd name="connsiteX2" fmla="*/ 3149845 w 3510261"/>
                <a:gd name="connsiteY2" fmla="*/ 831527 h 831527"/>
                <a:gd name="connsiteX3" fmla="*/ 3373362 w 3510261"/>
                <a:gd name="connsiteY3" fmla="*/ 789750 h 831527"/>
                <a:gd name="connsiteX4" fmla="*/ 3494433 w 3510261"/>
                <a:gd name="connsiteY4" fmla="*/ 710272 h 831527"/>
                <a:gd name="connsiteX5" fmla="*/ 3495163 w 3510261"/>
                <a:gd name="connsiteY5" fmla="*/ 587203 h 831527"/>
                <a:gd name="connsiteX6" fmla="*/ 3368981 w 3510261"/>
                <a:gd name="connsiteY6" fmla="*/ 493571 h 831527"/>
                <a:gd name="connsiteX7" fmla="*/ 3270799 w 3510261"/>
                <a:gd name="connsiteY7" fmla="*/ 428363 h 831527"/>
                <a:gd name="connsiteX8" fmla="*/ 2924328 w 3510261"/>
                <a:gd name="connsiteY8" fmla="*/ 231514 h 831527"/>
                <a:gd name="connsiteX9" fmla="*/ 2797063 w 3510261"/>
                <a:gd name="connsiteY9" fmla="*/ 161266 h 831527"/>
                <a:gd name="connsiteX10" fmla="*/ 2566200 w 3510261"/>
                <a:gd name="connsiteY10" fmla="*/ 71401 h 831527"/>
                <a:gd name="connsiteX11" fmla="*/ 2398922 w 3510261"/>
                <a:gd name="connsiteY11" fmla="*/ 15119 h 831527"/>
                <a:gd name="connsiteX12" fmla="*/ 2217491 w 3510261"/>
                <a:gd name="connsiteY12" fmla="*/ 0 h 831527"/>
                <a:gd name="connsiteX13" fmla="*/ 0 w 3510261"/>
                <a:gd name="connsiteY13" fmla="*/ 5040 h 831527"/>
                <a:gd name="connsiteX0" fmla="*/ 0 w 3510261"/>
                <a:gd name="connsiteY0" fmla="*/ 5040 h 831527"/>
                <a:gd name="connsiteX1" fmla="*/ 5040 w 3510261"/>
                <a:gd name="connsiteY1" fmla="*/ 826488 h 831527"/>
                <a:gd name="connsiteX2" fmla="*/ 3149845 w 3510261"/>
                <a:gd name="connsiteY2" fmla="*/ 831527 h 831527"/>
                <a:gd name="connsiteX3" fmla="*/ 3373362 w 3510261"/>
                <a:gd name="connsiteY3" fmla="*/ 789750 h 831527"/>
                <a:gd name="connsiteX4" fmla="*/ 3494433 w 3510261"/>
                <a:gd name="connsiteY4" fmla="*/ 710272 h 831527"/>
                <a:gd name="connsiteX5" fmla="*/ 3495163 w 3510261"/>
                <a:gd name="connsiteY5" fmla="*/ 587203 h 831527"/>
                <a:gd name="connsiteX6" fmla="*/ 3368981 w 3510261"/>
                <a:gd name="connsiteY6" fmla="*/ 493571 h 831527"/>
                <a:gd name="connsiteX7" fmla="*/ 3270799 w 3510261"/>
                <a:gd name="connsiteY7" fmla="*/ 428363 h 831527"/>
                <a:gd name="connsiteX8" fmla="*/ 2924328 w 3510261"/>
                <a:gd name="connsiteY8" fmla="*/ 231514 h 831527"/>
                <a:gd name="connsiteX9" fmla="*/ 2765977 w 3510261"/>
                <a:gd name="connsiteY9" fmla="*/ 157380 h 831527"/>
                <a:gd name="connsiteX10" fmla="*/ 2566200 w 3510261"/>
                <a:gd name="connsiteY10" fmla="*/ 71401 h 831527"/>
                <a:gd name="connsiteX11" fmla="*/ 2398922 w 3510261"/>
                <a:gd name="connsiteY11" fmla="*/ 15119 h 831527"/>
                <a:gd name="connsiteX12" fmla="*/ 2217491 w 3510261"/>
                <a:gd name="connsiteY12" fmla="*/ 0 h 831527"/>
                <a:gd name="connsiteX13" fmla="*/ 0 w 3510261"/>
                <a:gd name="connsiteY13" fmla="*/ 5040 h 831527"/>
                <a:gd name="connsiteX0" fmla="*/ 0 w 3511715"/>
                <a:gd name="connsiteY0" fmla="*/ 5040 h 831527"/>
                <a:gd name="connsiteX1" fmla="*/ 5040 w 3511715"/>
                <a:gd name="connsiteY1" fmla="*/ 826488 h 831527"/>
                <a:gd name="connsiteX2" fmla="*/ 3149845 w 3511715"/>
                <a:gd name="connsiteY2" fmla="*/ 831527 h 831527"/>
                <a:gd name="connsiteX3" fmla="*/ 3373362 w 3511715"/>
                <a:gd name="connsiteY3" fmla="*/ 789750 h 831527"/>
                <a:gd name="connsiteX4" fmla="*/ 3494433 w 3511715"/>
                <a:gd name="connsiteY4" fmla="*/ 710272 h 831527"/>
                <a:gd name="connsiteX5" fmla="*/ 3495163 w 3511715"/>
                <a:gd name="connsiteY5" fmla="*/ 587203 h 831527"/>
                <a:gd name="connsiteX6" fmla="*/ 3368981 w 3511715"/>
                <a:gd name="connsiteY6" fmla="*/ 493571 h 831527"/>
                <a:gd name="connsiteX7" fmla="*/ 3270799 w 3511715"/>
                <a:gd name="connsiteY7" fmla="*/ 428363 h 831527"/>
                <a:gd name="connsiteX8" fmla="*/ 2924328 w 3511715"/>
                <a:gd name="connsiteY8" fmla="*/ 231514 h 831527"/>
                <a:gd name="connsiteX9" fmla="*/ 2765977 w 3511715"/>
                <a:gd name="connsiteY9" fmla="*/ 157380 h 831527"/>
                <a:gd name="connsiteX10" fmla="*/ 2566200 w 3511715"/>
                <a:gd name="connsiteY10" fmla="*/ 71401 h 831527"/>
                <a:gd name="connsiteX11" fmla="*/ 2398922 w 3511715"/>
                <a:gd name="connsiteY11" fmla="*/ 15119 h 831527"/>
                <a:gd name="connsiteX12" fmla="*/ 2217491 w 3511715"/>
                <a:gd name="connsiteY12" fmla="*/ 0 h 831527"/>
                <a:gd name="connsiteX13" fmla="*/ 0 w 3511715"/>
                <a:gd name="connsiteY13" fmla="*/ 5040 h 831527"/>
                <a:gd name="connsiteX0" fmla="*/ 0 w 3513840"/>
                <a:gd name="connsiteY0" fmla="*/ 5040 h 831527"/>
                <a:gd name="connsiteX1" fmla="*/ 5040 w 3513840"/>
                <a:gd name="connsiteY1" fmla="*/ 826488 h 831527"/>
                <a:gd name="connsiteX2" fmla="*/ 3149845 w 3513840"/>
                <a:gd name="connsiteY2" fmla="*/ 831527 h 831527"/>
                <a:gd name="connsiteX3" fmla="*/ 3373362 w 3513840"/>
                <a:gd name="connsiteY3" fmla="*/ 789750 h 831527"/>
                <a:gd name="connsiteX4" fmla="*/ 3498319 w 3513840"/>
                <a:gd name="connsiteY4" fmla="*/ 714157 h 831527"/>
                <a:gd name="connsiteX5" fmla="*/ 3495163 w 3513840"/>
                <a:gd name="connsiteY5" fmla="*/ 587203 h 831527"/>
                <a:gd name="connsiteX6" fmla="*/ 3368981 w 3513840"/>
                <a:gd name="connsiteY6" fmla="*/ 493571 h 831527"/>
                <a:gd name="connsiteX7" fmla="*/ 3270799 w 3513840"/>
                <a:gd name="connsiteY7" fmla="*/ 428363 h 831527"/>
                <a:gd name="connsiteX8" fmla="*/ 2924328 w 3513840"/>
                <a:gd name="connsiteY8" fmla="*/ 231514 h 831527"/>
                <a:gd name="connsiteX9" fmla="*/ 2765977 w 3513840"/>
                <a:gd name="connsiteY9" fmla="*/ 157380 h 831527"/>
                <a:gd name="connsiteX10" fmla="*/ 2566200 w 3513840"/>
                <a:gd name="connsiteY10" fmla="*/ 71401 h 831527"/>
                <a:gd name="connsiteX11" fmla="*/ 2398922 w 3513840"/>
                <a:gd name="connsiteY11" fmla="*/ 15119 h 831527"/>
                <a:gd name="connsiteX12" fmla="*/ 2217491 w 3513840"/>
                <a:gd name="connsiteY12" fmla="*/ 0 h 831527"/>
                <a:gd name="connsiteX13" fmla="*/ 0 w 3513840"/>
                <a:gd name="connsiteY13" fmla="*/ 5040 h 831527"/>
                <a:gd name="connsiteX0" fmla="*/ 0 w 3513840"/>
                <a:gd name="connsiteY0" fmla="*/ 5040 h 831527"/>
                <a:gd name="connsiteX1" fmla="*/ 5040 w 3513840"/>
                <a:gd name="connsiteY1" fmla="*/ 826488 h 831527"/>
                <a:gd name="connsiteX2" fmla="*/ 3149845 w 3513840"/>
                <a:gd name="connsiteY2" fmla="*/ 831527 h 831527"/>
                <a:gd name="connsiteX3" fmla="*/ 3373362 w 3513840"/>
                <a:gd name="connsiteY3" fmla="*/ 789750 h 831527"/>
                <a:gd name="connsiteX4" fmla="*/ 3498319 w 3513840"/>
                <a:gd name="connsiteY4" fmla="*/ 714157 h 831527"/>
                <a:gd name="connsiteX5" fmla="*/ 3495163 w 3513840"/>
                <a:gd name="connsiteY5" fmla="*/ 587203 h 831527"/>
                <a:gd name="connsiteX6" fmla="*/ 3368981 w 3513840"/>
                <a:gd name="connsiteY6" fmla="*/ 493571 h 831527"/>
                <a:gd name="connsiteX7" fmla="*/ 3270799 w 3513840"/>
                <a:gd name="connsiteY7" fmla="*/ 428363 h 831527"/>
                <a:gd name="connsiteX8" fmla="*/ 2924328 w 3513840"/>
                <a:gd name="connsiteY8" fmla="*/ 231514 h 831527"/>
                <a:gd name="connsiteX9" fmla="*/ 2765977 w 3513840"/>
                <a:gd name="connsiteY9" fmla="*/ 157380 h 831527"/>
                <a:gd name="connsiteX10" fmla="*/ 2566200 w 3513840"/>
                <a:gd name="connsiteY10" fmla="*/ 71401 h 831527"/>
                <a:gd name="connsiteX11" fmla="*/ 2398922 w 3513840"/>
                <a:gd name="connsiteY11" fmla="*/ 15119 h 831527"/>
                <a:gd name="connsiteX12" fmla="*/ 2217491 w 3513840"/>
                <a:gd name="connsiteY12" fmla="*/ 0 h 831527"/>
                <a:gd name="connsiteX13" fmla="*/ 0 w 3513840"/>
                <a:gd name="connsiteY13" fmla="*/ 5040 h 831527"/>
                <a:gd name="connsiteX0" fmla="*/ 0 w 3520378"/>
                <a:gd name="connsiteY0" fmla="*/ 5040 h 831527"/>
                <a:gd name="connsiteX1" fmla="*/ 5040 w 3520378"/>
                <a:gd name="connsiteY1" fmla="*/ 826488 h 831527"/>
                <a:gd name="connsiteX2" fmla="*/ 3149845 w 3520378"/>
                <a:gd name="connsiteY2" fmla="*/ 831527 h 831527"/>
                <a:gd name="connsiteX3" fmla="*/ 3373362 w 3520378"/>
                <a:gd name="connsiteY3" fmla="*/ 789750 h 831527"/>
                <a:gd name="connsiteX4" fmla="*/ 3498319 w 3520378"/>
                <a:gd name="connsiteY4" fmla="*/ 714157 h 831527"/>
                <a:gd name="connsiteX5" fmla="*/ 3495163 w 3520378"/>
                <a:gd name="connsiteY5" fmla="*/ 587203 h 831527"/>
                <a:gd name="connsiteX6" fmla="*/ 3368981 w 3520378"/>
                <a:gd name="connsiteY6" fmla="*/ 493571 h 831527"/>
                <a:gd name="connsiteX7" fmla="*/ 3270799 w 3520378"/>
                <a:gd name="connsiteY7" fmla="*/ 428363 h 831527"/>
                <a:gd name="connsiteX8" fmla="*/ 2924328 w 3520378"/>
                <a:gd name="connsiteY8" fmla="*/ 231514 h 831527"/>
                <a:gd name="connsiteX9" fmla="*/ 2765977 w 3520378"/>
                <a:gd name="connsiteY9" fmla="*/ 157380 h 831527"/>
                <a:gd name="connsiteX10" fmla="*/ 2566200 w 3520378"/>
                <a:gd name="connsiteY10" fmla="*/ 71401 h 831527"/>
                <a:gd name="connsiteX11" fmla="*/ 2398922 w 3520378"/>
                <a:gd name="connsiteY11" fmla="*/ 15119 h 831527"/>
                <a:gd name="connsiteX12" fmla="*/ 2217491 w 3520378"/>
                <a:gd name="connsiteY12" fmla="*/ 0 h 831527"/>
                <a:gd name="connsiteX13" fmla="*/ 0 w 3520378"/>
                <a:gd name="connsiteY13" fmla="*/ 5040 h 831527"/>
                <a:gd name="connsiteX0" fmla="*/ 0 w 3516967"/>
                <a:gd name="connsiteY0" fmla="*/ 5040 h 831527"/>
                <a:gd name="connsiteX1" fmla="*/ 5040 w 3516967"/>
                <a:gd name="connsiteY1" fmla="*/ 826488 h 831527"/>
                <a:gd name="connsiteX2" fmla="*/ 3149845 w 3516967"/>
                <a:gd name="connsiteY2" fmla="*/ 831527 h 831527"/>
                <a:gd name="connsiteX3" fmla="*/ 3373362 w 3516967"/>
                <a:gd name="connsiteY3" fmla="*/ 789750 h 831527"/>
                <a:gd name="connsiteX4" fmla="*/ 3498319 w 3516967"/>
                <a:gd name="connsiteY4" fmla="*/ 714157 h 831527"/>
                <a:gd name="connsiteX5" fmla="*/ 3495163 w 3516967"/>
                <a:gd name="connsiteY5" fmla="*/ 587203 h 831527"/>
                <a:gd name="connsiteX6" fmla="*/ 3368981 w 3516967"/>
                <a:gd name="connsiteY6" fmla="*/ 493571 h 831527"/>
                <a:gd name="connsiteX7" fmla="*/ 3270799 w 3516967"/>
                <a:gd name="connsiteY7" fmla="*/ 428363 h 831527"/>
                <a:gd name="connsiteX8" fmla="*/ 2924328 w 3516967"/>
                <a:gd name="connsiteY8" fmla="*/ 231514 h 831527"/>
                <a:gd name="connsiteX9" fmla="*/ 2765977 w 3516967"/>
                <a:gd name="connsiteY9" fmla="*/ 157380 h 831527"/>
                <a:gd name="connsiteX10" fmla="*/ 2566200 w 3516967"/>
                <a:gd name="connsiteY10" fmla="*/ 71401 h 831527"/>
                <a:gd name="connsiteX11" fmla="*/ 2398922 w 3516967"/>
                <a:gd name="connsiteY11" fmla="*/ 15119 h 831527"/>
                <a:gd name="connsiteX12" fmla="*/ 2217491 w 3516967"/>
                <a:gd name="connsiteY12" fmla="*/ 0 h 831527"/>
                <a:gd name="connsiteX13" fmla="*/ 0 w 3516967"/>
                <a:gd name="connsiteY13" fmla="*/ 5040 h 831527"/>
                <a:gd name="connsiteX0" fmla="*/ 0 w 3520418"/>
                <a:gd name="connsiteY0" fmla="*/ 5040 h 831527"/>
                <a:gd name="connsiteX1" fmla="*/ 5040 w 3520418"/>
                <a:gd name="connsiteY1" fmla="*/ 826488 h 831527"/>
                <a:gd name="connsiteX2" fmla="*/ 3149845 w 3520418"/>
                <a:gd name="connsiteY2" fmla="*/ 831527 h 831527"/>
                <a:gd name="connsiteX3" fmla="*/ 3373362 w 3520418"/>
                <a:gd name="connsiteY3" fmla="*/ 789750 h 831527"/>
                <a:gd name="connsiteX4" fmla="*/ 3498319 w 3520418"/>
                <a:gd name="connsiteY4" fmla="*/ 714157 h 831527"/>
                <a:gd name="connsiteX5" fmla="*/ 3495163 w 3520418"/>
                <a:gd name="connsiteY5" fmla="*/ 587203 h 831527"/>
                <a:gd name="connsiteX6" fmla="*/ 3368981 w 3520418"/>
                <a:gd name="connsiteY6" fmla="*/ 493571 h 831527"/>
                <a:gd name="connsiteX7" fmla="*/ 3270799 w 3520418"/>
                <a:gd name="connsiteY7" fmla="*/ 428363 h 831527"/>
                <a:gd name="connsiteX8" fmla="*/ 2924328 w 3520418"/>
                <a:gd name="connsiteY8" fmla="*/ 231514 h 831527"/>
                <a:gd name="connsiteX9" fmla="*/ 2765977 w 3520418"/>
                <a:gd name="connsiteY9" fmla="*/ 157380 h 831527"/>
                <a:gd name="connsiteX10" fmla="*/ 2566200 w 3520418"/>
                <a:gd name="connsiteY10" fmla="*/ 71401 h 831527"/>
                <a:gd name="connsiteX11" fmla="*/ 2398922 w 3520418"/>
                <a:gd name="connsiteY11" fmla="*/ 15119 h 831527"/>
                <a:gd name="connsiteX12" fmla="*/ 2217491 w 3520418"/>
                <a:gd name="connsiteY12" fmla="*/ 0 h 831527"/>
                <a:gd name="connsiteX13" fmla="*/ 0 w 3520418"/>
                <a:gd name="connsiteY13" fmla="*/ 5040 h 831527"/>
                <a:gd name="connsiteX0" fmla="*/ 0 w 3520418"/>
                <a:gd name="connsiteY0" fmla="*/ 5040 h 831527"/>
                <a:gd name="connsiteX1" fmla="*/ 5040 w 3520418"/>
                <a:gd name="connsiteY1" fmla="*/ 826488 h 831527"/>
                <a:gd name="connsiteX2" fmla="*/ 3149845 w 3520418"/>
                <a:gd name="connsiteY2" fmla="*/ 831527 h 831527"/>
                <a:gd name="connsiteX3" fmla="*/ 3373362 w 3520418"/>
                <a:gd name="connsiteY3" fmla="*/ 789750 h 831527"/>
                <a:gd name="connsiteX4" fmla="*/ 3498319 w 3520418"/>
                <a:gd name="connsiteY4" fmla="*/ 714157 h 831527"/>
                <a:gd name="connsiteX5" fmla="*/ 3495163 w 3520418"/>
                <a:gd name="connsiteY5" fmla="*/ 587203 h 831527"/>
                <a:gd name="connsiteX6" fmla="*/ 3368981 w 3520418"/>
                <a:gd name="connsiteY6" fmla="*/ 493571 h 831527"/>
                <a:gd name="connsiteX7" fmla="*/ 3270799 w 3520418"/>
                <a:gd name="connsiteY7" fmla="*/ 428363 h 831527"/>
                <a:gd name="connsiteX8" fmla="*/ 2924328 w 3520418"/>
                <a:gd name="connsiteY8" fmla="*/ 231514 h 831527"/>
                <a:gd name="connsiteX9" fmla="*/ 2765977 w 3520418"/>
                <a:gd name="connsiteY9" fmla="*/ 157380 h 831527"/>
                <a:gd name="connsiteX10" fmla="*/ 2566200 w 3520418"/>
                <a:gd name="connsiteY10" fmla="*/ 71401 h 831527"/>
                <a:gd name="connsiteX11" fmla="*/ 2398922 w 3520418"/>
                <a:gd name="connsiteY11" fmla="*/ 15119 h 831527"/>
                <a:gd name="connsiteX12" fmla="*/ 2217491 w 3520418"/>
                <a:gd name="connsiteY12" fmla="*/ 0 h 831527"/>
                <a:gd name="connsiteX13" fmla="*/ 0 w 3520418"/>
                <a:gd name="connsiteY13" fmla="*/ 5040 h 831527"/>
                <a:gd name="connsiteX0" fmla="*/ 0 w 3520418"/>
                <a:gd name="connsiteY0" fmla="*/ 5040 h 831527"/>
                <a:gd name="connsiteX1" fmla="*/ 5040 w 3520418"/>
                <a:gd name="connsiteY1" fmla="*/ 826488 h 831527"/>
                <a:gd name="connsiteX2" fmla="*/ 3149845 w 3520418"/>
                <a:gd name="connsiteY2" fmla="*/ 831527 h 831527"/>
                <a:gd name="connsiteX3" fmla="*/ 3373362 w 3520418"/>
                <a:gd name="connsiteY3" fmla="*/ 789750 h 831527"/>
                <a:gd name="connsiteX4" fmla="*/ 3498319 w 3520418"/>
                <a:gd name="connsiteY4" fmla="*/ 714157 h 831527"/>
                <a:gd name="connsiteX5" fmla="*/ 3495163 w 3520418"/>
                <a:gd name="connsiteY5" fmla="*/ 587203 h 831527"/>
                <a:gd name="connsiteX6" fmla="*/ 3368981 w 3520418"/>
                <a:gd name="connsiteY6" fmla="*/ 493571 h 831527"/>
                <a:gd name="connsiteX7" fmla="*/ 3270799 w 3520418"/>
                <a:gd name="connsiteY7" fmla="*/ 428363 h 831527"/>
                <a:gd name="connsiteX8" fmla="*/ 2924328 w 3520418"/>
                <a:gd name="connsiteY8" fmla="*/ 231514 h 831527"/>
                <a:gd name="connsiteX9" fmla="*/ 2765977 w 3520418"/>
                <a:gd name="connsiteY9" fmla="*/ 157380 h 831527"/>
                <a:gd name="connsiteX10" fmla="*/ 2566200 w 3520418"/>
                <a:gd name="connsiteY10" fmla="*/ 71401 h 831527"/>
                <a:gd name="connsiteX11" fmla="*/ 2398922 w 3520418"/>
                <a:gd name="connsiteY11" fmla="*/ 15119 h 831527"/>
                <a:gd name="connsiteX12" fmla="*/ 2217491 w 3520418"/>
                <a:gd name="connsiteY12" fmla="*/ 0 h 831527"/>
                <a:gd name="connsiteX13" fmla="*/ 0 w 3520418"/>
                <a:gd name="connsiteY13" fmla="*/ 5040 h 831527"/>
                <a:gd name="connsiteX0" fmla="*/ 0 w 3522780"/>
                <a:gd name="connsiteY0" fmla="*/ 5040 h 831527"/>
                <a:gd name="connsiteX1" fmla="*/ 5040 w 3522780"/>
                <a:gd name="connsiteY1" fmla="*/ 826488 h 831527"/>
                <a:gd name="connsiteX2" fmla="*/ 3149845 w 3522780"/>
                <a:gd name="connsiteY2" fmla="*/ 831527 h 831527"/>
                <a:gd name="connsiteX3" fmla="*/ 3373362 w 3522780"/>
                <a:gd name="connsiteY3" fmla="*/ 789750 h 831527"/>
                <a:gd name="connsiteX4" fmla="*/ 3498319 w 3522780"/>
                <a:gd name="connsiteY4" fmla="*/ 714157 h 831527"/>
                <a:gd name="connsiteX5" fmla="*/ 3495163 w 3522780"/>
                <a:gd name="connsiteY5" fmla="*/ 587203 h 831527"/>
                <a:gd name="connsiteX6" fmla="*/ 3368981 w 3522780"/>
                <a:gd name="connsiteY6" fmla="*/ 493571 h 831527"/>
                <a:gd name="connsiteX7" fmla="*/ 3270799 w 3522780"/>
                <a:gd name="connsiteY7" fmla="*/ 428363 h 831527"/>
                <a:gd name="connsiteX8" fmla="*/ 2924328 w 3522780"/>
                <a:gd name="connsiteY8" fmla="*/ 231514 h 831527"/>
                <a:gd name="connsiteX9" fmla="*/ 2765977 w 3522780"/>
                <a:gd name="connsiteY9" fmla="*/ 157380 h 831527"/>
                <a:gd name="connsiteX10" fmla="*/ 2566200 w 3522780"/>
                <a:gd name="connsiteY10" fmla="*/ 71401 h 831527"/>
                <a:gd name="connsiteX11" fmla="*/ 2398922 w 3522780"/>
                <a:gd name="connsiteY11" fmla="*/ 15119 h 831527"/>
                <a:gd name="connsiteX12" fmla="*/ 2217491 w 3522780"/>
                <a:gd name="connsiteY12" fmla="*/ 0 h 831527"/>
                <a:gd name="connsiteX13" fmla="*/ 0 w 3522780"/>
                <a:gd name="connsiteY13" fmla="*/ 5040 h 831527"/>
                <a:gd name="connsiteX0" fmla="*/ 0 w 3510907"/>
                <a:gd name="connsiteY0" fmla="*/ 5040 h 831527"/>
                <a:gd name="connsiteX1" fmla="*/ 5040 w 3510907"/>
                <a:gd name="connsiteY1" fmla="*/ 826488 h 831527"/>
                <a:gd name="connsiteX2" fmla="*/ 3149845 w 3510907"/>
                <a:gd name="connsiteY2" fmla="*/ 831527 h 831527"/>
                <a:gd name="connsiteX3" fmla="*/ 3373362 w 3510907"/>
                <a:gd name="connsiteY3" fmla="*/ 789750 h 831527"/>
                <a:gd name="connsiteX4" fmla="*/ 3498319 w 3510907"/>
                <a:gd name="connsiteY4" fmla="*/ 714157 h 831527"/>
                <a:gd name="connsiteX5" fmla="*/ 3481901 w 3510907"/>
                <a:gd name="connsiteY5" fmla="*/ 580572 h 831527"/>
                <a:gd name="connsiteX6" fmla="*/ 3368981 w 3510907"/>
                <a:gd name="connsiteY6" fmla="*/ 493571 h 831527"/>
                <a:gd name="connsiteX7" fmla="*/ 3270799 w 3510907"/>
                <a:gd name="connsiteY7" fmla="*/ 428363 h 831527"/>
                <a:gd name="connsiteX8" fmla="*/ 2924328 w 3510907"/>
                <a:gd name="connsiteY8" fmla="*/ 231514 h 831527"/>
                <a:gd name="connsiteX9" fmla="*/ 2765977 w 3510907"/>
                <a:gd name="connsiteY9" fmla="*/ 157380 h 831527"/>
                <a:gd name="connsiteX10" fmla="*/ 2566200 w 3510907"/>
                <a:gd name="connsiteY10" fmla="*/ 71401 h 831527"/>
                <a:gd name="connsiteX11" fmla="*/ 2398922 w 3510907"/>
                <a:gd name="connsiteY11" fmla="*/ 15119 h 831527"/>
                <a:gd name="connsiteX12" fmla="*/ 2217491 w 3510907"/>
                <a:gd name="connsiteY12" fmla="*/ 0 h 831527"/>
                <a:gd name="connsiteX13" fmla="*/ 0 w 3510907"/>
                <a:gd name="connsiteY13" fmla="*/ 5040 h 831527"/>
                <a:gd name="connsiteX0" fmla="*/ 0 w 3514698"/>
                <a:gd name="connsiteY0" fmla="*/ 5040 h 831527"/>
                <a:gd name="connsiteX1" fmla="*/ 5040 w 3514698"/>
                <a:gd name="connsiteY1" fmla="*/ 826488 h 831527"/>
                <a:gd name="connsiteX2" fmla="*/ 3149845 w 3514698"/>
                <a:gd name="connsiteY2" fmla="*/ 831527 h 831527"/>
                <a:gd name="connsiteX3" fmla="*/ 3373362 w 3514698"/>
                <a:gd name="connsiteY3" fmla="*/ 789750 h 831527"/>
                <a:gd name="connsiteX4" fmla="*/ 3498319 w 3514698"/>
                <a:gd name="connsiteY4" fmla="*/ 714157 h 831527"/>
                <a:gd name="connsiteX5" fmla="*/ 3481901 w 3514698"/>
                <a:gd name="connsiteY5" fmla="*/ 580572 h 831527"/>
                <a:gd name="connsiteX6" fmla="*/ 3368981 w 3514698"/>
                <a:gd name="connsiteY6" fmla="*/ 493571 h 831527"/>
                <a:gd name="connsiteX7" fmla="*/ 3270799 w 3514698"/>
                <a:gd name="connsiteY7" fmla="*/ 428363 h 831527"/>
                <a:gd name="connsiteX8" fmla="*/ 2924328 w 3514698"/>
                <a:gd name="connsiteY8" fmla="*/ 231514 h 831527"/>
                <a:gd name="connsiteX9" fmla="*/ 2765977 w 3514698"/>
                <a:gd name="connsiteY9" fmla="*/ 157380 h 831527"/>
                <a:gd name="connsiteX10" fmla="*/ 2566200 w 3514698"/>
                <a:gd name="connsiteY10" fmla="*/ 71401 h 831527"/>
                <a:gd name="connsiteX11" fmla="*/ 2398922 w 3514698"/>
                <a:gd name="connsiteY11" fmla="*/ 15119 h 831527"/>
                <a:gd name="connsiteX12" fmla="*/ 2217491 w 3514698"/>
                <a:gd name="connsiteY12" fmla="*/ 0 h 831527"/>
                <a:gd name="connsiteX13" fmla="*/ 0 w 3514698"/>
                <a:gd name="connsiteY13" fmla="*/ 5040 h 8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14698" h="831527">
                  <a:moveTo>
                    <a:pt x="0" y="5040"/>
                  </a:moveTo>
                  <a:lnTo>
                    <a:pt x="5040" y="826488"/>
                  </a:lnTo>
                  <a:lnTo>
                    <a:pt x="3149845" y="831527"/>
                  </a:lnTo>
                  <a:cubicBezTo>
                    <a:pt x="3321496" y="813715"/>
                    <a:pt x="3281174" y="814727"/>
                    <a:pt x="3373362" y="789750"/>
                  </a:cubicBezTo>
                  <a:cubicBezTo>
                    <a:pt x="3434679" y="763712"/>
                    <a:pt x="3480229" y="749020"/>
                    <a:pt x="3498319" y="714157"/>
                  </a:cubicBezTo>
                  <a:cubicBezTo>
                    <a:pt x="3516409" y="679294"/>
                    <a:pt x="3529333" y="636582"/>
                    <a:pt x="3481901" y="580572"/>
                  </a:cubicBezTo>
                  <a:cubicBezTo>
                    <a:pt x="3435419" y="536100"/>
                    <a:pt x="3411042" y="524782"/>
                    <a:pt x="3368981" y="493571"/>
                  </a:cubicBezTo>
                  <a:cubicBezTo>
                    <a:pt x="3324463" y="459974"/>
                    <a:pt x="3344908" y="472039"/>
                    <a:pt x="3270799" y="428363"/>
                  </a:cubicBezTo>
                  <a:cubicBezTo>
                    <a:pt x="3196690" y="384687"/>
                    <a:pt x="3055361" y="308787"/>
                    <a:pt x="2924328" y="231514"/>
                  </a:cubicBezTo>
                  <a:cubicBezTo>
                    <a:pt x="2857029" y="198655"/>
                    <a:pt x="2845094" y="195722"/>
                    <a:pt x="2765977" y="157380"/>
                  </a:cubicBezTo>
                  <a:lnTo>
                    <a:pt x="2566200" y="71401"/>
                  </a:lnTo>
                  <a:cubicBezTo>
                    <a:pt x="2499843" y="47043"/>
                    <a:pt x="2457040" y="27019"/>
                    <a:pt x="2398922" y="15119"/>
                  </a:cubicBezTo>
                  <a:cubicBezTo>
                    <a:pt x="2287929" y="-1578"/>
                    <a:pt x="2277968" y="5040"/>
                    <a:pt x="2217491" y="0"/>
                  </a:cubicBezTo>
                  <a:lnTo>
                    <a:pt x="0" y="5040"/>
                  </a:lnTo>
                  <a:close/>
                </a:path>
              </a:pathLst>
            </a:custGeom>
            <a:noFill/>
            <a:ln w="9525" cap="flat" cmpd="sng">
              <a:solidFill>
                <a:srgbClr val="0011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218013" y="1330503"/>
            <a:ext cx="970910" cy="719190"/>
            <a:chOff x="3087384" y="1330503"/>
            <a:chExt cx="970910" cy="719190"/>
          </a:xfrm>
        </p:grpSpPr>
        <p:grpSp>
          <p:nvGrpSpPr>
            <p:cNvPr id="6" name="Group 5"/>
            <p:cNvGrpSpPr/>
            <p:nvPr/>
          </p:nvGrpSpPr>
          <p:grpSpPr>
            <a:xfrm>
              <a:off x="3236093" y="1738116"/>
              <a:ext cx="195476" cy="284571"/>
              <a:chOff x="4027203" y="1133288"/>
              <a:chExt cx="540499" cy="786847"/>
            </a:xfrm>
          </p:grpSpPr>
          <p:sp>
            <p:nvSpPr>
              <p:cNvPr id="112" name="Rounded Rectangle 111"/>
              <p:cNvSpPr/>
              <p:nvPr/>
            </p:nvSpPr>
            <p:spPr>
              <a:xfrm>
                <a:off x="4027203" y="1133288"/>
                <a:ext cx="540499" cy="711067"/>
              </a:xfrm>
              <a:prstGeom prst="roundRect">
                <a:avLst>
                  <a:gd name="adj" fmla="val 23381"/>
                </a:avLst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14" name="Oval 113"/>
              <p:cNvSpPr/>
              <p:nvPr/>
            </p:nvSpPr>
            <p:spPr>
              <a:xfrm>
                <a:off x="4108411" y="1527753"/>
                <a:ext cx="97301" cy="97301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15" name="Oval 114"/>
              <p:cNvSpPr/>
              <p:nvPr/>
            </p:nvSpPr>
            <p:spPr>
              <a:xfrm>
                <a:off x="4394169" y="1527753"/>
                <a:ext cx="97301" cy="97301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1" name="Rounded Rectangle 140"/>
              <p:cNvSpPr/>
              <p:nvPr/>
            </p:nvSpPr>
            <p:spPr>
              <a:xfrm>
                <a:off x="4099541" y="1248310"/>
                <a:ext cx="395822" cy="15425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2" name="Oval 141"/>
              <p:cNvSpPr/>
              <p:nvPr/>
            </p:nvSpPr>
            <p:spPr>
              <a:xfrm>
                <a:off x="4435265" y="1860457"/>
                <a:ext cx="59678" cy="59678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3" name="Oval 142"/>
              <p:cNvSpPr/>
              <p:nvPr/>
            </p:nvSpPr>
            <p:spPr>
              <a:xfrm>
                <a:off x="4116768" y="1860457"/>
                <a:ext cx="59678" cy="59678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3492947" y="1738116"/>
              <a:ext cx="195476" cy="284571"/>
              <a:chOff x="4027203" y="1133288"/>
              <a:chExt cx="540499" cy="786847"/>
            </a:xfrm>
          </p:grpSpPr>
          <p:sp>
            <p:nvSpPr>
              <p:cNvPr id="145" name="Rounded Rectangle 144"/>
              <p:cNvSpPr/>
              <p:nvPr/>
            </p:nvSpPr>
            <p:spPr>
              <a:xfrm>
                <a:off x="4027203" y="1133288"/>
                <a:ext cx="540499" cy="711067"/>
              </a:xfrm>
              <a:prstGeom prst="roundRect">
                <a:avLst>
                  <a:gd name="adj" fmla="val 23381"/>
                </a:avLst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6" name="Oval 145"/>
              <p:cNvSpPr/>
              <p:nvPr/>
            </p:nvSpPr>
            <p:spPr>
              <a:xfrm>
                <a:off x="4108411" y="1527753"/>
                <a:ext cx="97301" cy="97301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7" name="Oval 146"/>
              <p:cNvSpPr/>
              <p:nvPr/>
            </p:nvSpPr>
            <p:spPr>
              <a:xfrm>
                <a:off x="4394169" y="1527753"/>
                <a:ext cx="97301" cy="97301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8" name="Rounded Rectangle 147"/>
              <p:cNvSpPr/>
              <p:nvPr/>
            </p:nvSpPr>
            <p:spPr>
              <a:xfrm>
                <a:off x="4099541" y="1248310"/>
                <a:ext cx="395822" cy="15425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49" name="Oval 148"/>
              <p:cNvSpPr/>
              <p:nvPr/>
            </p:nvSpPr>
            <p:spPr>
              <a:xfrm>
                <a:off x="4435265" y="1860457"/>
                <a:ext cx="59678" cy="59678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50" name="Oval 149"/>
              <p:cNvSpPr/>
              <p:nvPr/>
            </p:nvSpPr>
            <p:spPr>
              <a:xfrm>
                <a:off x="4116768" y="1860457"/>
                <a:ext cx="59678" cy="59678"/>
              </a:xfrm>
              <a:prstGeom prst="ellipse">
                <a:avLst/>
              </a:prstGeom>
              <a:solidFill>
                <a:srgbClr val="FFFFFF"/>
              </a:solidFill>
              <a:ln w="9525" cmpd="sng">
                <a:solidFill>
                  <a:schemeClr val="tx2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sp>
          <p:nvSpPr>
            <p:cNvPr id="9" name="Freeform 8"/>
            <p:cNvSpPr/>
            <p:nvPr/>
          </p:nvSpPr>
          <p:spPr>
            <a:xfrm>
              <a:off x="3169578" y="1623317"/>
              <a:ext cx="590764" cy="421240"/>
            </a:xfrm>
            <a:custGeom>
              <a:avLst/>
              <a:gdLst>
                <a:gd name="connsiteX0" fmla="*/ 0 w 590764"/>
                <a:gd name="connsiteY0" fmla="*/ 410966 h 421240"/>
                <a:gd name="connsiteX1" fmla="*/ 0 w 590764"/>
                <a:gd name="connsiteY1" fmla="*/ 0 h 421240"/>
                <a:gd name="connsiteX2" fmla="*/ 585626 w 590764"/>
                <a:gd name="connsiteY2" fmla="*/ 0 h 421240"/>
                <a:gd name="connsiteX3" fmla="*/ 590764 w 590764"/>
                <a:gd name="connsiteY3" fmla="*/ 421240 h 42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764" h="421240">
                  <a:moveTo>
                    <a:pt x="0" y="410966"/>
                  </a:moveTo>
                  <a:lnTo>
                    <a:pt x="0" y="0"/>
                  </a:lnTo>
                  <a:lnTo>
                    <a:pt x="585626" y="0"/>
                  </a:lnTo>
                  <a:cubicBezTo>
                    <a:pt x="587339" y="140413"/>
                    <a:pt x="589051" y="280827"/>
                    <a:pt x="590764" y="421240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1" name="Freeform 150"/>
            <p:cNvSpPr/>
            <p:nvPr/>
          </p:nvSpPr>
          <p:spPr>
            <a:xfrm>
              <a:off x="3087384" y="1458930"/>
              <a:ext cx="760287" cy="590763"/>
            </a:xfrm>
            <a:custGeom>
              <a:avLst/>
              <a:gdLst>
                <a:gd name="connsiteX0" fmla="*/ 0 w 590764"/>
                <a:gd name="connsiteY0" fmla="*/ 410966 h 421240"/>
                <a:gd name="connsiteX1" fmla="*/ 0 w 590764"/>
                <a:gd name="connsiteY1" fmla="*/ 0 h 421240"/>
                <a:gd name="connsiteX2" fmla="*/ 585626 w 590764"/>
                <a:gd name="connsiteY2" fmla="*/ 0 h 421240"/>
                <a:gd name="connsiteX3" fmla="*/ 590764 w 590764"/>
                <a:gd name="connsiteY3" fmla="*/ 421240 h 42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764" h="421240">
                  <a:moveTo>
                    <a:pt x="0" y="410966"/>
                  </a:moveTo>
                  <a:lnTo>
                    <a:pt x="0" y="0"/>
                  </a:lnTo>
                  <a:lnTo>
                    <a:pt x="585626" y="0"/>
                  </a:lnTo>
                  <a:cubicBezTo>
                    <a:pt x="587339" y="140413"/>
                    <a:pt x="589051" y="280827"/>
                    <a:pt x="590764" y="421240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3215811" y="1515438"/>
              <a:ext cx="56508" cy="71919"/>
            </a:xfrm>
            <a:custGeom>
              <a:avLst/>
              <a:gdLst>
                <a:gd name="connsiteX0" fmla="*/ 0 w 56508"/>
                <a:gd name="connsiteY0" fmla="*/ 0 h 71919"/>
                <a:gd name="connsiteX1" fmla="*/ 56508 w 56508"/>
                <a:gd name="connsiteY1" fmla="*/ 0 h 71919"/>
                <a:gd name="connsiteX2" fmla="*/ 56508 w 56508"/>
                <a:gd name="connsiteY2" fmla="*/ 71919 h 7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508" h="71919">
                  <a:moveTo>
                    <a:pt x="0" y="0"/>
                  </a:moveTo>
                  <a:lnTo>
                    <a:pt x="56508" y="0"/>
                  </a:lnTo>
                  <a:lnTo>
                    <a:pt x="56508" y="71919"/>
                  </a:lnTo>
                </a:path>
              </a:pathLst>
            </a:custGeom>
            <a:noFill/>
            <a:ln w="952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2" name="Freeform 151"/>
            <p:cNvSpPr/>
            <p:nvPr/>
          </p:nvSpPr>
          <p:spPr>
            <a:xfrm>
              <a:off x="3431568" y="1515438"/>
              <a:ext cx="56508" cy="71919"/>
            </a:xfrm>
            <a:custGeom>
              <a:avLst/>
              <a:gdLst>
                <a:gd name="connsiteX0" fmla="*/ 0 w 56508"/>
                <a:gd name="connsiteY0" fmla="*/ 0 h 71919"/>
                <a:gd name="connsiteX1" fmla="*/ 56508 w 56508"/>
                <a:gd name="connsiteY1" fmla="*/ 0 h 71919"/>
                <a:gd name="connsiteX2" fmla="*/ 56508 w 56508"/>
                <a:gd name="connsiteY2" fmla="*/ 71919 h 7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508" h="71919">
                  <a:moveTo>
                    <a:pt x="0" y="0"/>
                  </a:moveTo>
                  <a:lnTo>
                    <a:pt x="56508" y="0"/>
                  </a:lnTo>
                  <a:lnTo>
                    <a:pt x="56508" y="71919"/>
                  </a:lnTo>
                </a:path>
              </a:pathLst>
            </a:custGeom>
            <a:noFill/>
            <a:ln w="952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3" name="Freeform 152"/>
            <p:cNvSpPr/>
            <p:nvPr/>
          </p:nvSpPr>
          <p:spPr>
            <a:xfrm>
              <a:off x="3642189" y="1515438"/>
              <a:ext cx="56508" cy="71919"/>
            </a:xfrm>
            <a:custGeom>
              <a:avLst/>
              <a:gdLst>
                <a:gd name="connsiteX0" fmla="*/ 0 w 56508"/>
                <a:gd name="connsiteY0" fmla="*/ 0 h 71919"/>
                <a:gd name="connsiteX1" fmla="*/ 56508 w 56508"/>
                <a:gd name="connsiteY1" fmla="*/ 0 h 71919"/>
                <a:gd name="connsiteX2" fmla="*/ 56508 w 56508"/>
                <a:gd name="connsiteY2" fmla="*/ 71919 h 7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508" h="71919">
                  <a:moveTo>
                    <a:pt x="0" y="0"/>
                  </a:moveTo>
                  <a:lnTo>
                    <a:pt x="56508" y="0"/>
                  </a:lnTo>
                  <a:lnTo>
                    <a:pt x="56508" y="71919"/>
                  </a:lnTo>
                </a:path>
              </a:pathLst>
            </a:custGeom>
            <a:noFill/>
            <a:ln w="952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54" name="Group 24"/>
            <p:cNvGrpSpPr>
              <a:grpSpLocks noChangeAspect="1"/>
            </p:cNvGrpSpPr>
            <p:nvPr/>
          </p:nvGrpSpPr>
          <p:grpSpPr bwMode="auto">
            <a:xfrm>
              <a:off x="3841166" y="1481628"/>
              <a:ext cx="217128" cy="133786"/>
              <a:chOff x="2632" y="1465"/>
              <a:chExt cx="495" cy="305"/>
            </a:xfrm>
          </p:grpSpPr>
          <p:sp>
            <p:nvSpPr>
              <p:cNvPr id="155" name="Freeform 25"/>
              <p:cNvSpPr>
                <a:spLocks/>
              </p:cNvSpPr>
              <p:nvPr/>
            </p:nvSpPr>
            <p:spPr bwMode="auto">
              <a:xfrm>
                <a:off x="2726" y="1465"/>
                <a:ext cx="401" cy="305"/>
              </a:xfrm>
              <a:custGeom>
                <a:avLst/>
                <a:gdLst>
                  <a:gd name="T0" fmla="*/ 0 w 401"/>
                  <a:gd name="T1" fmla="*/ 162 h 305"/>
                  <a:gd name="T2" fmla="*/ 245 w 401"/>
                  <a:gd name="T3" fmla="*/ 285 h 305"/>
                  <a:gd name="T4" fmla="*/ 269 w 401"/>
                  <a:gd name="T5" fmla="*/ 231 h 305"/>
                  <a:gd name="T6" fmla="*/ 313 w 401"/>
                  <a:gd name="T7" fmla="*/ 251 h 305"/>
                  <a:gd name="T8" fmla="*/ 338 w 401"/>
                  <a:gd name="T9" fmla="*/ 305 h 305"/>
                  <a:gd name="T10" fmla="*/ 401 w 401"/>
                  <a:gd name="T11" fmla="*/ 182 h 305"/>
                  <a:gd name="T12" fmla="*/ 343 w 401"/>
                  <a:gd name="T13" fmla="*/ 192 h 305"/>
                  <a:gd name="T14" fmla="*/ 299 w 401"/>
                  <a:gd name="T15" fmla="*/ 172 h 305"/>
                  <a:gd name="T16" fmla="*/ 328 w 401"/>
                  <a:gd name="T17" fmla="*/ 118 h 305"/>
                  <a:gd name="T18" fmla="*/ 78 w 401"/>
                  <a:gd name="T19" fmla="*/ 0 h 305"/>
                  <a:gd name="T20" fmla="*/ 0 w 401"/>
                  <a:gd name="T21" fmla="*/ 162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1" h="305">
                    <a:moveTo>
                      <a:pt x="0" y="162"/>
                    </a:moveTo>
                    <a:lnTo>
                      <a:pt x="245" y="285"/>
                    </a:lnTo>
                    <a:lnTo>
                      <a:pt x="269" y="231"/>
                    </a:lnTo>
                    <a:lnTo>
                      <a:pt x="313" y="251"/>
                    </a:lnTo>
                    <a:lnTo>
                      <a:pt x="338" y="305"/>
                    </a:lnTo>
                    <a:lnTo>
                      <a:pt x="401" y="182"/>
                    </a:lnTo>
                    <a:lnTo>
                      <a:pt x="343" y="192"/>
                    </a:lnTo>
                    <a:lnTo>
                      <a:pt x="299" y="172"/>
                    </a:lnTo>
                    <a:lnTo>
                      <a:pt x="328" y="118"/>
                    </a:lnTo>
                    <a:lnTo>
                      <a:pt x="78" y="0"/>
                    </a:lnTo>
                    <a:lnTo>
                      <a:pt x="0" y="16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56" name="Freeform 26"/>
              <p:cNvSpPr>
                <a:spLocks noEditPoints="1"/>
              </p:cNvSpPr>
              <p:nvPr/>
            </p:nvSpPr>
            <p:spPr bwMode="auto">
              <a:xfrm>
                <a:off x="2726" y="1465"/>
                <a:ext cx="401" cy="305"/>
              </a:xfrm>
              <a:custGeom>
                <a:avLst/>
                <a:gdLst>
                  <a:gd name="T0" fmla="*/ 299 w 401"/>
                  <a:gd name="T1" fmla="*/ 172 h 305"/>
                  <a:gd name="T2" fmla="*/ 343 w 401"/>
                  <a:gd name="T3" fmla="*/ 192 h 305"/>
                  <a:gd name="T4" fmla="*/ 401 w 401"/>
                  <a:gd name="T5" fmla="*/ 182 h 305"/>
                  <a:gd name="T6" fmla="*/ 338 w 401"/>
                  <a:gd name="T7" fmla="*/ 305 h 305"/>
                  <a:gd name="T8" fmla="*/ 313 w 401"/>
                  <a:gd name="T9" fmla="*/ 251 h 305"/>
                  <a:gd name="T10" fmla="*/ 269 w 401"/>
                  <a:gd name="T11" fmla="*/ 231 h 305"/>
                  <a:gd name="T12" fmla="*/ 245 w 401"/>
                  <a:gd name="T13" fmla="*/ 285 h 305"/>
                  <a:gd name="T14" fmla="*/ 0 w 401"/>
                  <a:gd name="T15" fmla="*/ 162 h 305"/>
                  <a:gd name="T16" fmla="*/ 78 w 401"/>
                  <a:gd name="T17" fmla="*/ 0 h 305"/>
                  <a:gd name="T18" fmla="*/ 328 w 401"/>
                  <a:gd name="T19" fmla="*/ 118 h 305"/>
                  <a:gd name="T20" fmla="*/ 245 w 401"/>
                  <a:gd name="T21" fmla="*/ 28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1" h="305">
                    <a:moveTo>
                      <a:pt x="299" y="172"/>
                    </a:moveTo>
                    <a:lnTo>
                      <a:pt x="343" y="192"/>
                    </a:lnTo>
                    <a:lnTo>
                      <a:pt x="401" y="182"/>
                    </a:lnTo>
                    <a:lnTo>
                      <a:pt x="338" y="305"/>
                    </a:lnTo>
                    <a:lnTo>
                      <a:pt x="313" y="251"/>
                    </a:lnTo>
                    <a:lnTo>
                      <a:pt x="269" y="231"/>
                    </a:lnTo>
                    <a:moveTo>
                      <a:pt x="245" y="285"/>
                    </a:moveTo>
                    <a:lnTo>
                      <a:pt x="0" y="162"/>
                    </a:lnTo>
                    <a:lnTo>
                      <a:pt x="78" y="0"/>
                    </a:lnTo>
                    <a:lnTo>
                      <a:pt x="328" y="118"/>
                    </a:lnTo>
                    <a:lnTo>
                      <a:pt x="245" y="285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57" name="Freeform 27"/>
              <p:cNvSpPr>
                <a:spLocks/>
              </p:cNvSpPr>
              <p:nvPr/>
            </p:nvSpPr>
            <p:spPr bwMode="auto">
              <a:xfrm>
                <a:off x="2632" y="1691"/>
                <a:ext cx="216" cy="59"/>
              </a:xfrm>
              <a:custGeom>
                <a:avLst/>
                <a:gdLst>
                  <a:gd name="T0" fmla="*/ 216 w 216"/>
                  <a:gd name="T1" fmla="*/ 0 h 59"/>
                  <a:gd name="T2" fmla="*/ 187 w 216"/>
                  <a:gd name="T3" fmla="*/ 59 h 59"/>
                  <a:gd name="T4" fmla="*/ 0 w 216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59">
                    <a:moveTo>
                      <a:pt x="216" y="0"/>
                    </a:moveTo>
                    <a:lnTo>
                      <a:pt x="187" y="59"/>
                    </a:lnTo>
                    <a:lnTo>
                      <a:pt x="0" y="5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sp>
          <p:nvSpPr>
            <p:cNvPr id="11" name="Arc 10"/>
            <p:cNvSpPr/>
            <p:nvPr/>
          </p:nvSpPr>
          <p:spPr>
            <a:xfrm>
              <a:off x="3087384" y="1330503"/>
              <a:ext cx="750014" cy="261991"/>
            </a:xfrm>
            <a:prstGeom prst="arc">
              <a:avLst>
                <a:gd name="adj1" fmla="val 10799998"/>
                <a:gd name="adj2" fmla="val 0"/>
              </a:avLst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58" name="Group 60"/>
            <p:cNvGrpSpPr>
              <a:grpSpLocks noChangeAspect="1"/>
            </p:cNvGrpSpPr>
            <p:nvPr/>
          </p:nvGrpSpPr>
          <p:grpSpPr bwMode="auto">
            <a:xfrm>
              <a:off x="3797691" y="1417262"/>
              <a:ext cx="85913" cy="86124"/>
              <a:chOff x="1450" y="1350"/>
              <a:chExt cx="431" cy="432"/>
            </a:xfrm>
          </p:grpSpPr>
          <p:sp>
            <p:nvSpPr>
              <p:cNvPr id="159" name="Oval 61"/>
              <p:cNvSpPr>
                <a:spLocks noChangeArrowheads="1"/>
              </p:cNvSpPr>
              <p:nvPr/>
            </p:nvSpPr>
            <p:spPr bwMode="auto">
              <a:xfrm>
                <a:off x="1656" y="1551"/>
                <a:ext cx="24" cy="25"/>
              </a:xfrm>
              <a:prstGeom prst="ellipse">
                <a:avLst/>
              </a:prstGeom>
              <a:solidFill>
                <a:srgbClr val="00D2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60" name="Freeform 62"/>
              <p:cNvSpPr>
                <a:spLocks noEditPoints="1"/>
              </p:cNvSpPr>
              <p:nvPr/>
            </p:nvSpPr>
            <p:spPr bwMode="auto">
              <a:xfrm>
                <a:off x="1450" y="1350"/>
                <a:ext cx="431" cy="432"/>
              </a:xfrm>
              <a:custGeom>
                <a:avLst/>
                <a:gdLst>
                  <a:gd name="T0" fmla="*/ 88 w 88"/>
                  <a:gd name="T1" fmla="*/ 44 h 88"/>
                  <a:gd name="T2" fmla="*/ 44 w 88"/>
                  <a:gd name="T3" fmla="*/ 0 h 88"/>
                  <a:gd name="T4" fmla="*/ 0 w 88"/>
                  <a:gd name="T5" fmla="*/ 44 h 88"/>
                  <a:gd name="T6" fmla="*/ 44 w 88"/>
                  <a:gd name="T7" fmla="*/ 88 h 88"/>
                  <a:gd name="T8" fmla="*/ 88 w 88"/>
                  <a:gd name="T9" fmla="*/ 44 h 88"/>
                  <a:gd name="T10" fmla="*/ 74 w 88"/>
                  <a:gd name="T11" fmla="*/ 44 h 88"/>
                  <a:gd name="T12" fmla="*/ 44 w 88"/>
                  <a:gd name="T13" fmla="*/ 14 h 88"/>
                  <a:gd name="T14" fmla="*/ 15 w 88"/>
                  <a:gd name="T15" fmla="*/ 44 h 88"/>
                  <a:gd name="T16" fmla="*/ 44 w 88"/>
                  <a:gd name="T17" fmla="*/ 73 h 88"/>
                  <a:gd name="T18" fmla="*/ 74 w 88"/>
                  <a:gd name="T19" fmla="*/ 44 h 88"/>
                  <a:gd name="T20" fmla="*/ 59 w 88"/>
                  <a:gd name="T21" fmla="*/ 44 h 88"/>
                  <a:gd name="T22" fmla="*/ 44 w 88"/>
                  <a:gd name="T23" fmla="*/ 29 h 88"/>
                  <a:gd name="T24" fmla="*/ 30 w 88"/>
                  <a:gd name="T25" fmla="*/ 44 h 88"/>
                  <a:gd name="T26" fmla="*/ 44 w 88"/>
                  <a:gd name="T27" fmla="*/ 58 h 88"/>
                  <a:gd name="T28" fmla="*/ 59 w 88"/>
                  <a:gd name="T29" fmla="*/ 4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88">
                    <a:moveTo>
                      <a:pt x="88" y="44"/>
                    </a:moveTo>
                    <a:cubicBezTo>
                      <a:pt x="88" y="19"/>
                      <a:pt x="69" y="0"/>
                      <a:pt x="44" y="0"/>
                    </a:cubicBezTo>
                    <a:cubicBezTo>
                      <a:pt x="20" y="0"/>
                      <a:pt x="0" y="19"/>
                      <a:pt x="0" y="44"/>
                    </a:cubicBezTo>
                    <a:cubicBezTo>
                      <a:pt x="0" y="68"/>
                      <a:pt x="20" y="88"/>
                      <a:pt x="44" y="88"/>
                    </a:cubicBezTo>
                    <a:cubicBezTo>
                      <a:pt x="69" y="88"/>
                      <a:pt x="88" y="68"/>
                      <a:pt x="88" y="44"/>
                    </a:cubicBezTo>
                    <a:close/>
                    <a:moveTo>
                      <a:pt x="74" y="44"/>
                    </a:moveTo>
                    <a:cubicBezTo>
                      <a:pt x="74" y="27"/>
                      <a:pt x="61" y="14"/>
                      <a:pt x="44" y="14"/>
                    </a:cubicBezTo>
                    <a:cubicBezTo>
                      <a:pt x="28" y="14"/>
                      <a:pt x="15" y="27"/>
                      <a:pt x="15" y="44"/>
                    </a:cubicBezTo>
                    <a:cubicBezTo>
                      <a:pt x="15" y="60"/>
                      <a:pt x="28" y="73"/>
                      <a:pt x="44" y="73"/>
                    </a:cubicBezTo>
                    <a:cubicBezTo>
                      <a:pt x="61" y="73"/>
                      <a:pt x="74" y="60"/>
                      <a:pt x="74" y="44"/>
                    </a:cubicBezTo>
                    <a:close/>
                    <a:moveTo>
                      <a:pt x="59" y="44"/>
                    </a:moveTo>
                    <a:cubicBezTo>
                      <a:pt x="59" y="36"/>
                      <a:pt x="52" y="29"/>
                      <a:pt x="44" y="29"/>
                    </a:cubicBezTo>
                    <a:cubicBezTo>
                      <a:pt x="36" y="29"/>
                      <a:pt x="30" y="36"/>
                      <a:pt x="30" y="44"/>
                    </a:cubicBezTo>
                    <a:cubicBezTo>
                      <a:pt x="30" y="52"/>
                      <a:pt x="36" y="58"/>
                      <a:pt x="44" y="58"/>
                    </a:cubicBezTo>
                    <a:cubicBezTo>
                      <a:pt x="52" y="58"/>
                      <a:pt x="59" y="52"/>
                      <a:pt x="59" y="44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00D2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1103313" y="1307167"/>
            <a:ext cx="1270919" cy="729846"/>
            <a:chOff x="1306513" y="1073150"/>
            <a:chExt cx="7032625" cy="4038600"/>
          </a:xfrm>
        </p:grpSpPr>
        <p:sp>
          <p:nvSpPr>
            <p:cNvPr id="162" name="Freeform 161"/>
            <p:cNvSpPr>
              <a:spLocks noChangeArrowheads="1"/>
            </p:cNvSpPr>
            <p:nvPr/>
          </p:nvSpPr>
          <p:spPr bwMode="auto">
            <a:xfrm>
              <a:off x="1306513" y="2995613"/>
              <a:ext cx="1527175" cy="2092325"/>
            </a:xfrm>
            <a:custGeom>
              <a:avLst/>
              <a:gdLst>
                <a:gd name="T0" fmla="*/ 0 w 4240"/>
                <a:gd name="T1" fmla="*/ 5809 h 5810"/>
                <a:gd name="T2" fmla="*/ 0 w 4240"/>
                <a:gd name="T3" fmla="*/ 0 h 5810"/>
                <a:gd name="T4" fmla="*/ 4239 w 4240"/>
                <a:gd name="T5" fmla="*/ 0 h 5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40" h="5810">
                  <a:moveTo>
                    <a:pt x="0" y="5809"/>
                  </a:moveTo>
                  <a:lnTo>
                    <a:pt x="0" y="0"/>
                  </a:lnTo>
                  <a:lnTo>
                    <a:pt x="4239" y="0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3" name="Freeform 162"/>
            <p:cNvSpPr>
              <a:spLocks noChangeArrowheads="1"/>
            </p:cNvSpPr>
            <p:nvPr/>
          </p:nvSpPr>
          <p:spPr bwMode="auto">
            <a:xfrm>
              <a:off x="3517900" y="2600325"/>
              <a:ext cx="1295400" cy="2493963"/>
            </a:xfrm>
            <a:custGeom>
              <a:avLst/>
              <a:gdLst>
                <a:gd name="T0" fmla="*/ 0 w 3598"/>
                <a:gd name="T1" fmla="*/ 1070 h 6929"/>
                <a:gd name="T2" fmla="*/ 2163 w 3598"/>
                <a:gd name="T3" fmla="*/ 1070 h 6929"/>
                <a:gd name="T4" fmla="*/ 2163 w 3598"/>
                <a:gd name="T5" fmla="*/ 0 h 6929"/>
                <a:gd name="T6" fmla="*/ 3597 w 3598"/>
                <a:gd name="T7" fmla="*/ 0 h 6929"/>
                <a:gd name="T8" fmla="*/ 3597 w 3598"/>
                <a:gd name="T9" fmla="*/ 6928 h 6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8" h="6929">
                  <a:moveTo>
                    <a:pt x="0" y="1070"/>
                  </a:moveTo>
                  <a:lnTo>
                    <a:pt x="2163" y="1070"/>
                  </a:lnTo>
                  <a:lnTo>
                    <a:pt x="2163" y="0"/>
                  </a:lnTo>
                  <a:lnTo>
                    <a:pt x="3597" y="0"/>
                  </a:lnTo>
                  <a:lnTo>
                    <a:pt x="3597" y="6928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4" name="Freeform 163"/>
            <p:cNvSpPr>
              <a:spLocks noChangeArrowheads="1"/>
            </p:cNvSpPr>
            <p:nvPr/>
          </p:nvSpPr>
          <p:spPr bwMode="auto">
            <a:xfrm>
              <a:off x="2068513" y="3354388"/>
              <a:ext cx="153987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5" name="Freeform 164"/>
            <p:cNvSpPr>
              <a:spLocks noChangeArrowheads="1"/>
            </p:cNvSpPr>
            <p:nvPr/>
          </p:nvSpPr>
          <p:spPr bwMode="auto">
            <a:xfrm>
              <a:off x="2635250" y="3354388"/>
              <a:ext cx="153988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6" name="Freeform 165"/>
            <p:cNvSpPr>
              <a:spLocks noChangeArrowheads="1"/>
            </p:cNvSpPr>
            <p:nvPr/>
          </p:nvSpPr>
          <p:spPr bwMode="auto">
            <a:xfrm>
              <a:off x="1555750" y="3695700"/>
              <a:ext cx="153988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7" name="Freeform 166"/>
            <p:cNvSpPr>
              <a:spLocks noChangeArrowheads="1"/>
            </p:cNvSpPr>
            <p:nvPr/>
          </p:nvSpPr>
          <p:spPr bwMode="auto">
            <a:xfrm>
              <a:off x="2058988" y="4048125"/>
              <a:ext cx="157162" cy="231775"/>
            </a:xfrm>
            <a:custGeom>
              <a:avLst/>
              <a:gdLst>
                <a:gd name="T0" fmla="*/ 0 w 436"/>
                <a:gd name="T1" fmla="*/ 0 h 644"/>
                <a:gd name="T2" fmla="*/ 435 w 436"/>
                <a:gd name="T3" fmla="*/ 0 h 644"/>
                <a:gd name="T4" fmla="*/ 435 w 436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6" h="644">
                  <a:moveTo>
                    <a:pt x="0" y="0"/>
                  </a:moveTo>
                  <a:lnTo>
                    <a:pt x="435" y="0"/>
                  </a:lnTo>
                  <a:lnTo>
                    <a:pt x="435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8" name="Freeform 167"/>
            <p:cNvSpPr>
              <a:spLocks noChangeArrowheads="1"/>
            </p:cNvSpPr>
            <p:nvPr/>
          </p:nvSpPr>
          <p:spPr bwMode="auto">
            <a:xfrm>
              <a:off x="2344738" y="4065588"/>
              <a:ext cx="153987" cy="231775"/>
            </a:xfrm>
            <a:custGeom>
              <a:avLst/>
              <a:gdLst>
                <a:gd name="T0" fmla="*/ 0 w 429"/>
                <a:gd name="T1" fmla="*/ 0 h 644"/>
                <a:gd name="T2" fmla="*/ 428 w 429"/>
                <a:gd name="T3" fmla="*/ 0 h 644"/>
                <a:gd name="T4" fmla="*/ 428 w 429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4">
                  <a:moveTo>
                    <a:pt x="0" y="0"/>
                  </a:moveTo>
                  <a:lnTo>
                    <a:pt x="428" y="0"/>
                  </a:lnTo>
                  <a:lnTo>
                    <a:pt x="428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9" name="Freeform 168"/>
            <p:cNvSpPr>
              <a:spLocks noChangeArrowheads="1"/>
            </p:cNvSpPr>
            <p:nvPr/>
          </p:nvSpPr>
          <p:spPr bwMode="auto">
            <a:xfrm>
              <a:off x="1589088" y="4692650"/>
              <a:ext cx="153987" cy="231775"/>
            </a:xfrm>
            <a:custGeom>
              <a:avLst/>
              <a:gdLst>
                <a:gd name="T0" fmla="*/ 0 w 429"/>
                <a:gd name="T1" fmla="*/ 0 h 644"/>
                <a:gd name="T2" fmla="*/ 428 w 429"/>
                <a:gd name="T3" fmla="*/ 0 h 644"/>
                <a:gd name="T4" fmla="*/ 428 w 429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4">
                  <a:moveTo>
                    <a:pt x="0" y="0"/>
                  </a:moveTo>
                  <a:lnTo>
                    <a:pt x="428" y="0"/>
                  </a:lnTo>
                  <a:lnTo>
                    <a:pt x="428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0" name="Freeform 169"/>
            <p:cNvSpPr>
              <a:spLocks noChangeArrowheads="1"/>
            </p:cNvSpPr>
            <p:nvPr/>
          </p:nvSpPr>
          <p:spPr bwMode="auto">
            <a:xfrm>
              <a:off x="1981200" y="4692650"/>
              <a:ext cx="157163" cy="231775"/>
            </a:xfrm>
            <a:custGeom>
              <a:avLst/>
              <a:gdLst>
                <a:gd name="T0" fmla="*/ 0 w 437"/>
                <a:gd name="T1" fmla="*/ 0 h 644"/>
                <a:gd name="T2" fmla="*/ 436 w 437"/>
                <a:gd name="T3" fmla="*/ 0 h 644"/>
                <a:gd name="T4" fmla="*/ 436 w 437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7" h="644">
                  <a:moveTo>
                    <a:pt x="0" y="0"/>
                  </a:moveTo>
                  <a:lnTo>
                    <a:pt x="436" y="0"/>
                  </a:lnTo>
                  <a:lnTo>
                    <a:pt x="436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1" name="Freeform 170"/>
            <p:cNvSpPr>
              <a:spLocks noChangeArrowheads="1"/>
            </p:cNvSpPr>
            <p:nvPr/>
          </p:nvSpPr>
          <p:spPr bwMode="auto">
            <a:xfrm>
              <a:off x="3671888" y="3695700"/>
              <a:ext cx="155575" cy="231775"/>
            </a:xfrm>
            <a:custGeom>
              <a:avLst/>
              <a:gdLst>
                <a:gd name="T0" fmla="*/ 0 w 430"/>
                <a:gd name="T1" fmla="*/ 0 h 643"/>
                <a:gd name="T2" fmla="*/ 429 w 430"/>
                <a:gd name="T3" fmla="*/ 0 h 643"/>
                <a:gd name="T4" fmla="*/ 429 w 430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0" h="643">
                  <a:moveTo>
                    <a:pt x="0" y="0"/>
                  </a:moveTo>
                  <a:lnTo>
                    <a:pt x="429" y="0"/>
                  </a:lnTo>
                  <a:lnTo>
                    <a:pt x="429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2" name="Freeform 171"/>
            <p:cNvSpPr>
              <a:spLocks noChangeArrowheads="1"/>
            </p:cNvSpPr>
            <p:nvPr/>
          </p:nvSpPr>
          <p:spPr bwMode="auto">
            <a:xfrm>
              <a:off x="3962400" y="3346450"/>
              <a:ext cx="153988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3" name="Freeform 172"/>
            <p:cNvSpPr>
              <a:spLocks noChangeArrowheads="1"/>
            </p:cNvSpPr>
            <p:nvPr/>
          </p:nvSpPr>
          <p:spPr bwMode="auto">
            <a:xfrm>
              <a:off x="4244975" y="3346450"/>
              <a:ext cx="157163" cy="231775"/>
            </a:xfrm>
            <a:custGeom>
              <a:avLst/>
              <a:gdLst>
                <a:gd name="T0" fmla="*/ 0 w 436"/>
                <a:gd name="T1" fmla="*/ 0 h 643"/>
                <a:gd name="T2" fmla="*/ 435 w 436"/>
                <a:gd name="T3" fmla="*/ 0 h 643"/>
                <a:gd name="T4" fmla="*/ 435 w 436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6" h="643">
                  <a:moveTo>
                    <a:pt x="0" y="0"/>
                  </a:moveTo>
                  <a:lnTo>
                    <a:pt x="435" y="0"/>
                  </a:lnTo>
                  <a:lnTo>
                    <a:pt x="435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4" name="Freeform 173"/>
            <p:cNvSpPr>
              <a:spLocks noChangeArrowheads="1"/>
            </p:cNvSpPr>
            <p:nvPr/>
          </p:nvSpPr>
          <p:spPr bwMode="auto">
            <a:xfrm>
              <a:off x="4505325" y="3346450"/>
              <a:ext cx="153988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5" name="Freeform 174"/>
            <p:cNvSpPr>
              <a:spLocks noChangeArrowheads="1"/>
            </p:cNvSpPr>
            <p:nvPr/>
          </p:nvSpPr>
          <p:spPr bwMode="auto">
            <a:xfrm>
              <a:off x="3921125" y="3662363"/>
              <a:ext cx="153988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6" name="Freeform 175"/>
            <p:cNvSpPr>
              <a:spLocks noChangeArrowheads="1"/>
            </p:cNvSpPr>
            <p:nvPr/>
          </p:nvSpPr>
          <p:spPr bwMode="auto">
            <a:xfrm>
              <a:off x="3948113" y="4059238"/>
              <a:ext cx="153987" cy="231775"/>
            </a:xfrm>
            <a:custGeom>
              <a:avLst/>
              <a:gdLst>
                <a:gd name="T0" fmla="*/ 0 w 429"/>
                <a:gd name="T1" fmla="*/ 0 h 643"/>
                <a:gd name="T2" fmla="*/ 428 w 429"/>
                <a:gd name="T3" fmla="*/ 0 h 643"/>
                <a:gd name="T4" fmla="*/ 428 w 429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9" h="643">
                  <a:moveTo>
                    <a:pt x="0" y="0"/>
                  </a:moveTo>
                  <a:lnTo>
                    <a:pt x="428" y="0"/>
                  </a:lnTo>
                  <a:lnTo>
                    <a:pt x="428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7" name="Freeform 176"/>
            <p:cNvSpPr>
              <a:spLocks noChangeArrowheads="1"/>
            </p:cNvSpPr>
            <p:nvPr/>
          </p:nvSpPr>
          <p:spPr bwMode="auto">
            <a:xfrm>
              <a:off x="4244975" y="4059238"/>
              <a:ext cx="157163" cy="231775"/>
            </a:xfrm>
            <a:custGeom>
              <a:avLst/>
              <a:gdLst>
                <a:gd name="T0" fmla="*/ 0 w 436"/>
                <a:gd name="T1" fmla="*/ 0 h 643"/>
                <a:gd name="T2" fmla="*/ 435 w 436"/>
                <a:gd name="T3" fmla="*/ 0 h 643"/>
                <a:gd name="T4" fmla="*/ 435 w 436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6" h="643">
                  <a:moveTo>
                    <a:pt x="0" y="0"/>
                  </a:moveTo>
                  <a:lnTo>
                    <a:pt x="435" y="0"/>
                  </a:lnTo>
                  <a:lnTo>
                    <a:pt x="435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8" name="Freeform 177"/>
            <p:cNvSpPr>
              <a:spLocks noChangeArrowheads="1"/>
            </p:cNvSpPr>
            <p:nvPr/>
          </p:nvSpPr>
          <p:spPr bwMode="auto">
            <a:xfrm>
              <a:off x="5249863" y="4176713"/>
              <a:ext cx="120650" cy="231775"/>
            </a:xfrm>
            <a:custGeom>
              <a:avLst/>
              <a:gdLst>
                <a:gd name="T0" fmla="*/ 0 w 337"/>
                <a:gd name="T1" fmla="*/ 0 h 644"/>
                <a:gd name="T2" fmla="*/ 336 w 337"/>
                <a:gd name="T3" fmla="*/ 0 h 644"/>
                <a:gd name="T4" fmla="*/ 336 w 337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7" h="644">
                  <a:moveTo>
                    <a:pt x="0" y="0"/>
                  </a:moveTo>
                  <a:lnTo>
                    <a:pt x="336" y="0"/>
                  </a:lnTo>
                  <a:lnTo>
                    <a:pt x="336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9" name="Freeform 178"/>
            <p:cNvSpPr>
              <a:spLocks noChangeArrowheads="1"/>
            </p:cNvSpPr>
            <p:nvPr/>
          </p:nvSpPr>
          <p:spPr bwMode="auto">
            <a:xfrm>
              <a:off x="5575300" y="4176713"/>
              <a:ext cx="119063" cy="231775"/>
            </a:xfrm>
            <a:custGeom>
              <a:avLst/>
              <a:gdLst>
                <a:gd name="T0" fmla="*/ 0 w 330"/>
                <a:gd name="T1" fmla="*/ 0 h 644"/>
                <a:gd name="T2" fmla="*/ 329 w 330"/>
                <a:gd name="T3" fmla="*/ 0 h 644"/>
                <a:gd name="T4" fmla="*/ 329 w 330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0" h="644">
                  <a:moveTo>
                    <a:pt x="0" y="0"/>
                  </a:moveTo>
                  <a:lnTo>
                    <a:pt x="329" y="0"/>
                  </a:lnTo>
                  <a:lnTo>
                    <a:pt x="329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0" name="Freeform 179"/>
            <p:cNvSpPr>
              <a:spLocks noChangeArrowheads="1"/>
            </p:cNvSpPr>
            <p:nvPr/>
          </p:nvSpPr>
          <p:spPr bwMode="auto">
            <a:xfrm>
              <a:off x="5575300" y="3765550"/>
              <a:ext cx="119063" cy="231775"/>
            </a:xfrm>
            <a:custGeom>
              <a:avLst/>
              <a:gdLst>
                <a:gd name="T0" fmla="*/ 0 w 330"/>
                <a:gd name="T1" fmla="*/ 0 h 644"/>
                <a:gd name="T2" fmla="*/ 329 w 330"/>
                <a:gd name="T3" fmla="*/ 0 h 644"/>
                <a:gd name="T4" fmla="*/ 329 w 330"/>
                <a:gd name="T5" fmla="*/ 64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0" h="644">
                  <a:moveTo>
                    <a:pt x="0" y="0"/>
                  </a:moveTo>
                  <a:lnTo>
                    <a:pt x="329" y="0"/>
                  </a:lnTo>
                  <a:lnTo>
                    <a:pt x="329" y="64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1" name="Freeform 180"/>
            <p:cNvSpPr>
              <a:spLocks noChangeArrowheads="1"/>
            </p:cNvSpPr>
            <p:nvPr/>
          </p:nvSpPr>
          <p:spPr bwMode="auto">
            <a:xfrm>
              <a:off x="5411788" y="2908300"/>
              <a:ext cx="198437" cy="231775"/>
            </a:xfrm>
            <a:custGeom>
              <a:avLst/>
              <a:gdLst>
                <a:gd name="T0" fmla="*/ 0 w 550"/>
                <a:gd name="T1" fmla="*/ 171 h 642"/>
                <a:gd name="T2" fmla="*/ 549 w 550"/>
                <a:gd name="T3" fmla="*/ 0 h 642"/>
                <a:gd name="T4" fmla="*/ 549 w 550"/>
                <a:gd name="T5" fmla="*/ 641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0" h="642">
                  <a:moveTo>
                    <a:pt x="0" y="171"/>
                  </a:moveTo>
                  <a:lnTo>
                    <a:pt x="549" y="0"/>
                  </a:lnTo>
                  <a:lnTo>
                    <a:pt x="549" y="641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2" name="Freeform 181"/>
            <p:cNvSpPr>
              <a:spLocks noChangeArrowheads="1"/>
            </p:cNvSpPr>
            <p:nvPr/>
          </p:nvSpPr>
          <p:spPr bwMode="auto">
            <a:xfrm>
              <a:off x="5076825" y="3028950"/>
              <a:ext cx="198438" cy="231775"/>
            </a:xfrm>
            <a:custGeom>
              <a:avLst/>
              <a:gdLst>
                <a:gd name="T0" fmla="*/ 0 w 551"/>
                <a:gd name="T1" fmla="*/ 164 h 643"/>
                <a:gd name="T2" fmla="*/ 550 w 551"/>
                <a:gd name="T3" fmla="*/ 0 h 643"/>
                <a:gd name="T4" fmla="*/ 550 w 551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1" h="643">
                  <a:moveTo>
                    <a:pt x="0" y="164"/>
                  </a:moveTo>
                  <a:lnTo>
                    <a:pt x="550" y="0"/>
                  </a:lnTo>
                  <a:lnTo>
                    <a:pt x="550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3" name="Freeform 182"/>
            <p:cNvSpPr>
              <a:spLocks noChangeArrowheads="1"/>
            </p:cNvSpPr>
            <p:nvPr/>
          </p:nvSpPr>
          <p:spPr bwMode="auto">
            <a:xfrm>
              <a:off x="6638925" y="3054350"/>
              <a:ext cx="187325" cy="231775"/>
            </a:xfrm>
            <a:custGeom>
              <a:avLst/>
              <a:gdLst>
                <a:gd name="T0" fmla="*/ 521 w 522"/>
                <a:gd name="T1" fmla="*/ 377 h 642"/>
                <a:gd name="T2" fmla="*/ 0 w 522"/>
                <a:gd name="T3" fmla="*/ 0 h 642"/>
                <a:gd name="T4" fmla="*/ 0 w 522"/>
                <a:gd name="T5" fmla="*/ 641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2" h="642">
                  <a:moveTo>
                    <a:pt x="521" y="377"/>
                  </a:moveTo>
                  <a:lnTo>
                    <a:pt x="0" y="0"/>
                  </a:lnTo>
                  <a:lnTo>
                    <a:pt x="0" y="641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4" name="Freeform 183"/>
            <p:cNvSpPr>
              <a:spLocks noChangeArrowheads="1"/>
            </p:cNvSpPr>
            <p:nvPr/>
          </p:nvSpPr>
          <p:spPr bwMode="auto">
            <a:xfrm>
              <a:off x="7194550" y="2970213"/>
              <a:ext cx="120650" cy="212725"/>
            </a:xfrm>
            <a:custGeom>
              <a:avLst/>
              <a:gdLst>
                <a:gd name="T0" fmla="*/ 0 w 336"/>
                <a:gd name="T1" fmla="*/ 0 h 592"/>
                <a:gd name="T2" fmla="*/ 335 w 336"/>
                <a:gd name="T3" fmla="*/ 0 h 592"/>
                <a:gd name="T4" fmla="*/ 335 w 336"/>
                <a:gd name="T5" fmla="*/ 591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6" h="592">
                  <a:moveTo>
                    <a:pt x="0" y="0"/>
                  </a:moveTo>
                  <a:lnTo>
                    <a:pt x="335" y="0"/>
                  </a:lnTo>
                  <a:lnTo>
                    <a:pt x="335" y="591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5" name="Freeform 184"/>
            <p:cNvSpPr>
              <a:spLocks noChangeArrowheads="1"/>
            </p:cNvSpPr>
            <p:nvPr/>
          </p:nvSpPr>
          <p:spPr bwMode="auto">
            <a:xfrm>
              <a:off x="7839075" y="2970213"/>
              <a:ext cx="119063" cy="212725"/>
            </a:xfrm>
            <a:custGeom>
              <a:avLst/>
              <a:gdLst>
                <a:gd name="T0" fmla="*/ 0 w 329"/>
                <a:gd name="T1" fmla="*/ 0 h 592"/>
                <a:gd name="T2" fmla="*/ 328 w 329"/>
                <a:gd name="T3" fmla="*/ 0 h 592"/>
                <a:gd name="T4" fmla="*/ 328 w 329"/>
                <a:gd name="T5" fmla="*/ 591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9" h="592">
                  <a:moveTo>
                    <a:pt x="0" y="0"/>
                  </a:moveTo>
                  <a:lnTo>
                    <a:pt x="328" y="0"/>
                  </a:lnTo>
                  <a:lnTo>
                    <a:pt x="328" y="591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6" name="Freeform 185"/>
            <p:cNvSpPr>
              <a:spLocks noChangeArrowheads="1"/>
            </p:cNvSpPr>
            <p:nvPr/>
          </p:nvSpPr>
          <p:spPr bwMode="auto">
            <a:xfrm>
              <a:off x="7453313" y="3311525"/>
              <a:ext cx="119062" cy="215900"/>
            </a:xfrm>
            <a:custGeom>
              <a:avLst/>
              <a:gdLst>
                <a:gd name="T0" fmla="*/ 0 w 329"/>
                <a:gd name="T1" fmla="*/ 0 h 601"/>
                <a:gd name="T2" fmla="*/ 328 w 329"/>
                <a:gd name="T3" fmla="*/ 0 h 601"/>
                <a:gd name="T4" fmla="*/ 328 w 329"/>
                <a:gd name="T5" fmla="*/ 60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9" h="601">
                  <a:moveTo>
                    <a:pt x="0" y="0"/>
                  </a:moveTo>
                  <a:lnTo>
                    <a:pt x="328" y="0"/>
                  </a:lnTo>
                  <a:lnTo>
                    <a:pt x="328" y="600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7" name="Freeform 186"/>
            <p:cNvSpPr>
              <a:spLocks noChangeArrowheads="1"/>
            </p:cNvSpPr>
            <p:nvPr/>
          </p:nvSpPr>
          <p:spPr bwMode="auto">
            <a:xfrm>
              <a:off x="7839075" y="3636963"/>
              <a:ext cx="119063" cy="212725"/>
            </a:xfrm>
            <a:custGeom>
              <a:avLst/>
              <a:gdLst>
                <a:gd name="T0" fmla="*/ 0 w 329"/>
                <a:gd name="T1" fmla="*/ 0 h 593"/>
                <a:gd name="T2" fmla="*/ 328 w 329"/>
                <a:gd name="T3" fmla="*/ 0 h 593"/>
                <a:gd name="T4" fmla="*/ 328 w 329"/>
                <a:gd name="T5" fmla="*/ 592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9" h="593">
                  <a:moveTo>
                    <a:pt x="0" y="0"/>
                  </a:moveTo>
                  <a:lnTo>
                    <a:pt x="328" y="0"/>
                  </a:lnTo>
                  <a:lnTo>
                    <a:pt x="328" y="59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8" name="Freeform 187"/>
            <p:cNvSpPr>
              <a:spLocks noChangeArrowheads="1"/>
            </p:cNvSpPr>
            <p:nvPr/>
          </p:nvSpPr>
          <p:spPr bwMode="auto">
            <a:xfrm>
              <a:off x="6089650" y="3695700"/>
              <a:ext cx="120650" cy="231775"/>
            </a:xfrm>
            <a:custGeom>
              <a:avLst/>
              <a:gdLst>
                <a:gd name="T0" fmla="*/ 0 w 336"/>
                <a:gd name="T1" fmla="*/ 0 h 643"/>
                <a:gd name="T2" fmla="*/ 335 w 336"/>
                <a:gd name="T3" fmla="*/ 0 h 643"/>
                <a:gd name="T4" fmla="*/ 335 w 336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6" h="643">
                  <a:moveTo>
                    <a:pt x="0" y="0"/>
                  </a:moveTo>
                  <a:lnTo>
                    <a:pt x="335" y="0"/>
                  </a:lnTo>
                  <a:lnTo>
                    <a:pt x="335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89" name="Freeform 188"/>
            <p:cNvSpPr>
              <a:spLocks noChangeArrowheads="1"/>
            </p:cNvSpPr>
            <p:nvPr/>
          </p:nvSpPr>
          <p:spPr bwMode="auto">
            <a:xfrm>
              <a:off x="6526213" y="3695700"/>
              <a:ext cx="128587" cy="231775"/>
            </a:xfrm>
            <a:custGeom>
              <a:avLst/>
              <a:gdLst>
                <a:gd name="T0" fmla="*/ 0 w 358"/>
                <a:gd name="T1" fmla="*/ 0 h 643"/>
                <a:gd name="T2" fmla="*/ 357 w 358"/>
                <a:gd name="T3" fmla="*/ 0 h 643"/>
                <a:gd name="T4" fmla="*/ 357 w 358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8" h="643">
                  <a:moveTo>
                    <a:pt x="0" y="0"/>
                  </a:moveTo>
                  <a:lnTo>
                    <a:pt x="357" y="0"/>
                  </a:lnTo>
                  <a:lnTo>
                    <a:pt x="357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0" name="Freeform 189"/>
            <p:cNvSpPr>
              <a:spLocks noChangeArrowheads="1"/>
            </p:cNvSpPr>
            <p:nvPr/>
          </p:nvSpPr>
          <p:spPr bwMode="auto">
            <a:xfrm>
              <a:off x="6946900" y="3695700"/>
              <a:ext cx="136525" cy="231775"/>
            </a:xfrm>
            <a:custGeom>
              <a:avLst/>
              <a:gdLst>
                <a:gd name="T0" fmla="*/ 0 w 380"/>
                <a:gd name="T1" fmla="*/ 0 h 643"/>
                <a:gd name="T2" fmla="*/ 379 w 380"/>
                <a:gd name="T3" fmla="*/ 0 h 643"/>
                <a:gd name="T4" fmla="*/ 379 w 380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0" h="643">
                  <a:moveTo>
                    <a:pt x="0" y="0"/>
                  </a:moveTo>
                  <a:lnTo>
                    <a:pt x="379" y="0"/>
                  </a:lnTo>
                  <a:lnTo>
                    <a:pt x="379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1" name="Freeform 190"/>
            <p:cNvSpPr>
              <a:spLocks noChangeArrowheads="1"/>
            </p:cNvSpPr>
            <p:nvPr/>
          </p:nvSpPr>
          <p:spPr bwMode="auto">
            <a:xfrm>
              <a:off x="6534150" y="4110038"/>
              <a:ext cx="120650" cy="231775"/>
            </a:xfrm>
            <a:custGeom>
              <a:avLst/>
              <a:gdLst>
                <a:gd name="T0" fmla="*/ 0 w 337"/>
                <a:gd name="T1" fmla="*/ 0 h 643"/>
                <a:gd name="T2" fmla="*/ 336 w 337"/>
                <a:gd name="T3" fmla="*/ 0 h 643"/>
                <a:gd name="T4" fmla="*/ 336 w 337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7" h="643">
                  <a:moveTo>
                    <a:pt x="0" y="0"/>
                  </a:moveTo>
                  <a:lnTo>
                    <a:pt x="336" y="0"/>
                  </a:lnTo>
                  <a:lnTo>
                    <a:pt x="336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2" name="Freeform 191"/>
            <p:cNvSpPr>
              <a:spLocks noChangeArrowheads="1"/>
            </p:cNvSpPr>
            <p:nvPr/>
          </p:nvSpPr>
          <p:spPr bwMode="auto">
            <a:xfrm>
              <a:off x="6946900" y="4110038"/>
              <a:ext cx="136525" cy="231775"/>
            </a:xfrm>
            <a:custGeom>
              <a:avLst/>
              <a:gdLst>
                <a:gd name="T0" fmla="*/ 0 w 380"/>
                <a:gd name="T1" fmla="*/ 0 h 643"/>
                <a:gd name="T2" fmla="*/ 379 w 380"/>
                <a:gd name="T3" fmla="*/ 0 h 643"/>
                <a:gd name="T4" fmla="*/ 379 w 380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0" h="643">
                  <a:moveTo>
                    <a:pt x="0" y="0"/>
                  </a:moveTo>
                  <a:lnTo>
                    <a:pt x="379" y="0"/>
                  </a:lnTo>
                  <a:lnTo>
                    <a:pt x="379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3" name="Freeform 192"/>
            <p:cNvSpPr>
              <a:spLocks noChangeArrowheads="1"/>
            </p:cNvSpPr>
            <p:nvPr/>
          </p:nvSpPr>
          <p:spPr bwMode="auto">
            <a:xfrm>
              <a:off x="6946900" y="4529138"/>
              <a:ext cx="136525" cy="231775"/>
            </a:xfrm>
            <a:custGeom>
              <a:avLst/>
              <a:gdLst>
                <a:gd name="T0" fmla="*/ 0 w 380"/>
                <a:gd name="T1" fmla="*/ 0 h 643"/>
                <a:gd name="T2" fmla="*/ 379 w 380"/>
                <a:gd name="T3" fmla="*/ 0 h 643"/>
                <a:gd name="T4" fmla="*/ 379 w 380"/>
                <a:gd name="T5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0" h="643">
                  <a:moveTo>
                    <a:pt x="0" y="0"/>
                  </a:moveTo>
                  <a:lnTo>
                    <a:pt x="379" y="0"/>
                  </a:lnTo>
                  <a:lnTo>
                    <a:pt x="379" y="642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" name="Freeform 193"/>
            <p:cNvSpPr>
              <a:spLocks noChangeArrowheads="1"/>
            </p:cNvSpPr>
            <p:nvPr/>
          </p:nvSpPr>
          <p:spPr bwMode="auto">
            <a:xfrm>
              <a:off x="4905375" y="2617788"/>
              <a:ext cx="2043113" cy="385762"/>
            </a:xfrm>
            <a:custGeom>
              <a:avLst/>
              <a:gdLst>
                <a:gd name="T0" fmla="*/ 0 w 5674"/>
                <a:gd name="T1" fmla="*/ 950 h 1072"/>
                <a:gd name="T2" fmla="*/ 0 w 5674"/>
                <a:gd name="T3" fmla="*/ 950 h 1072"/>
                <a:gd name="T4" fmla="*/ 2812 w 5674"/>
                <a:gd name="T5" fmla="*/ 0 h 1072"/>
                <a:gd name="T6" fmla="*/ 5673 w 5674"/>
                <a:gd name="T7" fmla="*/ 1071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74" h="1072">
                  <a:moveTo>
                    <a:pt x="0" y="950"/>
                  </a:moveTo>
                  <a:lnTo>
                    <a:pt x="0" y="950"/>
                  </a:lnTo>
                  <a:cubicBezTo>
                    <a:pt x="0" y="950"/>
                    <a:pt x="1028" y="0"/>
                    <a:pt x="2812" y="0"/>
                  </a:cubicBezTo>
                  <a:cubicBezTo>
                    <a:pt x="4596" y="0"/>
                    <a:pt x="5673" y="1071"/>
                    <a:pt x="5673" y="1071"/>
                  </a:cubicBez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" name="Freeform 194"/>
            <p:cNvSpPr>
              <a:spLocks noChangeArrowheads="1"/>
            </p:cNvSpPr>
            <p:nvPr/>
          </p:nvSpPr>
          <p:spPr bwMode="auto">
            <a:xfrm>
              <a:off x="2000250" y="1484313"/>
              <a:ext cx="2332038" cy="3627437"/>
            </a:xfrm>
            <a:custGeom>
              <a:avLst/>
              <a:gdLst>
                <a:gd name="T0" fmla="*/ 3810 w 6480"/>
                <a:gd name="T1" fmla="*/ 10076 h 10077"/>
                <a:gd name="T2" fmla="*/ 3810 w 6480"/>
                <a:gd name="T3" fmla="*/ 10076 h 10077"/>
                <a:gd name="T4" fmla="*/ 3810 w 6480"/>
                <a:gd name="T5" fmla="*/ 1863 h 10077"/>
                <a:gd name="T6" fmla="*/ 4117 w 6480"/>
                <a:gd name="T7" fmla="*/ 1192 h 10077"/>
                <a:gd name="T8" fmla="*/ 4767 w 6480"/>
                <a:gd name="T9" fmla="*/ 814 h 10077"/>
                <a:gd name="T10" fmla="*/ 6479 w 6480"/>
                <a:gd name="T11" fmla="*/ 814 h 10077"/>
                <a:gd name="T12" fmla="*/ 6479 w 6480"/>
                <a:gd name="T13" fmla="*/ 0 h 10077"/>
                <a:gd name="T14" fmla="*/ 0 w 6480"/>
                <a:gd name="T15" fmla="*/ 0 h 10077"/>
                <a:gd name="T16" fmla="*/ 0 w 6480"/>
                <a:gd name="T17" fmla="*/ 478 h 10077"/>
                <a:gd name="T18" fmla="*/ 0 w 6480"/>
                <a:gd name="T19" fmla="*/ 814 h 10077"/>
                <a:gd name="T20" fmla="*/ 1712 w 6480"/>
                <a:gd name="T21" fmla="*/ 814 h 10077"/>
                <a:gd name="T22" fmla="*/ 2355 w 6480"/>
                <a:gd name="T23" fmla="*/ 1192 h 10077"/>
                <a:gd name="T24" fmla="*/ 2669 w 6480"/>
                <a:gd name="T25" fmla="*/ 1863 h 10077"/>
                <a:gd name="T26" fmla="*/ 2669 w 6480"/>
                <a:gd name="T27" fmla="*/ 10076 h 10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80" h="10077">
                  <a:moveTo>
                    <a:pt x="3810" y="10076"/>
                  </a:moveTo>
                  <a:lnTo>
                    <a:pt x="3810" y="10076"/>
                  </a:lnTo>
                  <a:cubicBezTo>
                    <a:pt x="3810" y="1863"/>
                    <a:pt x="3810" y="1863"/>
                    <a:pt x="3810" y="1863"/>
                  </a:cubicBezTo>
                  <a:cubicBezTo>
                    <a:pt x="3810" y="1863"/>
                    <a:pt x="3875" y="1428"/>
                    <a:pt x="4117" y="1192"/>
                  </a:cubicBezTo>
                  <a:cubicBezTo>
                    <a:pt x="4481" y="864"/>
                    <a:pt x="4767" y="814"/>
                    <a:pt x="4767" y="814"/>
                  </a:cubicBezTo>
                  <a:cubicBezTo>
                    <a:pt x="6479" y="814"/>
                    <a:pt x="6479" y="814"/>
                    <a:pt x="6479" y="814"/>
                  </a:cubicBezTo>
                  <a:cubicBezTo>
                    <a:pt x="6479" y="0"/>
                    <a:pt x="6479" y="0"/>
                    <a:pt x="64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78"/>
                    <a:pt x="0" y="478"/>
                    <a:pt x="0" y="478"/>
                  </a:cubicBezTo>
                  <a:cubicBezTo>
                    <a:pt x="0" y="814"/>
                    <a:pt x="0" y="814"/>
                    <a:pt x="0" y="814"/>
                  </a:cubicBezTo>
                  <a:cubicBezTo>
                    <a:pt x="1712" y="814"/>
                    <a:pt x="1712" y="814"/>
                    <a:pt x="1712" y="814"/>
                  </a:cubicBezTo>
                  <a:cubicBezTo>
                    <a:pt x="1712" y="814"/>
                    <a:pt x="1998" y="864"/>
                    <a:pt x="2355" y="1192"/>
                  </a:cubicBezTo>
                  <a:cubicBezTo>
                    <a:pt x="2604" y="1428"/>
                    <a:pt x="2669" y="1863"/>
                    <a:pt x="2669" y="1863"/>
                  </a:cubicBezTo>
                  <a:cubicBezTo>
                    <a:pt x="2669" y="10076"/>
                    <a:pt x="2669" y="10076"/>
                    <a:pt x="2669" y="10076"/>
                  </a:cubicBez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6" name="Freeform 195"/>
            <p:cNvSpPr>
              <a:spLocks noChangeArrowheads="1"/>
            </p:cNvSpPr>
            <p:nvPr/>
          </p:nvSpPr>
          <p:spPr bwMode="auto">
            <a:xfrm>
              <a:off x="1771650" y="1711325"/>
              <a:ext cx="334963" cy="336550"/>
            </a:xfrm>
            <a:custGeom>
              <a:avLst/>
              <a:gdLst>
                <a:gd name="T0" fmla="*/ 928 w 929"/>
                <a:gd name="T1" fmla="*/ 471 h 936"/>
                <a:gd name="T2" fmla="*/ 928 w 929"/>
                <a:gd name="T3" fmla="*/ 471 h 936"/>
                <a:gd name="T4" fmla="*/ 464 w 929"/>
                <a:gd name="T5" fmla="*/ 0 h 936"/>
                <a:gd name="T6" fmla="*/ 0 w 929"/>
                <a:gd name="T7" fmla="*/ 471 h 936"/>
                <a:gd name="T8" fmla="*/ 464 w 929"/>
                <a:gd name="T9" fmla="*/ 935 h 936"/>
                <a:gd name="T10" fmla="*/ 928 w 929"/>
                <a:gd name="T11" fmla="*/ 471 h 936"/>
                <a:gd name="T12" fmla="*/ 714 w 929"/>
                <a:gd name="T13" fmla="*/ 471 h 936"/>
                <a:gd name="T14" fmla="*/ 714 w 929"/>
                <a:gd name="T15" fmla="*/ 471 h 936"/>
                <a:gd name="T16" fmla="*/ 464 w 929"/>
                <a:gd name="T17" fmla="*/ 222 h 936"/>
                <a:gd name="T18" fmla="*/ 214 w 929"/>
                <a:gd name="T19" fmla="*/ 471 h 936"/>
                <a:gd name="T20" fmla="*/ 464 w 929"/>
                <a:gd name="T21" fmla="*/ 721 h 936"/>
                <a:gd name="T22" fmla="*/ 714 w 929"/>
                <a:gd name="T23" fmla="*/ 471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9" h="936">
                  <a:moveTo>
                    <a:pt x="928" y="471"/>
                  </a:moveTo>
                  <a:lnTo>
                    <a:pt x="928" y="471"/>
                  </a:lnTo>
                  <a:cubicBezTo>
                    <a:pt x="928" y="214"/>
                    <a:pt x="721" y="0"/>
                    <a:pt x="464" y="0"/>
                  </a:cubicBezTo>
                  <a:cubicBezTo>
                    <a:pt x="207" y="0"/>
                    <a:pt x="0" y="214"/>
                    <a:pt x="0" y="471"/>
                  </a:cubicBezTo>
                  <a:cubicBezTo>
                    <a:pt x="0" y="728"/>
                    <a:pt x="207" y="935"/>
                    <a:pt x="464" y="935"/>
                  </a:cubicBezTo>
                  <a:cubicBezTo>
                    <a:pt x="721" y="935"/>
                    <a:pt x="928" y="728"/>
                    <a:pt x="928" y="471"/>
                  </a:cubicBezTo>
                  <a:close/>
                  <a:moveTo>
                    <a:pt x="714" y="471"/>
                  </a:moveTo>
                  <a:lnTo>
                    <a:pt x="714" y="471"/>
                  </a:lnTo>
                  <a:cubicBezTo>
                    <a:pt x="714" y="329"/>
                    <a:pt x="600" y="222"/>
                    <a:pt x="464" y="222"/>
                  </a:cubicBezTo>
                  <a:cubicBezTo>
                    <a:pt x="329" y="222"/>
                    <a:pt x="214" y="329"/>
                    <a:pt x="214" y="471"/>
                  </a:cubicBezTo>
                  <a:cubicBezTo>
                    <a:pt x="214" y="607"/>
                    <a:pt x="329" y="721"/>
                    <a:pt x="464" y="721"/>
                  </a:cubicBezTo>
                  <a:cubicBezTo>
                    <a:pt x="600" y="721"/>
                    <a:pt x="714" y="607"/>
                    <a:pt x="714" y="47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32C5F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" name="Freeform 196"/>
            <p:cNvSpPr>
              <a:spLocks noChangeArrowheads="1"/>
            </p:cNvSpPr>
            <p:nvPr/>
          </p:nvSpPr>
          <p:spPr bwMode="auto">
            <a:xfrm>
              <a:off x="7007225" y="2130425"/>
              <a:ext cx="1108075" cy="2938463"/>
            </a:xfrm>
            <a:custGeom>
              <a:avLst/>
              <a:gdLst>
                <a:gd name="T0" fmla="*/ 0 w 3077"/>
                <a:gd name="T1" fmla="*/ 3453 h 8164"/>
                <a:gd name="T2" fmla="*/ 0 w 3077"/>
                <a:gd name="T3" fmla="*/ 663 h 8164"/>
                <a:gd name="T4" fmla="*/ 1620 w 3077"/>
                <a:gd name="T5" fmla="*/ 0 h 8164"/>
                <a:gd name="T6" fmla="*/ 3076 w 3077"/>
                <a:gd name="T7" fmla="*/ 685 h 8164"/>
                <a:gd name="T8" fmla="*/ 3076 w 3077"/>
                <a:gd name="T9" fmla="*/ 8163 h 8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7" h="8164">
                  <a:moveTo>
                    <a:pt x="0" y="3453"/>
                  </a:moveTo>
                  <a:lnTo>
                    <a:pt x="0" y="663"/>
                  </a:lnTo>
                  <a:lnTo>
                    <a:pt x="1620" y="0"/>
                  </a:lnTo>
                  <a:lnTo>
                    <a:pt x="3076" y="685"/>
                  </a:lnTo>
                  <a:lnTo>
                    <a:pt x="3076" y="8163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8" name="Freeform 197"/>
            <p:cNvSpPr>
              <a:spLocks noChangeArrowheads="1"/>
            </p:cNvSpPr>
            <p:nvPr/>
          </p:nvSpPr>
          <p:spPr bwMode="auto">
            <a:xfrm>
              <a:off x="5876925" y="3413125"/>
              <a:ext cx="1420813" cy="1681163"/>
            </a:xfrm>
            <a:custGeom>
              <a:avLst/>
              <a:gdLst>
                <a:gd name="T0" fmla="*/ 0 w 3948"/>
                <a:gd name="T1" fmla="*/ 4667 h 4668"/>
                <a:gd name="T2" fmla="*/ 0 w 3948"/>
                <a:gd name="T3" fmla="*/ 4667 h 4668"/>
                <a:gd name="T4" fmla="*/ 0 w 3948"/>
                <a:gd name="T5" fmla="*/ 264 h 4668"/>
                <a:gd name="T6" fmla="*/ 1949 w 3948"/>
                <a:gd name="T7" fmla="*/ 0 h 4668"/>
                <a:gd name="T8" fmla="*/ 3947 w 3948"/>
                <a:gd name="T9" fmla="*/ 285 h 4668"/>
                <a:gd name="T10" fmla="*/ 3947 w 3948"/>
                <a:gd name="T11" fmla="*/ 4667 h 4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8" h="4668">
                  <a:moveTo>
                    <a:pt x="0" y="4667"/>
                  </a:moveTo>
                  <a:lnTo>
                    <a:pt x="0" y="4667"/>
                  </a:lnTo>
                  <a:cubicBezTo>
                    <a:pt x="0" y="264"/>
                    <a:pt x="0" y="264"/>
                    <a:pt x="0" y="264"/>
                  </a:cubicBezTo>
                  <a:cubicBezTo>
                    <a:pt x="0" y="264"/>
                    <a:pt x="1185" y="0"/>
                    <a:pt x="1949" y="0"/>
                  </a:cubicBezTo>
                  <a:cubicBezTo>
                    <a:pt x="2712" y="0"/>
                    <a:pt x="3947" y="285"/>
                    <a:pt x="3947" y="285"/>
                  </a:cubicBezTo>
                  <a:cubicBezTo>
                    <a:pt x="3947" y="4667"/>
                    <a:pt x="3947" y="4667"/>
                    <a:pt x="3947" y="4667"/>
                  </a:cubicBez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9" name="Freeform 198"/>
            <p:cNvSpPr>
              <a:spLocks noChangeArrowheads="1"/>
            </p:cNvSpPr>
            <p:nvPr/>
          </p:nvSpPr>
          <p:spPr bwMode="auto">
            <a:xfrm>
              <a:off x="5018088" y="3071813"/>
              <a:ext cx="1295400" cy="2022475"/>
            </a:xfrm>
            <a:custGeom>
              <a:avLst/>
              <a:gdLst>
                <a:gd name="T0" fmla="*/ 0 w 3598"/>
                <a:gd name="T1" fmla="*/ 5615 h 5616"/>
                <a:gd name="T2" fmla="*/ 0 w 3598"/>
                <a:gd name="T3" fmla="*/ 2140 h 5616"/>
                <a:gd name="T4" fmla="*/ 3597 w 3598"/>
                <a:gd name="T5" fmla="*/ 0 h 5616"/>
                <a:gd name="T6" fmla="*/ 3597 w 3598"/>
                <a:gd name="T7" fmla="*/ 784 h 5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98" h="5616">
                  <a:moveTo>
                    <a:pt x="0" y="5615"/>
                  </a:moveTo>
                  <a:lnTo>
                    <a:pt x="0" y="2140"/>
                  </a:lnTo>
                  <a:lnTo>
                    <a:pt x="3597" y="0"/>
                  </a:lnTo>
                  <a:lnTo>
                    <a:pt x="3597" y="784"/>
                  </a:ln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0" name="Freeform 199"/>
            <p:cNvSpPr>
              <a:spLocks noChangeArrowheads="1"/>
            </p:cNvSpPr>
            <p:nvPr/>
          </p:nvSpPr>
          <p:spPr bwMode="auto">
            <a:xfrm>
              <a:off x="2154238" y="1073150"/>
              <a:ext cx="2065337" cy="422275"/>
            </a:xfrm>
            <a:custGeom>
              <a:avLst/>
              <a:gdLst>
                <a:gd name="T0" fmla="*/ 0 w 5738"/>
                <a:gd name="T1" fmla="*/ 1142 h 1172"/>
                <a:gd name="T2" fmla="*/ 0 w 5738"/>
                <a:gd name="T3" fmla="*/ 1142 h 1172"/>
                <a:gd name="T4" fmla="*/ 2812 w 5738"/>
                <a:gd name="T5" fmla="*/ 0 h 1172"/>
                <a:gd name="T6" fmla="*/ 5737 w 5738"/>
                <a:gd name="T7" fmla="*/ 1171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38" h="1172">
                  <a:moveTo>
                    <a:pt x="0" y="1142"/>
                  </a:moveTo>
                  <a:lnTo>
                    <a:pt x="0" y="1142"/>
                  </a:lnTo>
                  <a:cubicBezTo>
                    <a:pt x="0" y="1142"/>
                    <a:pt x="406" y="0"/>
                    <a:pt x="2812" y="0"/>
                  </a:cubicBezTo>
                  <a:cubicBezTo>
                    <a:pt x="5217" y="0"/>
                    <a:pt x="5737" y="1171"/>
                    <a:pt x="5737" y="1171"/>
                  </a:cubicBezTo>
                </a:path>
              </a:pathLst>
            </a:cu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1" name="Line 40"/>
            <p:cNvSpPr>
              <a:spLocks noChangeShapeType="1"/>
            </p:cNvSpPr>
            <p:nvPr/>
          </p:nvSpPr>
          <p:spPr bwMode="auto">
            <a:xfrm flipV="1">
              <a:off x="3430588" y="1250950"/>
              <a:ext cx="1587" cy="227013"/>
            </a:xfrm>
            <a:prstGeom prst="line">
              <a:avLst/>
            </a:pr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2" name="Line 41"/>
            <p:cNvSpPr>
              <a:spLocks noChangeShapeType="1"/>
            </p:cNvSpPr>
            <p:nvPr/>
          </p:nvSpPr>
          <p:spPr bwMode="auto">
            <a:xfrm flipV="1">
              <a:off x="3654425" y="1270000"/>
              <a:ext cx="1588" cy="207963"/>
            </a:xfrm>
            <a:prstGeom prst="line">
              <a:avLst/>
            </a:pr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3" name="Line 42"/>
            <p:cNvSpPr>
              <a:spLocks noChangeShapeType="1"/>
            </p:cNvSpPr>
            <p:nvPr/>
          </p:nvSpPr>
          <p:spPr bwMode="auto">
            <a:xfrm flipV="1">
              <a:off x="3844925" y="1354138"/>
              <a:ext cx="1588" cy="123825"/>
            </a:xfrm>
            <a:prstGeom prst="line">
              <a:avLst/>
            </a:prstGeom>
            <a:noFill/>
            <a:ln w="9525" cap="flat">
              <a:solidFill>
                <a:srgbClr val="08153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04" name="Freeform 203"/>
            <p:cNvSpPr>
              <a:spLocks noChangeArrowheads="1"/>
            </p:cNvSpPr>
            <p:nvPr/>
          </p:nvSpPr>
          <p:spPr bwMode="auto">
            <a:xfrm>
              <a:off x="8004175" y="2176463"/>
              <a:ext cx="334963" cy="334962"/>
            </a:xfrm>
            <a:custGeom>
              <a:avLst/>
              <a:gdLst>
                <a:gd name="T0" fmla="*/ 928 w 929"/>
                <a:gd name="T1" fmla="*/ 464 h 929"/>
                <a:gd name="T2" fmla="*/ 928 w 929"/>
                <a:gd name="T3" fmla="*/ 464 h 929"/>
                <a:gd name="T4" fmla="*/ 464 w 929"/>
                <a:gd name="T5" fmla="*/ 0 h 929"/>
                <a:gd name="T6" fmla="*/ 0 w 929"/>
                <a:gd name="T7" fmla="*/ 464 h 929"/>
                <a:gd name="T8" fmla="*/ 464 w 929"/>
                <a:gd name="T9" fmla="*/ 928 h 929"/>
                <a:gd name="T10" fmla="*/ 928 w 929"/>
                <a:gd name="T11" fmla="*/ 464 h 929"/>
                <a:gd name="T12" fmla="*/ 714 w 929"/>
                <a:gd name="T13" fmla="*/ 464 h 929"/>
                <a:gd name="T14" fmla="*/ 714 w 929"/>
                <a:gd name="T15" fmla="*/ 464 h 929"/>
                <a:gd name="T16" fmla="*/ 464 w 929"/>
                <a:gd name="T17" fmla="*/ 214 h 929"/>
                <a:gd name="T18" fmla="*/ 215 w 929"/>
                <a:gd name="T19" fmla="*/ 464 h 929"/>
                <a:gd name="T20" fmla="*/ 464 w 929"/>
                <a:gd name="T21" fmla="*/ 714 h 929"/>
                <a:gd name="T22" fmla="*/ 714 w 929"/>
                <a:gd name="T23" fmla="*/ 464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9" h="929">
                  <a:moveTo>
                    <a:pt x="928" y="464"/>
                  </a:moveTo>
                  <a:lnTo>
                    <a:pt x="928" y="464"/>
                  </a:lnTo>
                  <a:cubicBezTo>
                    <a:pt x="928" y="207"/>
                    <a:pt x="721" y="0"/>
                    <a:pt x="464" y="0"/>
                  </a:cubicBezTo>
                  <a:cubicBezTo>
                    <a:pt x="207" y="0"/>
                    <a:pt x="0" y="207"/>
                    <a:pt x="0" y="464"/>
                  </a:cubicBezTo>
                  <a:cubicBezTo>
                    <a:pt x="0" y="721"/>
                    <a:pt x="207" y="928"/>
                    <a:pt x="464" y="928"/>
                  </a:cubicBezTo>
                  <a:cubicBezTo>
                    <a:pt x="721" y="928"/>
                    <a:pt x="928" y="721"/>
                    <a:pt x="928" y="464"/>
                  </a:cubicBezTo>
                  <a:close/>
                  <a:moveTo>
                    <a:pt x="714" y="464"/>
                  </a:moveTo>
                  <a:lnTo>
                    <a:pt x="714" y="464"/>
                  </a:lnTo>
                  <a:cubicBezTo>
                    <a:pt x="714" y="328"/>
                    <a:pt x="600" y="214"/>
                    <a:pt x="464" y="214"/>
                  </a:cubicBezTo>
                  <a:cubicBezTo>
                    <a:pt x="329" y="214"/>
                    <a:pt x="215" y="328"/>
                    <a:pt x="215" y="464"/>
                  </a:cubicBezTo>
                  <a:cubicBezTo>
                    <a:pt x="215" y="599"/>
                    <a:pt x="329" y="714"/>
                    <a:pt x="464" y="714"/>
                  </a:cubicBezTo>
                  <a:cubicBezTo>
                    <a:pt x="600" y="714"/>
                    <a:pt x="714" y="599"/>
                    <a:pt x="714" y="4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32C5F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205" name="Group 204"/>
          <p:cNvGrpSpPr/>
          <p:nvPr/>
        </p:nvGrpSpPr>
        <p:grpSpPr>
          <a:xfrm>
            <a:off x="591742" y="2656058"/>
            <a:ext cx="679714" cy="571304"/>
            <a:chOff x="8051567" y="3850376"/>
            <a:chExt cx="679714" cy="571304"/>
          </a:xfrm>
          <a:solidFill>
            <a:schemeClr val="bg1"/>
          </a:solidFill>
        </p:grpSpPr>
        <p:grpSp>
          <p:nvGrpSpPr>
            <p:cNvPr id="206" name="Group 4"/>
            <p:cNvGrpSpPr>
              <a:grpSpLocks noChangeAspect="1"/>
            </p:cNvGrpSpPr>
            <p:nvPr/>
          </p:nvGrpSpPr>
          <p:grpSpPr bwMode="auto">
            <a:xfrm>
              <a:off x="8051567" y="4064930"/>
              <a:ext cx="359979" cy="356750"/>
              <a:chOff x="4708" y="1276"/>
              <a:chExt cx="446" cy="442"/>
            </a:xfrm>
            <a:grpFill/>
          </p:grpSpPr>
          <p:sp>
            <p:nvSpPr>
              <p:cNvPr id="213" name="Freeform 212"/>
              <p:cNvSpPr>
                <a:spLocks/>
              </p:cNvSpPr>
              <p:nvPr/>
            </p:nvSpPr>
            <p:spPr bwMode="auto">
              <a:xfrm>
                <a:off x="4708" y="1276"/>
                <a:ext cx="446" cy="442"/>
              </a:xfrm>
              <a:custGeom>
                <a:avLst/>
                <a:gdLst>
                  <a:gd name="T0" fmla="*/ 80 w 91"/>
                  <a:gd name="T1" fmla="*/ 45 h 90"/>
                  <a:gd name="T2" fmla="*/ 80 w 91"/>
                  <a:gd name="T3" fmla="*/ 39 h 90"/>
                  <a:gd name="T4" fmla="*/ 91 w 91"/>
                  <a:gd name="T5" fmla="*/ 33 h 90"/>
                  <a:gd name="T6" fmla="*/ 78 w 91"/>
                  <a:gd name="T7" fmla="*/ 12 h 90"/>
                  <a:gd name="T8" fmla="*/ 68 w 91"/>
                  <a:gd name="T9" fmla="*/ 18 h 90"/>
                  <a:gd name="T10" fmla="*/ 58 w 91"/>
                  <a:gd name="T11" fmla="*/ 12 h 90"/>
                  <a:gd name="T12" fmla="*/ 58 w 91"/>
                  <a:gd name="T13" fmla="*/ 0 h 90"/>
                  <a:gd name="T14" fmla="*/ 33 w 91"/>
                  <a:gd name="T15" fmla="*/ 0 h 90"/>
                  <a:gd name="T16" fmla="*/ 33 w 91"/>
                  <a:gd name="T17" fmla="*/ 12 h 90"/>
                  <a:gd name="T18" fmla="*/ 23 w 91"/>
                  <a:gd name="T19" fmla="*/ 18 h 90"/>
                  <a:gd name="T20" fmla="*/ 12 w 91"/>
                  <a:gd name="T21" fmla="*/ 12 h 90"/>
                  <a:gd name="T22" fmla="*/ 0 w 91"/>
                  <a:gd name="T23" fmla="*/ 33 h 90"/>
                  <a:gd name="T24" fmla="*/ 11 w 91"/>
                  <a:gd name="T25" fmla="*/ 39 h 90"/>
                  <a:gd name="T26" fmla="*/ 10 w 91"/>
                  <a:gd name="T27" fmla="*/ 45 h 90"/>
                  <a:gd name="T28" fmla="*/ 11 w 91"/>
                  <a:gd name="T29" fmla="*/ 51 h 90"/>
                  <a:gd name="T30" fmla="*/ 0 w 91"/>
                  <a:gd name="T31" fmla="*/ 57 h 90"/>
                  <a:gd name="T32" fmla="*/ 12 w 91"/>
                  <a:gd name="T33" fmla="*/ 78 h 90"/>
                  <a:gd name="T34" fmla="*/ 23 w 91"/>
                  <a:gd name="T35" fmla="*/ 72 h 90"/>
                  <a:gd name="T36" fmla="*/ 33 w 91"/>
                  <a:gd name="T37" fmla="*/ 77 h 90"/>
                  <a:gd name="T38" fmla="*/ 33 w 91"/>
                  <a:gd name="T39" fmla="*/ 90 h 90"/>
                  <a:gd name="T40" fmla="*/ 58 w 91"/>
                  <a:gd name="T41" fmla="*/ 90 h 90"/>
                  <a:gd name="T42" fmla="*/ 58 w 91"/>
                  <a:gd name="T43" fmla="*/ 77 h 90"/>
                  <a:gd name="T44" fmla="*/ 68 w 91"/>
                  <a:gd name="T45" fmla="*/ 72 h 90"/>
                  <a:gd name="T46" fmla="*/ 78 w 91"/>
                  <a:gd name="T47" fmla="*/ 78 h 90"/>
                  <a:gd name="T48" fmla="*/ 91 w 91"/>
                  <a:gd name="T49" fmla="*/ 57 h 90"/>
                  <a:gd name="T50" fmla="*/ 80 w 91"/>
                  <a:gd name="T51" fmla="*/ 51 h 90"/>
                  <a:gd name="T52" fmla="*/ 80 w 91"/>
                  <a:gd name="T53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1" h="90">
                    <a:moveTo>
                      <a:pt x="80" y="45"/>
                    </a:moveTo>
                    <a:cubicBezTo>
                      <a:pt x="80" y="43"/>
                      <a:pt x="80" y="41"/>
                      <a:pt x="80" y="39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78" y="12"/>
                      <a:pt x="78" y="12"/>
                      <a:pt x="78" y="12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5" y="15"/>
                      <a:pt x="61" y="13"/>
                      <a:pt x="58" y="12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0" y="13"/>
                      <a:pt x="26" y="15"/>
                      <a:pt x="23" y="18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1"/>
                      <a:pt x="10" y="43"/>
                      <a:pt x="10" y="45"/>
                    </a:cubicBezTo>
                    <a:cubicBezTo>
                      <a:pt x="10" y="47"/>
                      <a:pt x="11" y="49"/>
                      <a:pt x="11" y="51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6" y="74"/>
                      <a:pt x="30" y="76"/>
                      <a:pt x="33" y="77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58" y="90"/>
                      <a:pt x="58" y="90"/>
                      <a:pt x="58" y="90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61" y="76"/>
                      <a:pt x="65" y="74"/>
                      <a:pt x="68" y="72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9"/>
                      <a:pt x="80" y="47"/>
                      <a:pt x="80" y="4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14" name="Oval 6"/>
              <p:cNvSpPr>
                <a:spLocks noChangeArrowheads="1"/>
              </p:cNvSpPr>
              <p:nvPr/>
            </p:nvSpPr>
            <p:spPr bwMode="auto">
              <a:xfrm>
                <a:off x="4865" y="1433"/>
                <a:ext cx="127" cy="128"/>
              </a:xfrm>
              <a:prstGeom prst="ellipse">
                <a:avLst/>
              </a:pr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07" name="Group 4"/>
            <p:cNvGrpSpPr>
              <a:grpSpLocks noChangeAspect="1"/>
            </p:cNvGrpSpPr>
            <p:nvPr/>
          </p:nvGrpSpPr>
          <p:grpSpPr bwMode="auto">
            <a:xfrm rot="878683">
              <a:off x="8260341" y="3850376"/>
              <a:ext cx="219548" cy="217579"/>
              <a:chOff x="4708" y="1276"/>
              <a:chExt cx="446" cy="442"/>
            </a:xfrm>
            <a:grpFill/>
          </p:grpSpPr>
          <p:sp>
            <p:nvSpPr>
              <p:cNvPr id="211" name="Freeform 210"/>
              <p:cNvSpPr>
                <a:spLocks/>
              </p:cNvSpPr>
              <p:nvPr/>
            </p:nvSpPr>
            <p:spPr bwMode="auto">
              <a:xfrm>
                <a:off x="4708" y="1276"/>
                <a:ext cx="446" cy="442"/>
              </a:xfrm>
              <a:custGeom>
                <a:avLst/>
                <a:gdLst>
                  <a:gd name="T0" fmla="*/ 80 w 91"/>
                  <a:gd name="T1" fmla="*/ 45 h 90"/>
                  <a:gd name="T2" fmla="*/ 80 w 91"/>
                  <a:gd name="T3" fmla="*/ 39 h 90"/>
                  <a:gd name="T4" fmla="*/ 91 w 91"/>
                  <a:gd name="T5" fmla="*/ 33 h 90"/>
                  <a:gd name="T6" fmla="*/ 78 w 91"/>
                  <a:gd name="T7" fmla="*/ 12 h 90"/>
                  <a:gd name="T8" fmla="*/ 68 w 91"/>
                  <a:gd name="T9" fmla="*/ 18 h 90"/>
                  <a:gd name="T10" fmla="*/ 58 w 91"/>
                  <a:gd name="T11" fmla="*/ 12 h 90"/>
                  <a:gd name="T12" fmla="*/ 58 w 91"/>
                  <a:gd name="T13" fmla="*/ 0 h 90"/>
                  <a:gd name="T14" fmla="*/ 33 w 91"/>
                  <a:gd name="T15" fmla="*/ 0 h 90"/>
                  <a:gd name="T16" fmla="*/ 33 w 91"/>
                  <a:gd name="T17" fmla="*/ 12 h 90"/>
                  <a:gd name="T18" fmla="*/ 23 w 91"/>
                  <a:gd name="T19" fmla="*/ 18 h 90"/>
                  <a:gd name="T20" fmla="*/ 12 w 91"/>
                  <a:gd name="T21" fmla="*/ 12 h 90"/>
                  <a:gd name="T22" fmla="*/ 0 w 91"/>
                  <a:gd name="T23" fmla="*/ 33 h 90"/>
                  <a:gd name="T24" fmla="*/ 11 w 91"/>
                  <a:gd name="T25" fmla="*/ 39 h 90"/>
                  <a:gd name="T26" fmla="*/ 10 w 91"/>
                  <a:gd name="T27" fmla="*/ 45 h 90"/>
                  <a:gd name="T28" fmla="*/ 11 w 91"/>
                  <a:gd name="T29" fmla="*/ 51 h 90"/>
                  <a:gd name="T30" fmla="*/ 0 w 91"/>
                  <a:gd name="T31" fmla="*/ 57 h 90"/>
                  <a:gd name="T32" fmla="*/ 12 w 91"/>
                  <a:gd name="T33" fmla="*/ 78 h 90"/>
                  <a:gd name="T34" fmla="*/ 23 w 91"/>
                  <a:gd name="T35" fmla="*/ 72 h 90"/>
                  <a:gd name="T36" fmla="*/ 33 w 91"/>
                  <a:gd name="T37" fmla="*/ 77 h 90"/>
                  <a:gd name="T38" fmla="*/ 33 w 91"/>
                  <a:gd name="T39" fmla="*/ 90 h 90"/>
                  <a:gd name="T40" fmla="*/ 58 w 91"/>
                  <a:gd name="T41" fmla="*/ 90 h 90"/>
                  <a:gd name="T42" fmla="*/ 58 w 91"/>
                  <a:gd name="T43" fmla="*/ 77 h 90"/>
                  <a:gd name="T44" fmla="*/ 68 w 91"/>
                  <a:gd name="T45" fmla="*/ 72 h 90"/>
                  <a:gd name="T46" fmla="*/ 78 w 91"/>
                  <a:gd name="T47" fmla="*/ 78 h 90"/>
                  <a:gd name="T48" fmla="*/ 91 w 91"/>
                  <a:gd name="T49" fmla="*/ 57 h 90"/>
                  <a:gd name="T50" fmla="*/ 80 w 91"/>
                  <a:gd name="T51" fmla="*/ 51 h 90"/>
                  <a:gd name="T52" fmla="*/ 80 w 91"/>
                  <a:gd name="T53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1" h="90">
                    <a:moveTo>
                      <a:pt x="80" y="45"/>
                    </a:moveTo>
                    <a:cubicBezTo>
                      <a:pt x="80" y="43"/>
                      <a:pt x="80" y="41"/>
                      <a:pt x="80" y="39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78" y="12"/>
                      <a:pt x="78" y="12"/>
                      <a:pt x="78" y="12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5" y="15"/>
                      <a:pt x="61" y="13"/>
                      <a:pt x="58" y="12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0" y="13"/>
                      <a:pt x="26" y="15"/>
                      <a:pt x="23" y="18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1"/>
                      <a:pt x="10" y="43"/>
                      <a:pt x="10" y="45"/>
                    </a:cubicBezTo>
                    <a:cubicBezTo>
                      <a:pt x="10" y="47"/>
                      <a:pt x="11" y="49"/>
                      <a:pt x="11" y="51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6" y="74"/>
                      <a:pt x="30" y="76"/>
                      <a:pt x="33" y="77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58" y="90"/>
                      <a:pt x="58" y="90"/>
                      <a:pt x="58" y="90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61" y="76"/>
                      <a:pt x="65" y="74"/>
                      <a:pt x="68" y="72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9"/>
                      <a:pt x="80" y="47"/>
                      <a:pt x="80" y="4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12" name="Oval 6"/>
              <p:cNvSpPr>
                <a:spLocks noChangeArrowheads="1"/>
              </p:cNvSpPr>
              <p:nvPr/>
            </p:nvSpPr>
            <p:spPr bwMode="auto">
              <a:xfrm>
                <a:off x="4865" y="1433"/>
                <a:ext cx="127" cy="128"/>
              </a:xfrm>
              <a:prstGeom prst="ellipse">
                <a:avLst/>
              </a:pr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08" name="Group 207"/>
            <p:cNvGrpSpPr>
              <a:grpSpLocks noChangeAspect="1"/>
            </p:cNvGrpSpPr>
            <p:nvPr/>
          </p:nvGrpSpPr>
          <p:grpSpPr bwMode="auto">
            <a:xfrm>
              <a:off x="8428521" y="4023056"/>
              <a:ext cx="302760" cy="300044"/>
              <a:chOff x="4708" y="1276"/>
              <a:chExt cx="446" cy="442"/>
            </a:xfrm>
            <a:grpFill/>
          </p:grpSpPr>
          <p:sp>
            <p:nvSpPr>
              <p:cNvPr id="209" name="Freeform 208"/>
              <p:cNvSpPr>
                <a:spLocks/>
              </p:cNvSpPr>
              <p:nvPr/>
            </p:nvSpPr>
            <p:spPr bwMode="auto">
              <a:xfrm>
                <a:off x="4708" y="1276"/>
                <a:ext cx="446" cy="442"/>
              </a:xfrm>
              <a:custGeom>
                <a:avLst/>
                <a:gdLst>
                  <a:gd name="T0" fmla="*/ 80 w 91"/>
                  <a:gd name="T1" fmla="*/ 45 h 90"/>
                  <a:gd name="T2" fmla="*/ 80 w 91"/>
                  <a:gd name="T3" fmla="*/ 39 h 90"/>
                  <a:gd name="T4" fmla="*/ 91 w 91"/>
                  <a:gd name="T5" fmla="*/ 33 h 90"/>
                  <a:gd name="T6" fmla="*/ 78 w 91"/>
                  <a:gd name="T7" fmla="*/ 12 h 90"/>
                  <a:gd name="T8" fmla="*/ 68 w 91"/>
                  <a:gd name="T9" fmla="*/ 18 h 90"/>
                  <a:gd name="T10" fmla="*/ 58 w 91"/>
                  <a:gd name="T11" fmla="*/ 12 h 90"/>
                  <a:gd name="T12" fmla="*/ 58 w 91"/>
                  <a:gd name="T13" fmla="*/ 0 h 90"/>
                  <a:gd name="T14" fmla="*/ 33 w 91"/>
                  <a:gd name="T15" fmla="*/ 0 h 90"/>
                  <a:gd name="T16" fmla="*/ 33 w 91"/>
                  <a:gd name="T17" fmla="*/ 12 h 90"/>
                  <a:gd name="T18" fmla="*/ 23 w 91"/>
                  <a:gd name="T19" fmla="*/ 18 h 90"/>
                  <a:gd name="T20" fmla="*/ 12 w 91"/>
                  <a:gd name="T21" fmla="*/ 12 h 90"/>
                  <a:gd name="T22" fmla="*/ 0 w 91"/>
                  <a:gd name="T23" fmla="*/ 33 h 90"/>
                  <a:gd name="T24" fmla="*/ 11 w 91"/>
                  <a:gd name="T25" fmla="*/ 39 h 90"/>
                  <a:gd name="T26" fmla="*/ 10 w 91"/>
                  <a:gd name="T27" fmla="*/ 45 h 90"/>
                  <a:gd name="T28" fmla="*/ 11 w 91"/>
                  <a:gd name="T29" fmla="*/ 51 h 90"/>
                  <a:gd name="T30" fmla="*/ 0 w 91"/>
                  <a:gd name="T31" fmla="*/ 57 h 90"/>
                  <a:gd name="T32" fmla="*/ 12 w 91"/>
                  <a:gd name="T33" fmla="*/ 78 h 90"/>
                  <a:gd name="T34" fmla="*/ 23 w 91"/>
                  <a:gd name="T35" fmla="*/ 72 h 90"/>
                  <a:gd name="T36" fmla="*/ 33 w 91"/>
                  <a:gd name="T37" fmla="*/ 77 h 90"/>
                  <a:gd name="T38" fmla="*/ 33 w 91"/>
                  <a:gd name="T39" fmla="*/ 90 h 90"/>
                  <a:gd name="T40" fmla="*/ 58 w 91"/>
                  <a:gd name="T41" fmla="*/ 90 h 90"/>
                  <a:gd name="T42" fmla="*/ 58 w 91"/>
                  <a:gd name="T43" fmla="*/ 77 h 90"/>
                  <a:gd name="T44" fmla="*/ 68 w 91"/>
                  <a:gd name="T45" fmla="*/ 72 h 90"/>
                  <a:gd name="T46" fmla="*/ 78 w 91"/>
                  <a:gd name="T47" fmla="*/ 78 h 90"/>
                  <a:gd name="T48" fmla="*/ 91 w 91"/>
                  <a:gd name="T49" fmla="*/ 57 h 90"/>
                  <a:gd name="T50" fmla="*/ 80 w 91"/>
                  <a:gd name="T51" fmla="*/ 51 h 90"/>
                  <a:gd name="T52" fmla="*/ 80 w 91"/>
                  <a:gd name="T53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1" h="90">
                    <a:moveTo>
                      <a:pt x="80" y="45"/>
                    </a:moveTo>
                    <a:cubicBezTo>
                      <a:pt x="80" y="43"/>
                      <a:pt x="80" y="41"/>
                      <a:pt x="80" y="39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78" y="12"/>
                      <a:pt x="78" y="12"/>
                      <a:pt x="78" y="12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5" y="15"/>
                      <a:pt x="61" y="13"/>
                      <a:pt x="58" y="12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0" y="13"/>
                      <a:pt x="26" y="15"/>
                      <a:pt x="23" y="18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1"/>
                      <a:pt x="10" y="43"/>
                      <a:pt x="10" y="45"/>
                    </a:cubicBezTo>
                    <a:cubicBezTo>
                      <a:pt x="10" y="47"/>
                      <a:pt x="11" y="49"/>
                      <a:pt x="11" y="51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6" y="74"/>
                      <a:pt x="30" y="76"/>
                      <a:pt x="33" y="77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58" y="90"/>
                      <a:pt x="58" y="90"/>
                      <a:pt x="58" y="90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61" y="76"/>
                      <a:pt x="65" y="74"/>
                      <a:pt x="68" y="72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9"/>
                      <a:pt x="80" y="47"/>
                      <a:pt x="80" y="4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10" name="Oval 209"/>
              <p:cNvSpPr>
                <a:spLocks noChangeArrowheads="1"/>
              </p:cNvSpPr>
              <p:nvPr/>
            </p:nvSpPr>
            <p:spPr bwMode="auto">
              <a:xfrm>
                <a:off x="4865" y="1433"/>
                <a:ext cx="127" cy="128"/>
              </a:xfrm>
              <a:prstGeom prst="ellipse">
                <a:avLst/>
              </a:prstGeom>
              <a:grp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5" name="Rectangle 30">
            <a:extLst>
              <a:ext uri="{FF2B5EF4-FFF2-40B4-BE49-F238E27FC236}">
                <a16:creationId xmlns:a16="http://schemas.microsoft.com/office/drawing/2014/main" id="{4CA73E93-3BE4-4C59-87D7-9AFFFA764C09}"/>
              </a:ext>
            </a:extLst>
          </p:cNvPr>
          <p:cNvSpPr/>
          <p:nvPr/>
        </p:nvSpPr>
        <p:spPr>
          <a:xfrm>
            <a:off x="426350" y="4280732"/>
            <a:ext cx="8280400" cy="4411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/>
          <a:lstStyle/>
          <a:p>
            <a:pPr marL="0" marR="0" lvl="0" indent="0" algn="ctr" defTabSz="4570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+mn-ea"/>
                <a:cs typeface="Arial" panose="020B0604020202020204" pitchFamily="34" charset="0"/>
              </a:rPr>
              <a:t>Mission-critical broadband communications network</a:t>
            </a:r>
          </a:p>
        </p:txBody>
      </p:sp>
    </p:spTree>
    <p:extLst>
      <p:ext uri="{BB962C8B-B14F-4D97-AF65-F5344CB8AC3E}">
        <p14:creationId xmlns:p14="http://schemas.microsoft.com/office/powerpoint/2010/main" val="3925055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E3873F6-A4DE-074C-8AEF-DF4C07B703CB}"/>
              </a:ext>
            </a:extLst>
          </p:cNvPr>
          <p:cNvSpPr/>
          <p:nvPr/>
        </p:nvSpPr>
        <p:spPr>
          <a:xfrm>
            <a:off x="6604000" y="0"/>
            <a:ext cx="2540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916360-CDD6-49F2-B8CA-E8704D8C05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kia Train to Ground solution for urban rail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D01A8E-6A9F-4149-B5AB-AC90BDA121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igh availability secure broadband solution</a:t>
            </a:r>
            <a:endParaRPr lang="en-IN" dirty="0"/>
          </a:p>
        </p:txBody>
      </p:sp>
      <p:grpSp>
        <p:nvGrpSpPr>
          <p:cNvPr id="65" name="Gruppieren 14">
            <a:extLst>
              <a:ext uri="{FF2B5EF4-FFF2-40B4-BE49-F238E27FC236}">
                <a16:creationId xmlns:a16="http://schemas.microsoft.com/office/drawing/2014/main" id="{F4765FB0-145A-4698-9B88-89D29B8AA110}"/>
              </a:ext>
            </a:extLst>
          </p:cNvPr>
          <p:cNvGrpSpPr>
            <a:grpSpLocks noChangeAspect="1"/>
          </p:cNvGrpSpPr>
          <p:nvPr/>
        </p:nvGrpSpPr>
        <p:grpSpPr>
          <a:xfrm>
            <a:off x="377591" y="3452103"/>
            <a:ext cx="5463250" cy="1005840"/>
            <a:chOff x="2314287" y="1901451"/>
            <a:chExt cx="3879880" cy="668787"/>
          </a:xfrm>
        </p:grpSpPr>
        <p:sp>
          <p:nvSpPr>
            <p:cNvPr id="66" name="Oval 36">
              <a:extLst>
                <a:ext uri="{FF2B5EF4-FFF2-40B4-BE49-F238E27FC236}">
                  <a16:creationId xmlns:a16="http://schemas.microsoft.com/office/drawing/2014/main" id="{3E4B1519-468E-4364-99FC-F0900BDFEF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7092" y="2153178"/>
              <a:ext cx="196901" cy="196901"/>
            </a:xfrm>
            <a:prstGeom prst="ellipse">
              <a:avLst/>
            </a:prstGeom>
            <a:solidFill>
              <a:srgbClr val="EDF2FF"/>
            </a:solidFill>
            <a:ln w="9525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67" name="Freeform 189">
              <a:extLst>
                <a:ext uri="{FF2B5EF4-FFF2-40B4-BE49-F238E27FC236}">
                  <a16:creationId xmlns:a16="http://schemas.microsoft.com/office/drawing/2014/main" id="{D761CC88-E417-4848-AE03-B1872CBE4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5983" y="2019586"/>
              <a:ext cx="1608795" cy="445159"/>
            </a:xfrm>
            <a:custGeom>
              <a:avLst/>
              <a:gdLst>
                <a:gd name="T0" fmla="*/ 196 w 196"/>
                <a:gd name="T1" fmla="*/ 0 h 54"/>
                <a:gd name="T2" fmla="*/ 196 w 196"/>
                <a:gd name="T3" fmla="*/ 54 h 54"/>
                <a:gd name="T4" fmla="*/ 34 w 196"/>
                <a:gd name="T5" fmla="*/ 54 h 54"/>
                <a:gd name="T6" fmla="*/ 0 w 196"/>
                <a:gd name="T7" fmla="*/ 34 h 54"/>
                <a:gd name="T8" fmla="*/ 27 w 196"/>
                <a:gd name="T9" fmla="*/ 15 h 54"/>
                <a:gd name="T10" fmla="*/ 27 w 196"/>
                <a:gd name="T11" fmla="*/ 15 h 54"/>
                <a:gd name="T12" fmla="*/ 41 w 196"/>
                <a:gd name="T13" fmla="*/ 7 h 54"/>
                <a:gd name="T14" fmla="*/ 69 w 196"/>
                <a:gd name="T15" fmla="*/ 0 h 54"/>
                <a:gd name="connsiteX0" fmla="*/ 10000 w 10000"/>
                <a:gd name="connsiteY0" fmla="*/ 117 h 10117"/>
                <a:gd name="connsiteX1" fmla="*/ 10000 w 10000"/>
                <a:gd name="connsiteY1" fmla="*/ 10117 h 10117"/>
                <a:gd name="connsiteX2" fmla="*/ 1735 w 10000"/>
                <a:gd name="connsiteY2" fmla="*/ 10117 h 10117"/>
                <a:gd name="connsiteX3" fmla="*/ 0 w 10000"/>
                <a:gd name="connsiteY3" fmla="*/ 6413 h 10117"/>
                <a:gd name="connsiteX4" fmla="*/ 1378 w 10000"/>
                <a:gd name="connsiteY4" fmla="*/ 2895 h 10117"/>
                <a:gd name="connsiteX5" fmla="*/ 1378 w 10000"/>
                <a:gd name="connsiteY5" fmla="*/ 2895 h 10117"/>
                <a:gd name="connsiteX6" fmla="*/ 2092 w 10000"/>
                <a:gd name="connsiteY6" fmla="*/ 1413 h 10117"/>
                <a:gd name="connsiteX7" fmla="*/ 3520 w 10000"/>
                <a:gd name="connsiteY7" fmla="*/ 117 h 10117"/>
                <a:gd name="connsiteX8" fmla="*/ 3492 w 10000"/>
                <a:gd name="connsiteY8" fmla="*/ 51 h 10117"/>
                <a:gd name="connsiteX0" fmla="*/ 10000 w 10000"/>
                <a:gd name="connsiteY0" fmla="*/ 98 h 10098"/>
                <a:gd name="connsiteX1" fmla="*/ 10000 w 10000"/>
                <a:gd name="connsiteY1" fmla="*/ 10098 h 10098"/>
                <a:gd name="connsiteX2" fmla="*/ 1735 w 10000"/>
                <a:gd name="connsiteY2" fmla="*/ 10098 h 10098"/>
                <a:gd name="connsiteX3" fmla="*/ 0 w 10000"/>
                <a:gd name="connsiteY3" fmla="*/ 6394 h 10098"/>
                <a:gd name="connsiteX4" fmla="*/ 1378 w 10000"/>
                <a:gd name="connsiteY4" fmla="*/ 2876 h 10098"/>
                <a:gd name="connsiteX5" fmla="*/ 1378 w 10000"/>
                <a:gd name="connsiteY5" fmla="*/ 2876 h 10098"/>
                <a:gd name="connsiteX6" fmla="*/ 2092 w 10000"/>
                <a:gd name="connsiteY6" fmla="*/ 1394 h 10098"/>
                <a:gd name="connsiteX7" fmla="*/ 3520 w 10000"/>
                <a:gd name="connsiteY7" fmla="*/ 98 h 10098"/>
                <a:gd name="connsiteX8" fmla="*/ 9801 w 10000"/>
                <a:gd name="connsiteY8" fmla="*/ 99 h 10098"/>
                <a:gd name="connsiteX0" fmla="*/ 10000 w 10000"/>
                <a:gd name="connsiteY0" fmla="*/ 90 h 10090"/>
                <a:gd name="connsiteX1" fmla="*/ 10000 w 10000"/>
                <a:gd name="connsiteY1" fmla="*/ 10090 h 10090"/>
                <a:gd name="connsiteX2" fmla="*/ 1735 w 10000"/>
                <a:gd name="connsiteY2" fmla="*/ 10090 h 10090"/>
                <a:gd name="connsiteX3" fmla="*/ 0 w 10000"/>
                <a:gd name="connsiteY3" fmla="*/ 6386 h 10090"/>
                <a:gd name="connsiteX4" fmla="*/ 1378 w 10000"/>
                <a:gd name="connsiteY4" fmla="*/ 2868 h 10090"/>
                <a:gd name="connsiteX5" fmla="*/ 1378 w 10000"/>
                <a:gd name="connsiteY5" fmla="*/ 2868 h 10090"/>
                <a:gd name="connsiteX6" fmla="*/ 2092 w 10000"/>
                <a:gd name="connsiteY6" fmla="*/ 1386 h 10090"/>
                <a:gd name="connsiteX7" fmla="*/ 3520 w 10000"/>
                <a:gd name="connsiteY7" fmla="*/ 90 h 10090"/>
                <a:gd name="connsiteX8" fmla="*/ 9949 w 10000"/>
                <a:gd name="connsiteY8" fmla="*/ 127 h 10090"/>
                <a:gd name="connsiteX0" fmla="*/ 10000 w 10000"/>
                <a:gd name="connsiteY0" fmla="*/ 0 h 10000"/>
                <a:gd name="connsiteX1" fmla="*/ 10000 w 10000"/>
                <a:gd name="connsiteY1" fmla="*/ 10000 h 10000"/>
                <a:gd name="connsiteX2" fmla="*/ 1735 w 10000"/>
                <a:gd name="connsiteY2" fmla="*/ 10000 h 10000"/>
                <a:gd name="connsiteX3" fmla="*/ 0 w 10000"/>
                <a:gd name="connsiteY3" fmla="*/ 6296 h 10000"/>
                <a:gd name="connsiteX4" fmla="*/ 1378 w 10000"/>
                <a:gd name="connsiteY4" fmla="*/ 2778 h 10000"/>
                <a:gd name="connsiteX5" fmla="*/ 1378 w 10000"/>
                <a:gd name="connsiteY5" fmla="*/ 2778 h 10000"/>
                <a:gd name="connsiteX6" fmla="*/ 2092 w 10000"/>
                <a:gd name="connsiteY6" fmla="*/ 1296 h 10000"/>
                <a:gd name="connsiteX7" fmla="*/ 3520 w 10000"/>
                <a:gd name="connsiteY7" fmla="*/ 0 h 10000"/>
                <a:gd name="connsiteX8" fmla="*/ 9949 w 10000"/>
                <a:gd name="connsiteY8" fmla="*/ 37 h 10000"/>
                <a:gd name="connsiteX0" fmla="*/ 10000 w 10000"/>
                <a:gd name="connsiteY0" fmla="*/ 35 h 10035"/>
                <a:gd name="connsiteX1" fmla="*/ 10000 w 10000"/>
                <a:gd name="connsiteY1" fmla="*/ 10035 h 10035"/>
                <a:gd name="connsiteX2" fmla="*/ 1735 w 10000"/>
                <a:gd name="connsiteY2" fmla="*/ 10035 h 10035"/>
                <a:gd name="connsiteX3" fmla="*/ 0 w 10000"/>
                <a:gd name="connsiteY3" fmla="*/ 6331 h 10035"/>
                <a:gd name="connsiteX4" fmla="*/ 1378 w 10000"/>
                <a:gd name="connsiteY4" fmla="*/ 2813 h 10035"/>
                <a:gd name="connsiteX5" fmla="*/ 1378 w 10000"/>
                <a:gd name="connsiteY5" fmla="*/ 2813 h 10035"/>
                <a:gd name="connsiteX6" fmla="*/ 2092 w 10000"/>
                <a:gd name="connsiteY6" fmla="*/ 1331 h 10035"/>
                <a:gd name="connsiteX7" fmla="*/ 3520 w 10000"/>
                <a:gd name="connsiteY7" fmla="*/ 35 h 10035"/>
                <a:gd name="connsiteX8" fmla="*/ 9988 w 10000"/>
                <a:gd name="connsiteY8" fmla="*/ 0 h 10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35">
                  <a:moveTo>
                    <a:pt x="10000" y="35"/>
                  </a:moveTo>
                  <a:lnTo>
                    <a:pt x="10000" y="10035"/>
                  </a:lnTo>
                  <a:lnTo>
                    <a:pt x="1735" y="10035"/>
                  </a:lnTo>
                  <a:cubicBezTo>
                    <a:pt x="765" y="10035"/>
                    <a:pt x="0" y="8368"/>
                    <a:pt x="0" y="6331"/>
                  </a:cubicBezTo>
                  <a:cubicBezTo>
                    <a:pt x="0" y="4665"/>
                    <a:pt x="561" y="3183"/>
                    <a:pt x="1378" y="2813"/>
                  </a:cubicBezTo>
                  <a:lnTo>
                    <a:pt x="1378" y="2813"/>
                  </a:lnTo>
                  <a:lnTo>
                    <a:pt x="2092" y="1331"/>
                  </a:lnTo>
                  <a:cubicBezTo>
                    <a:pt x="2092" y="1331"/>
                    <a:pt x="2551" y="35"/>
                    <a:pt x="3520" y="35"/>
                  </a:cubicBezTo>
                  <a:lnTo>
                    <a:pt x="9988" y="0"/>
                  </a:lnTo>
                </a:path>
              </a:pathLst>
            </a:custGeom>
            <a:noFill/>
            <a:ln w="9525">
              <a:solidFill>
                <a:schemeClr val="tx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68" name="Freeform 196">
              <a:extLst>
                <a:ext uri="{FF2B5EF4-FFF2-40B4-BE49-F238E27FC236}">
                  <a16:creationId xmlns:a16="http://schemas.microsoft.com/office/drawing/2014/main" id="{B497D4F7-FB8F-422A-B86D-42E96B799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0994" y="2021139"/>
              <a:ext cx="2213173" cy="443606"/>
            </a:xfrm>
            <a:custGeom>
              <a:avLst/>
              <a:gdLst>
                <a:gd name="T0" fmla="*/ 1042 w 3373"/>
                <a:gd name="T1" fmla="*/ 0 h 383"/>
                <a:gd name="T2" fmla="*/ 992 w 3373"/>
                <a:gd name="T3" fmla="*/ 0 h 383"/>
                <a:gd name="T4" fmla="*/ 0 w 3373"/>
                <a:gd name="T5" fmla="*/ 0 h 383"/>
                <a:gd name="T6" fmla="*/ 0 w 3373"/>
                <a:gd name="T7" fmla="*/ 383 h 383"/>
                <a:gd name="T8" fmla="*/ 992 w 3373"/>
                <a:gd name="T9" fmla="*/ 383 h 383"/>
                <a:gd name="T10" fmla="*/ 1042 w 3373"/>
                <a:gd name="T11" fmla="*/ 383 h 383"/>
                <a:gd name="T12" fmla="*/ 3373 w 3373"/>
                <a:gd name="T13" fmla="*/ 383 h 383"/>
                <a:gd name="T14" fmla="*/ 3373 w 3373"/>
                <a:gd name="T15" fmla="*/ 0 h 383"/>
                <a:gd name="T16" fmla="*/ 1042 w 3373"/>
                <a:gd name="T17" fmla="*/ 0 h 383"/>
                <a:gd name="connsiteX0" fmla="*/ 3089 w 10000"/>
                <a:gd name="connsiteY0" fmla="*/ 0 h 10000"/>
                <a:gd name="connsiteX1" fmla="*/ 2941 w 10000"/>
                <a:gd name="connsiteY1" fmla="*/ 0 h 10000"/>
                <a:gd name="connsiteX2" fmla="*/ 0 w 10000"/>
                <a:gd name="connsiteY2" fmla="*/ 0 h 10000"/>
                <a:gd name="connsiteX3" fmla="*/ 0 w 10000"/>
                <a:gd name="connsiteY3" fmla="*/ 10000 h 10000"/>
                <a:gd name="connsiteX4" fmla="*/ 2941 w 10000"/>
                <a:gd name="connsiteY4" fmla="*/ 10000 h 10000"/>
                <a:gd name="connsiteX5" fmla="*/ 3089 w 10000"/>
                <a:gd name="connsiteY5" fmla="*/ 10000 h 10000"/>
                <a:gd name="connsiteX6" fmla="*/ 10000 w 10000"/>
                <a:gd name="connsiteY6" fmla="*/ 10000 h 10000"/>
                <a:gd name="connsiteX7" fmla="*/ 9991 w 10000"/>
                <a:gd name="connsiteY7" fmla="*/ 6195 h 10000"/>
                <a:gd name="connsiteX8" fmla="*/ 10000 w 10000"/>
                <a:gd name="connsiteY8" fmla="*/ 0 h 10000"/>
                <a:gd name="connsiteX9" fmla="*/ 3089 w 10000"/>
                <a:gd name="connsiteY9" fmla="*/ 0 h 10000"/>
                <a:gd name="connsiteX0" fmla="*/ 3089 w 10000"/>
                <a:gd name="connsiteY0" fmla="*/ 0 h 10000"/>
                <a:gd name="connsiteX1" fmla="*/ 2941 w 10000"/>
                <a:gd name="connsiteY1" fmla="*/ 0 h 10000"/>
                <a:gd name="connsiteX2" fmla="*/ 0 w 10000"/>
                <a:gd name="connsiteY2" fmla="*/ 0 h 10000"/>
                <a:gd name="connsiteX3" fmla="*/ 0 w 10000"/>
                <a:gd name="connsiteY3" fmla="*/ 10000 h 10000"/>
                <a:gd name="connsiteX4" fmla="*/ 2941 w 10000"/>
                <a:gd name="connsiteY4" fmla="*/ 10000 h 10000"/>
                <a:gd name="connsiteX5" fmla="*/ 3089 w 10000"/>
                <a:gd name="connsiteY5" fmla="*/ 10000 h 10000"/>
                <a:gd name="connsiteX6" fmla="*/ 10000 w 10000"/>
                <a:gd name="connsiteY6" fmla="*/ 10000 h 10000"/>
                <a:gd name="connsiteX7" fmla="*/ 9991 w 10000"/>
                <a:gd name="connsiteY7" fmla="*/ 6195 h 10000"/>
                <a:gd name="connsiteX8" fmla="*/ 9991 w 10000"/>
                <a:gd name="connsiteY8" fmla="*/ 2520 h 10000"/>
                <a:gd name="connsiteX9" fmla="*/ 10000 w 10000"/>
                <a:gd name="connsiteY9" fmla="*/ 0 h 10000"/>
                <a:gd name="connsiteX10" fmla="*/ 3089 w 10000"/>
                <a:gd name="connsiteY10" fmla="*/ 0 h 10000"/>
                <a:gd name="connsiteX0" fmla="*/ 9991 w 10404"/>
                <a:gd name="connsiteY0" fmla="*/ 6195 h 10000"/>
                <a:gd name="connsiteX1" fmla="*/ 9991 w 10404"/>
                <a:gd name="connsiteY1" fmla="*/ 2520 h 10000"/>
                <a:gd name="connsiteX2" fmla="*/ 10000 w 10404"/>
                <a:gd name="connsiteY2" fmla="*/ 0 h 10000"/>
                <a:gd name="connsiteX3" fmla="*/ 3089 w 10404"/>
                <a:gd name="connsiteY3" fmla="*/ 0 h 10000"/>
                <a:gd name="connsiteX4" fmla="*/ 2941 w 10404"/>
                <a:gd name="connsiteY4" fmla="*/ 0 h 10000"/>
                <a:gd name="connsiteX5" fmla="*/ 0 w 10404"/>
                <a:gd name="connsiteY5" fmla="*/ 0 h 10000"/>
                <a:gd name="connsiteX6" fmla="*/ 0 w 10404"/>
                <a:gd name="connsiteY6" fmla="*/ 10000 h 10000"/>
                <a:gd name="connsiteX7" fmla="*/ 2941 w 10404"/>
                <a:gd name="connsiteY7" fmla="*/ 10000 h 10000"/>
                <a:gd name="connsiteX8" fmla="*/ 3089 w 10404"/>
                <a:gd name="connsiteY8" fmla="*/ 10000 h 10000"/>
                <a:gd name="connsiteX9" fmla="*/ 10000 w 10404"/>
                <a:gd name="connsiteY9" fmla="*/ 10000 h 10000"/>
                <a:gd name="connsiteX10" fmla="*/ 10404 w 10404"/>
                <a:gd name="connsiteY10" fmla="*/ 8256 h 10000"/>
                <a:gd name="connsiteX0" fmla="*/ 9991 w 10000"/>
                <a:gd name="connsiteY0" fmla="*/ 6195 h 10000"/>
                <a:gd name="connsiteX1" fmla="*/ 9991 w 10000"/>
                <a:gd name="connsiteY1" fmla="*/ 2520 h 10000"/>
                <a:gd name="connsiteX2" fmla="*/ 10000 w 10000"/>
                <a:gd name="connsiteY2" fmla="*/ 0 h 10000"/>
                <a:gd name="connsiteX3" fmla="*/ 3089 w 10000"/>
                <a:gd name="connsiteY3" fmla="*/ 0 h 10000"/>
                <a:gd name="connsiteX4" fmla="*/ 2941 w 10000"/>
                <a:gd name="connsiteY4" fmla="*/ 0 h 10000"/>
                <a:gd name="connsiteX5" fmla="*/ 0 w 10000"/>
                <a:gd name="connsiteY5" fmla="*/ 0 h 10000"/>
                <a:gd name="connsiteX6" fmla="*/ 0 w 10000"/>
                <a:gd name="connsiteY6" fmla="*/ 10000 h 10000"/>
                <a:gd name="connsiteX7" fmla="*/ 2941 w 10000"/>
                <a:gd name="connsiteY7" fmla="*/ 10000 h 10000"/>
                <a:gd name="connsiteX8" fmla="*/ 3089 w 10000"/>
                <a:gd name="connsiteY8" fmla="*/ 10000 h 10000"/>
                <a:gd name="connsiteX9" fmla="*/ 10000 w 10000"/>
                <a:gd name="connsiteY9" fmla="*/ 10000 h 10000"/>
                <a:gd name="connsiteX0" fmla="*/ 9991 w 10000"/>
                <a:gd name="connsiteY0" fmla="*/ 2520 h 10000"/>
                <a:gd name="connsiteX1" fmla="*/ 10000 w 10000"/>
                <a:gd name="connsiteY1" fmla="*/ 0 h 10000"/>
                <a:gd name="connsiteX2" fmla="*/ 3089 w 10000"/>
                <a:gd name="connsiteY2" fmla="*/ 0 h 10000"/>
                <a:gd name="connsiteX3" fmla="*/ 2941 w 10000"/>
                <a:gd name="connsiteY3" fmla="*/ 0 h 10000"/>
                <a:gd name="connsiteX4" fmla="*/ 0 w 10000"/>
                <a:gd name="connsiteY4" fmla="*/ 0 h 10000"/>
                <a:gd name="connsiteX5" fmla="*/ 0 w 10000"/>
                <a:gd name="connsiteY5" fmla="*/ 10000 h 10000"/>
                <a:gd name="connsiteX6" fmla="*/ 2941 w 10000"/>
                <a:gd name="connsiteY6" fmla="*/ 10000 h 10000"/>
                <a:gd name="connsiteX7" fmla="*/ 3089 w 10000"/>
                <a:gd name="connsiteY7" fmla="*/ 10000 h 10000"/>
                <a:gd name="connsiteX8" fmla="*/ 10000 w 10000"/>
                <a:gd name="connsiteY8" fmla="*/ 10000 h 10000"/>
                <a:gd name="connsiteX0" fmla="*/ 10000 w 10000"/>
                <a:gd name="connsiteY0" fmla="*/ 0 h 10000"/>
                <a:gd name="connsiteX1" fmla="*/ 3089 w 10000"/>
                <a:gd name="connsiteY1" fmla="*/ 0 h 10000"/>
                <a:gd name="connsiteX2" fmla="*/ 2941 w 10000"/>
                <a:gd name="connsiteY2" fmla="*/ 0 h 10000"/>
                <a:gd name="connsiteX3" fmla="*/ 0 w 10000"/>
                <a:gd name="connsiteY3" fmla="*/ 0 h 10000"/>
                <a:gd name="connsiteX4" fmla="*/ 0 w 10000"/>
                <a:gd name="connsiteY4" fmla="*/ 10000 h 10000"/>
                <a:gd name="connsiteX5" fmla="*/ 2941 w 10000"/>
                <a:gd name="connsiteY5" fmla="*/ 10000 h 10000"/>
                <a:gd name="connsiteX6" fmla="*/ 3089 w 10000"/>
                <a:gd name="connsiteY6" fmla="*/ 10000 h 10000"/>
                <a:gd name="connsiteX7" fmla="*/ 10000 w 10000"/>
                <a:gd name="connsiteY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3089" y="0"/>
                  </a:lnTo>
                  <a:lnTo>
                    <a:pt x="2941" y="0"/>
                  </a:lnTo>
                  <a:lnTo>
                    <a:pt x="0" y="0"/>
                  </a:lnTo>
                  <a:lnTo>
                    <a:pt x="0" y="10000"/>
                  </a:lnTo>
                  <a:lnTo>
                    <a:pt x="2941" y="10000"/>
                  </a:lnTo>
                  <a:lnTo>
                    <a:pt x="3089" y="10000"/>
                  </a:lnTo>
                  <a:lnTo>
                    <a:pt x="10000" y="10000"/>
                  </a:lnTo>
                </a:path>
              </a:pathLst>
            </a:custGeom>
            <a:noFill/>
            <a:ln w="9525">
              <a:solidFill>
                <a:schemeClr val="tx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69" name="Freeform 263">
              <a:extLst>
                <a:ext uri="{FF2B5EF4-FFF2-40B4-BE49-F238E27FC236}">
                  <a16:creationId xmlns:a16="http://schemas.microsoft.com/office/drawing/2014/main" id="{965CCE92-5C0F-4173-B634-DDE324E5B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442" y="2052507"/>
              <a:ext cx="238597" cy="90343"/>
            </a:xfrm>
            <a:custGeom>
              <a:avLst/>
              <a:gdLst>
                <a:gd name="T0" fmla="*/ 29 w 29"/>
                <a:gd name="T1" fmla="*/ 11 h 11"/>
                <a:gd name="T2" fmla="*/ 29 w 29"/>
                <a:gd name="T3" fmla="*/ 0 h 11"/>
                <a:gd name="T4" fmla="*/ 26 w 29"/>
                <a:gd name="T5" fmla="*/ 0 h 11"/>
                <a:gd name="T6" fmla="*/ 11 w 29"/>
                <a:gd name="T7" fmla="*/ 5 h 11"/>
                <a:gd name="T8" fmla="*/ 0 w 29"/>
                <a:gd name="T9" fmla="*/ 11 h 11"/>
                <a:gd name="T10" fmla="*/ 29 w 29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1">
                  <a:moveTo>
                    <a:pt x="29" y="11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7" y="1"/>
                    <a:pt x="11" y="5"/>
                    <a:pt x="11" y="5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29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70" name="Rectangle 62">
              <a:extLst>
                <a:ext uri="{FF2B5EF4-FFF2-40B4-BE49-F238E27FC236}">
                  <a16:creationId xmlns:a16="http://schemas.microsoft.com/office/drawing/2014/main" id="{AA892879-082D-4429-802F-EE953D269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0470" y="2062835"/>
              <a:ext cx="172578" cy="9034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71" name="Rectangle 63">
              <a:extLst>
                <a:ext uri="{FF2B5EF4-FFF2-40B4-BE49-F238E27FC236}">
                  <a16:creationId xmlns:a16="http://schemas.microsoft.com/office/drawing/2014/main" id="{8B984089-7E93-4B12-B8C2-F4AF24650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478" y="2062835"/>
              <a:ext cx="172578" cy="9034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72" name="Freeform 133">
              <a:extLst>
                <a:ext uri="{FF2B5EF4-FFF2-40B4-BE49-F238E27FC236}">
                  <a16:creationId xmlns:a16="http://schemas.microsoft.com/office/drawing/2014/main" id="{E69FB166-CC71-4ABB-8BD2-0DA98402A2AA}"/>
                </a:ext>
              </a:extLst>
            </p:cNvPr>
            <p:cNvSpPr/>
            <p:nvPr/>
          </p:nvSpPr>
          <p:spPr>
            <a:xfrm>
              <a:off x="3097236" y="1982418"/>
              <a:ext cx="284597" cy="211733"/>
            </a:xfrm>
            <a:custGeom>
              <a:avLst/>
              <a:gdLst>
                <a:gd name="connsiteX0" fmla="*/ 376237 w 376237"/>
                <a:gd name="connsiteY0" fmla="*/ 228600 h 228600"/>
                <a:gd name="connsiteX1" fmla="*/ 376237 w 376237"/>
                <a:gd name="connsiteY1" fmla="*/ 0 h 228600"/>
                <a:gd name="connsiteX2" fmla="*/ 0 w 376237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6237" h="228600">
                  <a:moveTo>
                    <a:pt x="376237" y="228600"/>
                  </a:moveTo>
                  <a:lnTo>
                    <a:pt x="376237" y="0"/>
                  </a:lnTo>
                  <a:lnTo>
                    <a:pt x="0" y="0"/>
                  </a:lnTo>
                </a:path>
              </a:pathLst>
            </a:custGeom>
            <a:ln w="95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30034AD0-CCFA-42A0-B21F-268EBD61E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3764" y="2280322"/>
              <a:ext cx="18439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2" y="0"/>
                    <a:pt x="28" y="0"/>
                  </a:cubicBezTo>
                  <a:lnTo>
                    <a:pt x="67" y="0"/>
                  </a:lnTo>
                  <a:cubicBezTo>
                    <a:pt x="82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1FB72388-6CF7-4BC3-8CC4-3E72DCD36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056" y="2280322"/>
              <a:ext cx="17122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2" y="0"/>
                    <a:pt x="28" y="0"/>
                  </a:cubicBezTo>
                  <a:lnTo>
                    <a:pt x="67" y="0"/>
                  </a:lnTo>
                  <a:cubicBezTo>
                    <a:pt x="82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28F80291-02D0-4AE5-91CA-F97E359F3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3032" y="2280322"/>
              <a:ext cx="17122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3" y="0"/>
                    <a:pt x="28" y="0"/>
                  </a:cubicBezTo>
                  <a:lnTo>
                    <a:pt x="67" y="0"/>
                  </a:lnTo>
                  <a:cubicBezTo>
                    <a:pt x="83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FA681550-A4AA-4E3B-BB90-F17AEAE1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9958" y="2280322"/>
              <a:ext cx="18439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3" y="0"/>
                    <a:pt x="28" y="0"/>
                  </a:cubicBezTo>
                  <a:lnTo>
                    <a:pt x="67" y="0"/>
                  </a:lnTo>
                  <a:cubicBezTo>
                    <a:pt x="83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9E359A9-B9A8-4E89-893A-A39DB7D4A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3" y="2280322"/>
              <a:ext cx="18439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3" y="0"/>
                    <a:pt x="28" y="0"/>
                  </a:cubicBezTo>
                  <a:lnTo>
                    <a:pt x="67" y="0"/>
                  </a:lnTo>
                  <a:cubicBezTo>
                    <a:pt x="83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" name="Freeform 60">
              <a:extLst>
                <a:ext uri="{FF2B5EF4-FFF2-40B4-BE49-F238E27FC236}">
                  <a16:creationId xmlns:a16="http://schemas.microsoft.com/office/drawing/2014/main" id="{4E6A232F-0B96-4B9E-A729-EB0E49E29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909" y="2280322"/>
              <a:ext cx="18439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3" y="0"/>
                    <a:pt x="28" y="0"/>
                  </a:cubicBezTo>
                  <a:lnTo>
                    <a:pt x="67" y="0"/>
                  </a:lnTo>
                  <a:cubicBezTo>
                    <a:pt x="83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" name="Freeform 61">
              <a:extLst>
                <a:ext uri="{FF2B5EF4-FFF2-40B4-BE49-F238E27FC236}">
                  <a16:creationId xmlns:a16="http://schemas.microsoft.com/office/drawing/2014/main" id="{790A4C10-F0C1-4077-9FD3-4935925E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6884" y="2280322"/>
              <a:ext cx="18439" cy="5268"/>
            </a:xfrm>
            <a:custGeom>
              <a:avLst/>
              <a:gdLst>
                <a:gd name="T0" fmla="*/ 0 w 95"/>
                <a:gd name="T1" fmla="*/ 29 h 29"/>
                <a:gd name="T2" fmla="*/ 0 w 95"/>
                <a:gd name="T3" fmla="*/ 29 h 29"/>
                <a:gd name="T4" fmla="*/ 28 w 95"/>
                <a:gd name="T5" fmla="*/ 0 h 29"/>
                <a:gd name="T6" fmla="*/ 67 w 95"/>
                <a:gd name="T7" fmla="*/ 0 h 29"/>
                <a:gd name="T8" fmla="*/ 95 w 9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9">
                  <a:moveTo>
                    <a:pt x="0" y="29"/>
                  </a:moveTo>
                  <a:lnTo>
                    <a:pt x="0" y="29"/>
                  </a:lnTo>
                  <a:cubicBezTo>
                    <a:pt x="0" y="13"/>
                    <a:pt x="13" y="0"/>
                    <a:pt x="28" y="0"/>
                  </a:cubicBezTo>
                  <a:lnTo>
                    <a:pt x="67" y="0"/>
                  </a:lnTo>
                  <a:cubicBezTo>
                    <a:pt x="83" y="0"/>
                    <a:pt x="95" y="13"/>
                    <a:pt x="95" y="29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" name="Freeform 62">
              <a:extLst>
                <a:ext uri="{FF2B5EF4-FFF2-40B4-BE49-F238E27FC236}">
                  <a16:creationId xmlns:a16="http://schemas.microsoft.com/office/drawing/2014/main" id="{058F4DC5-4AFC-46A8-B7F4-86CA45866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177" y="2247396"/>
              <a:ext cx="15805" cy="17122"/>
            </a:xfrm>
            <a:custGeom>
              <a:avLst/>
              <a:gdLst>
                <a:gd name="T0" fmla="*/ 85 w 85"/>
                <a:gd name="T1" fmla="*/ 43 h 85"/>
                <a:gd name="T2" fmla="*/ 85 w 85"/>
                <a:gd name="T3" fmla="*/ 43 h 85"/>
                <a:gd name="T4" fmla="*/ 43 w 85"/>
                <a:gd name="T5" fmla="*/ 85 h 85"/>
                <a:gd name="T6" fmla="*/ 0 w 85"/>
                <a:gd name="T7" fmla="*/ 43 h 85"/>
                <a:gd name="T8" fmla="*/ 43 w 85"/>
                <a:gd name="T9" fmla="*/ 0 h 85"/>
                <a:gd name="T10" fmla="*/ 85 w 85"/>
                <a:gd name="T11" fmla="*/ 43 h 85"/>
                <a:gd name="T12" fmla="*/ 85 w 85"/>
                <a:gd name="T13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5">
                  <a:moveTo>
                    <a:pt x="85" y="43"/>
                  </a:moveTo>
                  <a:lnTo>
                    <a:pt x="85" y="43"/>
                  </a:ln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3"/>
                  </a:cubicBezTo>
                  <a:lnTo>
                    <a:pt x="85" y="43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" name="Freeform 63">
              <a:extLst>
                <a:ext uri="{FF2B5EF4-FFF2-40B4-BE49-F238E27FC236}">
                  <a16:creationId xmlns:a16="http://schemas.microsoft.com/office/drawing/2014/main" id="{14BBD48F-40C0-46D8-9D93-349BC1EF3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079" y="2263201"/>
              <a:ext cx="0" cy="22391"/>
            </a:xfrm>
            <a:custGeom>
              <a:avLst/>
              <a:gdLst>
                <a:gd name="T0" fmla="*/ 0 h 119"/>
                <a:gd name="T1" fmla="*/ 0 h 119"/>
                <a:gd name="T2" fmla="*/ 119 h 1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19">
                  <a:moveTo>
                    <a:pt x="0" y="0"/>
                  </a:moveTo>
                  <a:lnTo>
                    <a:pt x="0" y="0"/>
                  </a:lnTo>
                  <a:lnTo>
                    <a:pt x="0" y="119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" name="Freeform 64">
              <a:extLst>
                <a:ext uri="{FF2B5EF4-FFF2-40B4-BE49-F238E27FC236}">
                  <a16:creationId xmlns:a16="http://schemas.microsoft.com/office/drawing/2014/main" id="{68704617-1D6C-4E4B-91A9-B1FFFCF58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152" y="2247396"/>
              <a:ext cx="15805" cy="17122"/>
            </a:xfrm>
            <a:custGeom>
              <a:avLst/>
              <a:gdLst>
                <a:gd name="T0" fmla="*/ 85 w 85"/>
                <a:gd name="T1" fmla="*/ 43 h 85"/>
                <a:gd name="T2" fmla="*/ 85 w 85"/>
                <a:gd name="T3" fmla="*/ 43 h 85"/>
                <a:gd name="T4" fmla="*/ 43 w 85"/>
                <a:gd name="T5" fmla="*/ 85 h 85"/>
                <a:gd name="T6" fmla="*/ 0 w 85"/>
                <a:gd name="T7" fmla="*/ 43 h 85"/>
                <a:gd name="T8" fmla="*/ 43 w 85"/>
                <a:gd name="T9" fmla="*/ 0 h 85"/>
                <a:gd name="T10" fmla="*/ 85 w 85"/>
                <a:gd name="T11" fmla="*/ 43 h 85"/>
                <a:gd name="T12" fmla="*/ 85 w 85"/>
                <a:gd name="T13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5">
                  <a:moveTo>
                    <a:pt x="85" y="43"/>
                  </a:moveTo>
                  <a:lnTo>
                    <a:pt x="85" y="43"/>
                  </a:ln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3"/>
                  </a:cubicBezTo>
                  <a:lnTo>
                    <a:pt x="85" y="43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" name="Freeform 65">
              <a:extLst>
                <a:ext uri="{FF2B5EF4-FFF2-40B4-BE49-F238E27FC236}">
                  <a16:creationId xmlns:a16="http://schemas.microsoft.com/office/drawing/2014/main" id="{0005650E-4E67-4CEC-BC4C-3C81D99EE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4055" y="2263201"/>
              <a:ext cx="0" cy="22391"/>
            </a:xfrm>
            <a:custGeom>
              <a:avLst/>
              <a:gdLst>
                <a:gd name="T0" fmla="*/ 0 h 119"/>
                <a:gd name="T1" fmla="*/ 0 h 119"/>
                <a:gd name="T2" fmla="*/ 119 h 1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19">
                  <a:moveTo>
                    <a:pt x="0" y="0"/>
                  </a:moveTo>
                  <a:lnTo>
                    <a:pt x="0" y="0"/>
                  </a:lnTo>
                  <a:lnTo>
                    <a:pt x="0" y="119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5" name="Freeform 147">
              <a:extLst>
                <a:ext uri="{FF2B5EF4-FFF2-40B4-BE49-F238E27FC236}">
                  <a16:creationId xmlns:a16="http://schemas.microsoft.com/office/drawing/2014/main" id="{44B70317-19AD-426E-AB9E-089EDB95C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932" y="2156518"/>
              <a:ext cx="46098" cy="50048"/>
            </a:xfrm>
            <a:custGeom>
              <a:avLst/>
              <a:gdLst>
                <a:gd name="T0" fmla="*/ 78 w 242"/>
                <a:gd name="T1" fmla="*/ 255 h 268"/>
                <a:gd name="T2" fmla="*/ 78 w 242"/>
                <a:gd name="T3" fmla="*/ 255 h 268"/>
                <a:gd name="T4" fmla="*/ 25 w 242"/>
                <a:gd name="T5" fmla="*/ 218 h 268"/>
                <a:gd name="T6" fmla="*/ 13 w 242"/>
                <a:gd name="T7" fmla="*/ 159 h 268"/>
                <a:gd name="T8" fmla="*/ 103 w 242"/>
                <a:gd name="T9" fmla="*/ 25 h 268"/>
                <a:gd name="T10" fmla="*/ 163 w 242"/>
                <a:gd name="T11" fmla="*/ 14 h 268"/>
                <a:gd name="T12" fmla="*/ 217 w 242"/>
                <a:gd name="T13" fmla="*/ 50 h 268"/>
                <a:gd name="T14" fmla="*/ 229 w 242"/>
                <a:gd name="T15" fmla="*/ 110 h 268"/>
                <a:gd name="T16" fmla="*/ 138 w 242"/>
                <a:gd name="T17" fmla="*/ 243 h 268"/>
                <a:gd name="T18" fmla="*/ 78 w 242"/>
                <a:gd name="T19" fmla="*/ 255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68">
                  <a:moveTo>
                    <a:pt x="78" y="255"/>
                  </a:moveTo>
                  <a:lnTo>
                    <a:pt x="78" y="255"/>
                  </a:lnTo>
                  <a:lnTo>
                    <a:pt x="25" y="218"/>
                  </a:lnTo>
                  <a:cubicBezTo>
                    <a:pt x="5" y="205"/>
                    <a:pt x="0" y="178"/>
                    <a:pt x="13" y="159"/>
                  </a:cubicBezTo>
                  <a:lnTo>
                    <a:pt x="103" y="25"/>
                  </a:lnTo>
                  <a:cubicBezTo>
                    <a:pt x="117" y="6"/>
                    <a:pt x="144" y="0"/>
                    <a:pt x="163" y="14"/>
                  </a:cubicBezTo>
                  <a:lnTo>
                    <a:pt x="217" y="50"/>
                  </a:lnTo>
                  <a:cubicBezTo>
                    <a:pt x="237" y="63"/>
                    <a:pt x="242" y="90"/>
                    <a:pt x="229" y="110"/>
                  </a:cubicBezTo>
                  <a:lnTo>
                    <a:pt x="138" y="243"/>
                  </a:lnTo>
                  <a:cubicBezTo>
                    <a:pt x="125" y="263"/>
                    <a:pt x="98" y="268"/>
                    <a:pt x="78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6" name="Freeform 148">
              <a:extLst>
                <a:ext uri="{FF2B5EF4-FFF2-40B4-BE49-F238E27FC236}">
                  <a16:creationId xmlns:a16="http://schemas.microsoft.com/office/drawing/2014/main" id="{EA14038C-AA9A-4F01-979C-F77A8E28D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932" y="2156518"/>
              <a:ext cx="46098" cy="50048"/>
            </a:xfrm>
            <a:custGeom>
              <a:avLst/>
              <a:gdLst>
                <a:gd name="T0" fmla="*/ 78 w 242"/>
                <a:gd name="T1" fmla="*/ 255 h 268"/>
                <a:gd name="T2" fmla="*/ 78 w 242"/>
                <a:gd name="T3" fmla="*/ 255 h 268"/>
                <a:gd name="T4" fmla="*/ 25 w 242"/>
                <a:gd name="T5" fmla="*/ 218 h 268"/>
                <a:gd name="T6" fmla="*/ 13 w 242"/>
                <a:gd name="T7" fmla="*/ 159 h 268"/>
                <a:gd name="T8" fmla="*/ 103 w 242"/>
                <a:gd name="T9" fmla="*/ 25 h 268"/>
                <a:gd name="T10" fmla="*/ 163 w 242"/>
                <a:gd name="T11" fmla="*/ 14 h 268"/>
                <a:gd name="T12" fmla="*/ 217 w 242"/>
                <a:gd name="T13" fmla="*/ 50 h 268"/>
                <a:gd name="T14" fmla="*/ 229 w 242"/>
                <a:gd name="T15" fmla="*/ 110 h 268"/>
                <a:gd name="T16" fmla="*/ 138 w 242"/>
                <a:gd name="T17" fmla="*/ 243 h 268"/>
                <a:gd name="T18" fmla="*/ 78 w 242"/>
                <a:gd name="T19" fmla="*/ 255 h 268"/>
                <a:gd name="T20" fmla="*/ 78 w 242"/>
                <a:gd name="T21" fmla="*/ 255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" h="268">
                  <a:moveTo>
                    <a:pt x="78" y="255"/>
                  </a:moveTo>
                  <a:lnTo>
                    <a:pt x="78" y="255"/>
                  </a:lnTo>
                  <a:lnTo>
                    <a:pt x="25" y="218"/>
                  </a:lnTo>
                  <a:cubicBezTo>
                    <a:pt x="5" y="205"/>
                    <a:pt x="0" y="178"/>
                    <a:pt x="13" y="159"/>
                  </a:cubicBezTo>
                  <a:lnTo>
                    <a:pt x="103" y="25"/>
                  </a:lnTo>
                  <a:cubicBezTo>
                    <a:pt x="117" y="6"/>
                    <a:pt x="144" y="0"/>
                    <a:pt x="163" y="14"/>
                  </a:cubicBezTo>
                  <a:lnTo>
                    <a:pt x="217" y="50"/>
                  </a:lnTo>
                  <a:cubicBezTo>
                    <a:pt x="237" y="63"/>
                    <a:pt x="242" y="90"/>
                    <a:pt x="229" y="110"/>
                  </a:cubicBezTo>
                  <a:lnTo>
                    <a:pt x="138" y="243"/>
                  </a:lnTo>
                  <a:cubicBezTo>
                    <a:pt x="125" y="263"/>
                    <a:pt x="98" y="268"/>
                    <a:pt x="78" y="255"/>
                  </a:cubicBezTo>
                  <a:lnTo>
                    <a:pt x="78" y="255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7" name="Freeform 149">
              <a:extLst>
                <a:ext uri="{FF2B5EF4-FFF2-40B4-BE49-F238E27FC236}">
                  <a16:creationId xmlns:a16="http://schemas.microsoft.com/office/drawing/2014/main" id="{D751FB0B-24B4-4C31-AA2D-396BE5B1E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761" y="2149933"/>
              <a:ext cx="9220" cy="14488"/>
            </a:xfrm>
            <a:custGeom>
              <a:avLst/>
              <a:gdLst>
                <a:gd name="T0" fmla="*/ 0 w 54"/>
                <a:gd name="T1" fmla="*/ 80 h 80"/>
                <a:gd name="T2" fmla="*/ 0 w 54"/>
                <a:gd name="T3" fmla="*/ 80 h 80"/>
                <a:gd name="T4" fmla="*/ 54 w 54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80">
                  <a:moveTo>
                    <a:pt x="0" y="80"/>
                  </a:moveTo>
                  <a:lnTo>
                    <a:pt x="0" y="80"/>
                  </a:lnTo>
                  <a:lnTo>
                    <a:pt x="54" y="0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8" name="Freeform 150">
              <a:extLst>
                <a:ext uri="{FF2B5EF4-FFF2-40B4-BE49-F238E27FC236}">
                  <a16:creationId xmlns:a16="http://schemas.microsoft.com/office/drawing/2014/main" id="{A1400BF7-1256-4DF6-9B47-4530789A9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103" y="2210518"/>
              <a:ext cx="160682" cy="47414"/>
            </a:xfrm>
            <a:custGeom>
              <a:avLst/>
              <a:gdLst>
                <a:gd name="T0" fmla="*/ 800 w 856"/>
                <a:gd name="T1" fmla="*/ 144 h 253"/>
                <a:gd name="T2" fmla="*/ 800 w 856"/>
                <a:gd name="T3" fmla="*/ 144 h 253"/>
                <a:gd name="T4" fmla="*/ 74 w 856"/>
                <a:gd name="T5" fmla="*/ 249 h 253"/>
                <a:gd name="T6" fmla="*/ 7 w 856"/>
                <a:gd name="T7" fmla="*/ 198 h 253"/>
                <a:gd name="T8" fmla="*/ 4 w 856"/>
                <a:gd name="T9" fmla="*/ 176 h 253"/>
                <a:gd name="T10" fmla="*/ 55 w 856"/>
                <a:gd name="T11" fmla="*/ 109 h 253"/>
                <a:gd name="T12" fmla="*/ 782 w 856"/>
                <a:gd name="T13" fmla="*/ 5 h 253"/>
                <a:gd name="T14" fmla="*/ 848 w 856"/>
                <a:gd name="T15" fmla="*/ 55 h 253"/>
                <a:gd name="T16" fmla="*/ 851 w 856"/>
                <a:gd name="T17" fmla="*/ 77 h 253"/>
                <a:gd name="T18" fmla="*/ 800 w 856"/>
                <a:gd name="T19" fmla="*/ 144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6" h="253">
                  <a:moveTo>
                    <a:pt x="800" y="144"/>
                  </a:moveTo>
                  <a:lnTo>
                    <a:pt x="800" y="144"/>
                  </a:lnTo>
                  <a:lnTo>
                    <a:pt x="74" y="249"/>
                  </a:lnTo>
                  <a:cubicBezTo>
                    <a:pt x="42" y="253"/>
                    <a:pt x="12" y="230"/>
                    <a:pt x="7" y="198"/>
                  </a:cubicBezTo>
                  <a:lnTo>
                    <a:pt x="4" y="176"/>
                  </a:lnTo>
                  <a:cubicBezTo>
                    <a:pt x="0" y="144"/>
                    <a:pt x="23" y="114"/>
                    <a:pt x="55" y="109"/>
                  </a:cubicBezTo>
                  <a:lnTo>
                    <a:pt x="782" y="5"/>
                  </a:lnTo>
                  <a:cubicBezTo>
                    <a:pt x="814" y="0"/>
                    <a:pt x="844" y="23"/>
                    <a:pt x="848" y="55"/>
                  </a:cubicBezTo>
                  <a:lnTo>
                    <a:pt x="851" y="77"/>
                  </a:lnTo>
                  <a:cubicBezTo>
                    <a:pt x="856" y="110"/>
                    <a:pt x="833" y="140"/>
                    <a:pt x="800" y="14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9" name="Freeform 151">
              <a:extLst>
                <a:ext uri="{FF2B5EF4-FFF2-40B4-BE49-F238E27FC236}">
                  <a16:creationId xmlns:a16="http://schemas.microsoft.com/office/drawing/2014/main" id="{86DB4AC0-101F-4B69-9E9E-4DA1A1EE3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103" y="2210518"/>
              <a:ext cx="160682" cy="47414"/>
            </a:xfrm>
            <a:custGeom>
              <a:avLst/>
              <a:gdLst>
                <a:gd name="T0" fmla="*/ 800 w 856"/>
                <a:gd name="T1" fmla="*/ 144 h 253"/>
                <a:gd name="T2" fmla="*/ 800 w 856"/>
                <a:gd name="T3" fmla="*/ 144 h 253"/>
                <a:gd name="T4" fmla="*/ 74 w 856"/>
                <a:gd name="T5" fmla="*/ 249 h 253"/>
                <a:gd name="T6" fmla="*/ 7 w 856"/>
                <a:gd name="T7" fmla="*/ 198 h 253"/>
                <a:gd name="T8" fmla="*/ 4 w 856"/>
                <a:gd name="T9" fmla="*/ 176 h 253"/>
                <a:gd name="T10" fmla="*/ 55 w 856"/>
                <a:gd name="T11" fmla="*/ 109 h 253"/>
                <a:gd name="T12" fmla="*/ 782 w 856"/>
                <a:gd name="T13" fmla="*/ 5 h 253"/>
                <a:gd name="T14" fmla="*/ 848 w 856"/>
                <a:gd name="T15" fmla="*/ 55 h 253"/>
                <a:gd name="T16" fmla="*/ 851 w 856"/>
                <a:gd name="T17" fmla="*/ 77 h 253"/>
                <a:gd name="T18" fmla="*/ 800 w 856"/>
                <a:gd name="T19" fmla="*/ 144 h 253"/>
                <a:gd name="T20" fmla="*/ 800 w 856"/>
                <a:gd name="T21" fmla="*/ 144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6" h="253">
                  <a:moveTo>
                    <a:pt x="800" y="144"/>
                  </a:moveTo>
                  <a:lnTo>
                    <a:pt x="800" y="144"/>
                  </a:lnTo>
                  <a:lnTo>
                    <a:pt x="74" y="249"/>
                  </a:lnTo>
                  <a:cubicBezTo>
                    <a:pt x="42" y="253"/>
                    <a:pt x="12" y="230"/>
                    <a:pt x="7" y="198"/>
                  </a:cubicBezTo>
                  <a:lnTo>
                    <a:pt x="4" y="176"/>
                  </a:lnTo>
                  <a:cubicBezTo>
                    <a:pt x="0" y="144"/>
                    <a:pt x="23" y="114"/>
                    <a:pt x="55" y="109"/>
                  </a:cubicBezTo>
                  <a:lnTo>
                    <a:pt x="782" y="5"/>
                  </a:lnTo>
                  <a:cubicBezTo>
                    <a:pt x="814" y="0"/>
                    <a:pt x="844" y="23"/>
                    <a:pt x="848" y="55"/>
                  </a:cubicBezTo>
                  <a:lnTo>
                    <a:pt x="851" y="77"/>
                  </a:lnTo>
                  <a:cubicBezTo>
                    <a:pt x="856" y="110"/>
                    <a:pt x="833" y="140"/>
                    <a:pt x="800" y="144"/>
                  </a:cubicBezTo>
                  <a:lnTo>
                    <a:pt x="800" y="144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0" name="Freeform 152">
              <a:extLst>
                <a:ext uri="{FF2B5EF4-FFF2-40B4-BE49-F238E27FC236}">
                  <a16:creationId xmlns:a16="http://schemas.microsoft.com/office/drawing/2014/main" id="{FD30912B-A021-4BB4-94E0-D6A753021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688" y="2151250"/>
              <a:ext cx="65853" cy="44780"/>
            </a:xfrm>
            <a:custGeom>
              <a:avLst/>
              <a:gdLst>
                <a:gd name="T0" fmla="*/ 12 w 351"/>
                <a:gd name="T1" fmla="*/ 0 h 238"/>
                <a:gd name="T2" fmla="*/ 12 w 351"/>
                <a:gd name="T3" fmla="*/ 0 h 238"/>
                <a:gd name="T4" fmla="*/ 19 w 351"/>
                <a:gd name="T5" fmla="*/ 117 h 238"/>
                <a:gd name="T6" fmla="*/ 238 w 351"/>
                <a:gd name="T7" fmla="*/ 201 h 238"/>
                <a:gd name="T8" fmla="*/ 329 w 351"/>
                <a:gd name="T9" fmla="*/ 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1" h="238">
                  <a:moveTo>
                    <a:pt x="12" y="0"/>
                  </a:moveTo>
                  <a:lnTo>
                    <a:pt x="12" y="0"/>
                  </a:lnTo>
                  <a:cubicBezTo>
                    <a:pt x="0" y="37"/>
                    <a:pt x="1" y="79"/>
                    <a:pt x="19" y="117"/>
                  </a:cubicBezTo>
                  <a:cubicBezTo>
                    <a:pt x="56" y="201"/>
                    <a:pt x="154" y="238"/>
                    <a:pt x="238" y="201"/>
                  </a:cubicBezTo>
                  <a:cubicBezTo>
                    <a:pt x="314" y="166"/>
                    <a:pt x="351" y="82"/>
                    <a:pt x="329" y="5"/>
                  </a:cubicBez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1" name="Freeform 153">
              <a:extLst>
                <a:ext uri="{FF2B5EF4-FFF2-40B4-BE49-F238E27FC236}">
                  <a16:creationId xmlns:a16="http://schemas.microsoft.com/office/drawing/2014/main" id="{1C4B1921-64E4-4958-A314-37B837F87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688" y="2151250"/>
              <a:ext cx="65853" cy="44780"/>
            </a:xfrm>
            <a:custGeom>
              <a:avLst/>
              <a:gdLst>
                <a:gd name="T0" fmla="*/ 12 w 351"/>
                <a:gd name="T1" fmla="*/ 0 h 238"/>
                <a:gd name="T2" fmla="*/ 12 w 351"/>
                <a:gd name="T3" fmla="*/ 0 h 238"/>
                <a:gd name="T4" fmla="*/ 19 w 351"/>
                <a:gd name="T5" fmla="*/ 117 h 238"/>
                <a:gd name="T6" fmla="*/ 238 w 351"/>
                <a:gd name="T7" fmla="*/ 201 h 238"/>
                <a:gd name="T8" fmla="*/ 329 w 351"/>
                <a:gd name="T9" fmla="*/ 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1" h="238">
                  <a:moveTo>
                    <a:pt x="12" y="0"/>
                  </a:moveTo>
                  <a:lnTo>
                    <a:pt x="12" y="0"/>
                  </a:lnTo>
                  <a:cubicBezTo>
                    <a:pt x="0" y="37"/>
                    <a:pt x="1" y="79"/>
                    <a:pt x="19" y="117"/>
                  </a:cubicBezTo>
                  <a:cubicBezTo>
                    <a:pt x="56" y="201"/>
                    <a:pt x="154" y="238"/>
                    <a:pt x="238" y="201"/>
                  </a:cubicBezTo>
                  <a:cubicBezTo>
                    <a:pt x="314" y="166"/>
                    <a:pt x="351" y="82"/>
                    <a:pt x="329" y="5"/>
                  </a:cubicBez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2" name="Freeform 154">
              <a:extLst>
                <a:ext uri="{FF2B5EF4-FFF2-40B4-BE49-F238E27FC236}">
                  <a16:creationId xmlns:a16="http://schemas.microsoft.com/office/drawing/2014/main" id="{2E3B24C4-AFD5-4EC7-9149-E2778057D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370" y="2194714"/>
              <a:ext cx="82975" cy="206779"/>
            </a:xfrm>
            <a:custGeom>
              <a:avLst/>
              <a:gdLst>
                <a:gd name="T0" fmla="*/ 267 w 440"/>
                <a:gd name="T1" fmla="*/ 1097 h 1097"/>
                <a:gd name="T2" fmla="*/ 267 w 440"/>
                <a:gd name="T3" fmla="*/ 1097 h 1097"/>
                <a:gd name="T4" fmla="*/ 433 w 440"/>
                <a:gd name="T5" fmla="*/ 907 h 1097"/>
                <a:gd name="T6" fmla="*/ 382 w 440"/>
                <a:gd name="T7" fmla="*/ 172 h 1097"/>
                <a:gd name="T8" fmla="*/ 191 w 440"/>
                <a:gd name="T9" fmla="*/ 7 h 1097"/>
                <a:gd name="T10" fmla="*/ 191 w 440"/>
                <a:gd name="T11" fmla="*/ 7 h 1097"/>
                <a:gd name="T12" fmla="*/ 26 w 440"/>
                <a:gd name="T13" fmla="*/ 197 h 1097"/>
                <a:gd name="T14" fmla="*/ 0 w 440"/>
                <a:gd name="T15" fmla="*/ 93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1097">
                  <a:moveTo>
                    <a:pt x="267" y="1097"/>
                  </a:moveTo>
                  <a:lnTo>
                    <a:pt x="267" y="1097"/>
                  </a:lnTo>
                  <a:cubicBezTo>
                    <a:pt x="365" y="1090"/>
                    <a:pt x="440" y="1004"/>
                    <a:pt x="433" y="907"/>
                  </a:cubicBezTo>
                  <a:lnTo>
                    <a:pt x="382" y="172"/>
                  </a:lnTo>
                  <a:cubicBezTo>
                    <a:pt x="375" y="74"/>
                    <a:pt x="289" y="0"/>
                    <a:pt x="191" y="7"/>
                  </a:cubicBezTo>
                  <a:lnTo>
                    <a:pt x="191" y="7"/>
                  </a:lnTo>
                  <a:cubicBezTo>
                    <a:pt x="94" y="13"/>
                    <a:pt x="19" y="99"/>
                    <a:pt x="26" y="197"/>
                  </a:cubicBezTo>
                  <a:lnTo>
                    <a:pt x="0" y="937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3" name="Freeform 155">
              <a:extLst>
                <a:ext uri="{FF2B5EF4-FFF2-40B4-BE49-F238E27FC236}">
                  <a16:creationId xmlns:a16="http://schemas.microsoft.com/office/drawing/2014/main" id="{541F69A7-D5DE-44A6-A57D-56DD9759F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370" y="2194714"/>
              <a:ext cx="82975" cy="206779"/>
            </a:xfrm>
            <a:custGeom>
              <a:avLst/>
              <a:gdLst>
                <a:gd name="T0" fmla="*/ 267 w 440"/>
                <a:gd name="T1" fmla="*/ 1097 h 1097"/>
                <a:gd name="T2" fmla="*/ 267 w 440"/>
                <a:gd name="T3" fmla="*/ 1097 h 1097"/>
                <a:gd name="T4" fmla="*/ 433 w 440"/>
                <a:gd name="T5" fmla="*/ 907 h 1097"/>
                <a:gd name="T6" fmla="*/ 382 w 440"/>
                <a:gd name="T7" fmla="*/ 172 h 1097"/>
                <a:gd name="T8" fmla="*/ 191 w 440"/>
                <a:gd name="T9" fmla="*/ 7 h 1097"/>
                <a:gd name="T10" fmla="*/ 191 w 440"/>
                <a:gd name="T11" fmla="*/ 7 h 1097"/>
                <a:gd name="T12" fmla="*/ 26 w 440"/>
                <a:gd name="T13" fmla="*/ 197 h 1097"/>
                <a:gd name="T14" fmla="*/ 0 w 440"/>
                <a:gd name="T15" fmla="*/ 93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1097">
                  <a:moveTo>
                    <a:pt x="267" y="1097"/>
                  </a:moveTo>
                  <a:lnTo>
                    <a:pt x="267" y="1097"/>
                  </a:lnTo>
                  <a:cubicBezTo>
                    <a:pt x="365" y="1090"/>
                    <a:pt x="440" y="1004"/>
                    <a:pt x="433" y="907"/>
                  </a:cubicBezTo>
                  <a:lnTo>
                    <a:pt x="382" y="172"/>
                  </a:lnTo>
                  <a:cubicBezTo>
                    <a:pt x="375" y="74"/>
                    <a:pt x="289" y="0"/>
                    <a:pt x="191" y="7"/>
                  </a:cubicBezTo>
                  <a:lnTo>
                    <a:pt x="191" y="7"/>
                  </a:lnTo>
                  <a:cubicBezTo>
                    <a:pt x="94" y="13"/>
                    <a:pt x="19" y="99"/>
                    <a:pt x="26" y="197"/>
                  </a:cubicBezTo>
                  <a:lnTo>
                    <a:pt x="0" y="937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4" name="Freeform 156">
              <a:extLst>
                <a:ext uri="{FF2B5EF4-FFF2-40B4-BE49-F238E27FC236}">
                  <a16:creationId xmlns:a16="http://schemas.microsoft.com/office/drawing/2014/main" id="{C35D8ECD-650B-4BB4-95EA-64AB498F3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5664" y="2336956"/>
              <a:ext cx="165950" cy="35561"/>
            </a:xfrm>
            <a:custGeom>
              <a:avLst/>
              <a:gdLst>
                <a:gd name="T0" fmla="*/ 836 w 886"/>
                <a:gd name="T1" fmla="*/ 0 h 190"/>
                <a:gd name="T2" fmla="*/ 836 w 886"/>
                <a:gd name="T3" fmla="*/ 0 h 190"/>
                <a:gd name="T4" fmla="*/ 49 w 886"/>
                <a:gd name="T5" fmla="*/ 0 h 190"/>
                <a:gd name="T6" fmla="*/ 0 w 886"/>
                <a:gd name="T7" fmla="*/ 49 h 190"/>
                <a:gd name="T8" fmla="*/ 0 w 886"/>
                <a:gd name="T9" fmla="*/ 140 h 190"/>
                <a:gd name="T10" fmla="*/ 49 w 886"/>
                <a:gd name="T11" fmla="*/ 190 h 190"/>
                <a:gd name="T12" fmla="*/ 836 w 886"/>
                <a:gd name="T13" fmla="*/ 190 h 190"/>
                <a:gd name="T14" fmla="*/ 886 w 886"/>
                <a:gd name="T15" fmla="*/ 140 h 190"/>
                <a:gd name="T16" fmla="*/ 886 w 886"/>
                <a:gd name="T17" fmla="*/ 49 h 190"/>
                <a:gd name="T18" fmla="*/ 836 w 886"/>
                <a:gd name="T1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6" h="190">
                  <a:moveTo>
                    <a:pt x="836" y="0"/>
                  </a:moveTo>
                  <a:lnTo>
                    <a:pt x="836" y="0"/>
                  </a:lnTo>
                  <a:lnTo>
                    <a:pt x="49" y="0"/>
                  </a:lnTo>
                  <a:cubicBezTo>
                    <a:pt x="22" y="0"/>
                    <a:pt x="0" y="22"/>
                    <a:pt x="0" y="49"/>
                  </a:cubicBezTo>
                  <a:lnTo>
                    <a:pt x="0" y="140"/>
                  </a:lnTo>
                  <a:cubicBezTo>
                    <a:pt x="0" y="167"/>
                    <a:pt x="22" y="190"/>
                    <a:pt x="49" y="190"/>
                  </a:cubicBezTo>
                  <a:lnTo>
                    <a:pt x="836" y="190"/>
                  </a:lnTo>
                  <a:cubicBezTo>
                    <a:pt x="864" y="190"/>
                    <a:pt x="886" y="167"/>
                    <a:pt x="886" y="140"/>
                  </a:cubicBezTo>
                  <a:lnTo>
                    <a:pt x="886" y="49"/>
                  </a:lnTo>
                  <a:cubicBezTo>
                    <a:pt x="886" y="22"/>
                    <a:pt x="864" y="0"/>
                    <a:pt x="83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5" name="Freeform 157">
              <a:extLst>
                <a:ext uri="{FF2B5EF4-FFF2-40B4-BE49-F238E27FC236}">
                  <a16:creationId xmlns:a16="http://schemas.microsoft.com/office/drawing/2014/main" id="{D8D7AAEA-EC21-4E3C-91F9-547F08284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5664" y="2336956"/>
              <a:ext cx="165950" cy="35561"/>
            </a:xfrm>
            <a:custGeom>
              <a:avLst/>
              <a:gdLst>
                <a:gd name="T0" fmla="*/ 836 w 886"/>
                <a:gd name="T1" fmla="*/ 0 h 190"/>
                <a:gd name="T2" fmla="*/ 836 w 886"/>
                <a:gd name="T3" fmla="*/ 0 h 190"/>
                <a:gd name="T4" fmla="*/ 49 w 886"/>
                <a:gd name="T5" fmla="*/ 0 h 190"/>
                <a:gd name="T6" fmla="*/ 0 w 886"/>
                <a:gd name="T7" fmla="*/ 49 h 190"/>
                <a:gd name="T8" fmla="*/ 0 w 886"/>
                <a:gd name="T9" fmla="*/ 140 h 190"/>
                <a:gd name="T10" fmla="*/ 49 w 886"/>
                <a:gd name="T11" fmla="*/ 190 h 190"/>
                <a:gd name="T12" fmla="*/ 836 w 886"/>
                <a:gd name="T13" fmla="*/ 190 h 190"/>
                <a:gd name="T14" fmla="*/ 886 w 886"/>
                <a:gd name="T15" fmla="*/ 140 h 190"/>
                <a:gd name="T16" fmla="*/ 886 w 886"/>
                <a:gd name="T17" fmla="*/ 49 h 190"/>
                <a:gd name="T18" fmla="*/ 836 w 886"/>
                <a:gd name="T19" fmla="*/ 0 h 190"/>
                <a:gd name="T20" fmla="*/ 836 w 886"/>
                <a:gd name="T2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6" h="190">
                  <a:moveTo>
                    <a:pt x="836" y="0"/>
                  </a:moveTo>
                  <a:lnTo>
                    <a:pt x="836" y="0"/>
                  </a:lnTo>
                  <a:lnTo>
                    <a:pt x="49" y="0"/>
                  </a:lnTo>
                  <a:cubicBezTo>
                    <a:pt x="22" y="0"/>
                    <a:pt x="0" y="22"/>
                    <a:pt x="0" y="49"/>
                  </a:cubicBezTo>
                  <a:lnTo>
                    <a:pt x="0" y="140"/>
                  </a:lnTo>
                  <a:cubicBezTo>
                    <a:pt x="0" y="167"/>
                    <a:pt x="22" y="190"/>
                    <a:pt x="49" y="190"/>
                  </a:cubicBezTo>
                  <a:lnTo>
                    <a:pt x="836" y="190"/>
                  </a:lnTo>
                  <a:cubicBezTo>
                    <a:pt x="864" y="190"/>
                    <a:pt x="886" y="167"/>
                    <a:pt x="886" y="140"/>
                  </a:cubicBezTo>
                  <a:lnTo>
                    <a:pt x="886" y="49"/>
                  </a:lnTo>
                  <a:cubicBezTo>
                    <a:pt x="886" y="22"/>
                    <a:pt x="864" y="0"/>
                    <a:pt x="836" y="0"/>
                  </a:cubicBezTo>
                  <a:lnTo>
                    <a:pt x="836" y="0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6" name="Freeform 158">
              <a:extLst>
                <a:ext uri="{FF2B5EF4-FFF2-40B4-BE49-F238E27FC236}">
                  <a16:creationId xmlns:a16="http://schemas.microsoft.com/office/drawing/2014/main" id="{7DFC2613-EC92-42E2-BD0B-B7B76BEE3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981" y="2371200"/>
              <a:ext cx="169902" cy="19756"/>
            </a:xfrm>
            <a:custGeom>
              <a:avLst/>
              <a:gdLst>
                <a:gd name="T0" fmla="*/ 5 w 910"/>
                <a:gd name="T1" fmla="*/ 1 h 103"/>
                <a:gd name="T2" fmla="*/ 5 w 910"/>
                <a:gd name="T3" fmla="*/ 1 h 103"/>
                <a:gd name="T4" fmla="*/ 0 w 910"/>
                <a:gd name="T5" fmla="*/ 16 h 103"/>
                <a:gd name="T6" fmla="*/ 87 w 910"/>
                <a:gd name="T7" fmla="*/ 103 h 103"/>
                <a:gd name="T8" fmla="*/ 823 w 910"/>
                <a:gd name="T9" fmla="*/ 103 h 103"/>
                <a:gd name="T10" fmla="*/ 910 w 910"/>
                <a:gd name="T11" fmla="*/ 16 h 103"/>
                <a:gd name="T12" fmla="*/ 910 w 910"/>
                <a:gd name="T1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0" h="103">
                  <a:moveTo>
                    <a:pt x="5" y="1"/>
                  </a:moveTo>
                  <a:lnTo>
                    <a:pt x="5" y="1"/>
                  </a:lnTo>
                  <a:lnTo>
                    <a:pt x="0" y="16"/>
                  </a:lnTo>
                  <a:cubicBezTo>
                    <a:pt x="0" y="64"/>
                    <a:pt x="39" y="103"/>
                    <a:pt x="87" y="103"/>
                  </a:cubicBezTo>
                  <a:lnTo>
                    <a:pt x="823" y="103"/>
                  </a:lnTo>
                  <a:cubicBezTo>
                    <a:pt x="870" y="103"/>
                    <a:pt x="910" y="64"/>
                    <a:pt x="910" y="16"/>
                  </a:cubicBezTo>
                  <a:lnTo>
                    <a:pt x="91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7" name="Freeform 159">
              <a:extLst>
                <a:ext uri="{FF2B5EF4-FFF2-40B4-BE49-F238E27FC236}">
                  <a16:creationId xmlns:a16="http://schemas.microsoft.com/office/drawing/2014/main" id="{57945F6F-637A-4581-90D2-A57B2B968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981" y="2371200"/>
              <a:ext cx="169902" cy="19756"/>
            </a:xfrm>
            <a:custGeom>
              <a:avLst/>
              <a:gdLst>
                <a:gd name="T0" fmla="*/ 5 w 910"/>
                <a:gd name="T1" fmla="*/ 1 h 103"/>
                <a:gd name="T2" fmla="*/ 5 w 910"/>
                <a:gd name="T3" fmla="*/ 1 h 103"/>
                <a:gd name="T4" fmla="*/ 0 w 910"/>
                <a:gd name="T5" fmla="*/ 16 h 103"/>
                <a:gd name="T6" fmla="*/ 87 w 910"/>
                <a:gd name="T7" fmla="*/ 103 h 103"/>
                <a:gd name="T8" fmla="*/ 823 w 910"/>
                <a:gd name="T9" fmla="*/ 103 h 103"/>
                <a:gd name="T10" fmla="*/ 910 w 910"/>
                <a:gd name="T11" fmla="*/ 16 h 103"/>
                <a:gd name="T12" fmla="*/ 910 w 910"/>
                <a:gd name="T1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0" h="103">
                  <a:moveTo>
                    <a:pt x="5" y="1"/>
                  </a:moveTo>
                  <a:lnTo>
                    <a:pt x="5" y="1"/>
                  </a:lnTo>
                  <a:lnTo>
                    <a:pt x="0" y="16"/>
                  </a:lnTo>
                  <a:cubicBezTo>
                    <a:pt x="0" y="64"/>
                    <a:pt x="39" y="103"/>
                    <a:pt x="87" y="103"/>
                  </a:cubicBezTo>
                  <a:lnTo>
                    <a:pt x="823" y="103"/>
                  </a:lnTo>
                  <a:cubicBezTo>
                    <a:pt x="870" y="103"/>
                    <a:pt x="910" y="64"/>
                    <a:pt x="910" y="16"/>
                  </a:cubicBezTo>
                  <a:lnTo>
                    <a:pt x="910" y="0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8" name="Freeform 160">
              <a:extLst>
                <a:ext uri="{FF2B5EF4-FFF2-40B4-BE49-F238E27FC236}">
                  <a16:creationId xmlns:a16="http://schemas.microsoft.com/office/drawing/2014/main" id="{03BE81CC-EBFF-4347-833C-5FA73D860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981" y="2371200"/>
              <a:ext cx="169902" cy="0"/>
            </a:xfrm>
            <a:custGeom>
              <a:avLst/>
              <a:gdLst>
                <a:gd name="T0" fmla="*/ 0 w 910"/>
                <a:gd name="T1" fmla="*/ 0 w 910"/>
                <a:gd name="T2" fmla="*/ 910 w 9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10">
                  <a:moveTo>
                    <a:pt x="0" y="0"/>
                  </a:moveTo>
                  <a:lnTo>
                    <a:pt x="0" y="0"/>
                  </a:lnTo>
                  <a:lnTo>
                    <a:pt x="910" y="0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9" name="Freeform 161">
              <a:extLst>
                <a:ext uri="{FF2B5EF4-FFF2-40B4-BE49-F238E27FC236}">
                  <a16:creationId xmlns:a16="http://schemas.microsoft.com/office/drawing/2014/main" id="{0417C41F-0D0C-46A4-BE8B-8BB670A55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468" y="2130177"/>
              <a:ext cx="72439" cy="209414"/>
            </a:xfrm>
            <a:custGeom>
              <a:avLst/>
              <a:gdLst>
                <a:gd name="T0" fmla="*/ 386 w 389"/>
                <a:gd name="T1" fmla="*/ 99 h 1116"/>
                <a:gd name="T2" fmla="*/ 386 w 389"/>
                <a:gd name="T3" fmla="*/ 99 h 1116"/>
                <a:gd name="T4" fmla="*/ 292 w 389"/>
                <a:gd name="T5" fmla="*/ 0 h 1116"/>
                <a:gd name="T6" fmla="*/ 289 w 389"/>
                <a:gd name="T7" fmla="*/ 0 h 1116"/>
                <a:gd name="T8" fmla="*/ 177 w 389"/>
                <a:gd name="T9" fmla="*/ 98 h 1116"/>
                <a:gd name="T10" fmla="*/ 177 w 389"/>
                <a:gd name="T11" fmla="*/ 305 h 1116"/>
                <a:gd name="T12" fmla="*/ 13 w 389"/>
                <a:gd name="T13" fmla="*/ 979 h 1116"/>
                <a:gd name="T14" fmla="*/ 91 w 389"/>
                <a:gd name="T15" fmla="*/ 1102 h 1116"/>
                <a:gd name="T16" fmla="*/ 216 w 389"/>
                <a:gd name="T17" fmla="*/ 1029 h 1116"/>
                <a:gd name="T18" fmla="*/ 387 w 389"/>
                <a:gd name="T19" fmla="*/ 342 h 1116"/>
                <a:gd name="T20" fmla="*/ 386 w 389"/>
                <a:gd name="T21" fmla="*/ 99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9" h="1116">
                  <a:moveTo>
                    <a:pt x="386" y="99"/>
                  </a:moveTo>
                  <a:lnTo>
                    <a:pt x="386" y="99"/>
                  </a:lnTo>
                  <a:cubicBezTo>
                    <a:pt x="386" y="43"/>
                    <a:pt x="348" y="0"/>
                    <a:pt x="292" y="0"/>
                  </a:cubicBezTo>
                  <a:lnTo>
                    <a:pt x="289" y="0"/>
                  </a:lnTo>
                  <a:cubicBezTo>
                    <a:pt x="234" y="0"/>
                    <a:pt x="177" y="42"/>
                    <a:pt x="177" y="98"/>
                  </a:cubicBezTo>
                  <a:lnTo>
                    <a:pt x="177" y="305"/>
                  </a:lnTo>
                  <a:lnTo>
                    <a:pt x="13" y="979"/>
                  </a:lnTo>
                  <a:cubicBezTo>
                    <a:pt x="0" y="1033"/>
                    <a:pt x="36" y="1089"/>
                    <a:pt x="91" y="1102"/>
                  </a:cubicBezTo>
                  <a:cubicBezTo>
                    <a:pt x="145" y="1116"/>
                    <a:pt x="202" y="1083"/>
                    <a:pt x="216" y="1029"/>
                  </a:cubicBezTo>
                  <a:cubicBezTo>
                    <a:pt x="216" y="1029"/>
                    <a:pt x="386" y="343"/>
                    <a:pt x="387" y="342"/>
                  </a:cubicBezTo>
                  <a:cubicBezTo>
                    <a:pt x="389" y="334"/>
                    <a:pt x="386" y="99"/>
                    <a:pt x="386" y="9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0" name="Freeform 162">
              <a:extLst>
                <a:ext uri="{FF2B5EF4-FFF2-40B4-BE49-F238E27FC236}">
                  <a16:creationId xmlns:a16="http://schemas.microsoft.com/office/drawing/2014/main" id="{B0D2CA21-5A5E-44B6-A462-A1E9A8144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468" y="2130177"/>
              <a:ext cx="72439" cy="209414"/>
            </a:xfrm>
            <a:custGeom>
              <a:avLst/>
              <a:gdLst>
                <a:gd name="T0" fmla="*/ 386 w 389"/>
                <a:gd name="T1" fmla="*/ 99 h 1116"/>
                <a:gd name="T2" fmla="*/ 386 w 389"/>
                <a:gd name="T3" fmla="*/ 99 h 1116"/>
                <a:gd name="T4" fmla="*/ 292 w 389"/>
                <a:gd name="T5" fmla="*/ 0 h 1116"/>
                <a:gd name="T6" fmla="*/ 289 w 389"/>
                <a:gd name="T7" fmla="*/ 0 h 1116"/>
                <a:gd name="T8" fmla="*/ 177 w 389"/>
                <a:gd name="T9" fmla="*/ 98 h 1116"/>
                <a:gd name="T10" fmla="*/ 177 w 389"/>
                <a:gd name="T11" fmla="*/ 305 h 1116"/>
                <a:gd name="T12" fmla="*/ 13 w 389"/>
                <a:gd name="T13" fmla="*/ 979 h 1116"/>
                <a:gd name="T14" fmla="*/ 91 w 389"/>
                <a:gd name="T15" fmla="*/ 1102 h 1116"/>
                <a:gd name="T16" fmla="*/ 216 w 389"/>
                <a:gd name="T17" fmla="*/ 1029 h 1116"/>
                <a:gd name="T18" fmla="*/ 387 w 389"/>
                <a:gd name="T19" fmla="*/ 342 h 1116"/>
                <a:gd name="T20" fmla="*/ 386 w 389"/>
                <a:gd name="T21" fmla="*/ 99 h 1116"/>
                <a:gd name="T22" fmla="*/ 386 w 389"/>
                <a:gd name="T23" fmla="*/ 99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9" h="1116">
                  <a:moveTo>
                    <a:pt x="386" y="99"/>
                  </a:moveTo>
                  <a:lnTo>
                    <a:pt x="386" y="99"/>
                  </a:lnTo>
                  <a:cubicBezTo>
                    <a:pt x="386" y="43"/>
                    <a:pt x="348" y="0"/>
                    <a:pt x="292" y="0"/>
                  </a:cubicBezTo>
                  <a:lnTo>
                    <a:pt x="289" y="0"/>
                  </a:lnTo>
                  <a:cubicBezTo>
                    <a:pt x="234" y="0"/>
                    <a:pt x="177" y="42"/>
                    <a:pt x="177" y="98"/>
                  </a:cubicBezTo>
                  <a:lnTo>
                    <a:pt x="177" y="305"/>
                  </a:lnTo>
                  <a:lnTo>
                    <a:pt x="13" y="979"/>
                  </a:lnTo>
                  <a:cubicBezTo>
                    <a:pt x="0" y="1033"/>
                    <a:pt x="36" y="1089"/>
                    <a:pt x="91" y="1102"/>
                  </a:cubicBezTo>
                  <a:cubicBezTo>
                    <a:pt x="145" y="1116"/>
                    <a:pt x="202" y="1083"/>
                    <a:pt x="216" y="1029"/>
                  </a:cubicBezTo>
                  <a:cubicBezTo>
                    <a:pt x="216" y="1029"/>
                    <a:pt x="386" y="343"/>
                    <a:pt x="387" y="342"/>
                  </a:cubicBezTo>
                  <a:cubicBezTo>
                    <a:pt x="389" y="334"/>
                    <a:pt x="386" y="99"/>
                    <a:pt x="386" y="99"/>
                  </a:cubicBezTo>
                  <a:lnTo>
                    <a:pt x="386" y="99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1" name="Freeform 163">
              <a:extLst>
                <a:ext uri="{FF2B5EF4-FFF2-40B4-BE49-F238E27FC236}">
                  <a16:creationId xmlns:a16="http://schemas.microsoft.com/office/drawing/2014/main" id="{148AD472-A6A0-4FC1-90DC-DBDEF0792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613" y="2305347"/>
              <a:ext cx="100614" cy="146195"/>
            </a:xfrm>
            <a:custGeom>
              <a:avLst/>
              <a:gdLst>
                <a:gd name="T0" fmla="*/ 645 w 727"/>
                <a:gd name="T1" fmla="*/ 0 h 773"/>
                <a:gd name="T2" fmla="*/ 645 w 727"/>
                <a:gd name="T3" fmla="*/ 0 h 773"/>
                <a:gd name="T4" fmla="*/ 333 w 727"/>
                <a:gd name="T5" fmla="*/ 0 h 773"/>
                <a:gd name="T6" fmla="*/ 290 w 727"/>
                <a:gd name="T7" fmla="*/ 8 h 773"/>
                <a:gd name="T8" fmla="*/ 247 w 727"/>
                <a:gd name="T9" fmla="*/ 72 h 773"/>
                <a:gd name="T10" fmla="*/ 124 w 727"/>
                <a:gd name="T11" fmla="*/ 666 h 773"/>
                <a:gd name="T12" fmla="*/ 54 w 727"/>
                <a:gd name="T13" fmla="*/ 666 h 773"/>
                <a:gd name="T14" fmla="*/ 0 w 727"/>
                <a:gd name="T15" fmla="*/ 720 h 773"/>
                <a:gd name="T16" fmla="*/ 54 w 727"/>
                <a:gd name="T17" fmla="*/ 773 h 773"/>
                <a:gd name="T18" fmla="*/ 193 w 727"/>
                <a:gd name="T19" fmla="*/ 773 h 773"/>
                <a:gd name="T20" fmla="*/ 282 w 727"/>
                <a:gd name="T21" fmla="*/ 708 h 773"/>
                <a:gd name="T22" fmla="*/ 394 w 727"/>
                <a:gd name="T23" fmla="*/ 173 h 773"/>
                <a:gd name="T24" fmla="*/ 645 w 727"/>
                <a:gd name="T25" fmla="*/ 173 h 773"/>
                <a:gd name="T26" fmla="*/ 727 w 727"/>
                <a:gd name="T27" fmla="*/ 86 h 773"/>
                <a:gd name="T28" fmla="*/ 645 w 727"/>
                <a:gd name="T29" fmla="*/ 0 h 773"/>
                <a:gd name="connsiteX0" fmla="*/ 8872 w 10000"/>
                <a:gd name="connsiteY0" fmla="*/ 0 h 10001"/>
                <a:gd name="connsiteX1" fmla="*/ 8872 w 10000"/>
                <a:gd name="connsiteY1" fmla="*/ 0 h 10001"/>
                <a:gd name="connsiteX2" fmla="*/ 4580 w 10000"/>
                <a:gd name="connsiteY2" fmla="*/ 0 h 10001"/>
                <a:gd name="connsiteX3" fmla="*/ 3989 w 10000"/>
                <a:gd name="connsiteY3" fmla="*/ 103 h 10001"/>
                <a:gd name="connsiteX4" fmla="*/ 3398 w 10000"/>
                <a:gd name="connsiteY4" fmla="*/ 931 h 10001"/>
                <a:gd name="connsiteX5" fmla="*/ 1706 w 10000"/>
                <a:gd name="connsiteY5" fmla="*/ 8616 h 10001"/>
                <a:gd name="connsiteX6" fmla="*/ 743 w 10000"/>
                <a:gd name="connsiteY6" fmla="*/ 8616 h 10001"/>
                <a:gd name="connsiteX7" fmla="*/ 0 w 10000"/>
                <a:gd name="connsiteY7" fmla="*/ 9314 h 10001"/>
                <a:gd name="connsiteX8" fmla="*/ 2655 w 10000"/>
                <a:gd name="connsiteY8" fmla="*/ 10000 h 10001"/>
                <a:gd name="connsiteX9" fmla="*/ 3879 w 10000"/>
                <a:gd name="connsiteY9" fmla="*/ 9159 h 10001"/>
                <a:gd name="connsiteX10" fmla="*/ 5420 w 10000"/>
                <a:gd name="connsiteY10" fmla="*/ 2238 h 10001"/>
                <a:gd name="connsiteX11" fmla="*/ 8872 w 10000"/>
                <a:gd name="connsiteY11" fmla="*/ 2238 h 10001"/>
                <a:gd name="connsiteX12" fmla="*/ 10000 w 10000"/>
                <a:gd name="connsiteY12" fmla="*/ 1113 h 10001"/>
                <a:gd name="connsiteX13" fmla="*/ 8872 w 10000"/>
                <a:gd name="connsiteY13" fmla="*/ 0 h 10001"/>
                <a:gd name="connsiteX0" fmla="*/ 8129 w 9257"/>
                <a:gd name="connsiteY0" fmla="*/ 0 h 10000"/>
                <a:gd name="connsiteX1" fmla="*/ 8129 w 9257"/>
                <a:gd name="connsiteY1" fmla="*/ 0 h 10000"/>
                <a:gd name="connsiteX2" fmla="*/ 3837 w 9257"/>
                <a:gd name="connsiteY2" fmla="*/ 0 h 10000"/>
                <a:gd name="connsiteX3" fmla="*/ 3246 w 9257"/>
                <a:gd name="connsiteY3" fmla="*/ 103 h 10000"/>
                <a:gd name="connsiteX4" fmla="*/ 2655 w 9257"/>
                <a:gd name="connsiteY4" fmla="*/ 931 h 10000"/>
                <a:gd name="connsiteX5" fmla="*/ 963 w 9257"/>
                <a:gd name="connsiteY5" fmla="*/ 8616 h 10000"/>
                <a:gd name="connsiteX6" fmla="*/ 0 w 9257"/>
                <a:gd name="connsiteY6" fmla="*/ 8616 h 10000"/>
                <a:gd name="connsiteX7" fmla="*/ 1912 w 9257"/>
                <a:gd name="connsiteY7" fmla="*/ 10000 h 10000"/>
                <a:gd name="connsiteX8" fmla="*/ 3136 w 9257"/>
                <a:gd name="connsiteY8" fmla="*/ 9159 h 10000"/>
                <a:gd name="connsiteX9" fmla="*/ 4677 w 9257"/>
                <a:gd name="connsiteY9" fmla="*/ 2238 h 10000"/>
                <a:gd name="connsiteX10" fmla="*/ 8129 w 9257"/>
                <a:gd name="connsiteY10" fmla="*/ 2238 h 10000"/>
                <a:gd name="connsiteX11" fmla="*/ 9257 w 9257"/>
                <a:gd name="connsiteY11" fmla="*/ 1113 h 10000"/>
                <a:gd name="connsiteX12" fmla="*/ 8129 w 9257"/>
                <a:gd name="connsiteY12" fmla="*/ 0 h 10000"/>
                <a:gd name="connsiteX0" fmla="*/ 7741 w 8960"/>
                <a:gd name="connsiteY0" fmla="*/ 0 h 10000"/>
                <a:gd name="connsiteX1" fmla="*/ 7741 w 8960"/>
                <a:gd name="connsiteY1" fmla="*/ 0 h 10000"/>
                <a:gd name="connsiteX2" fmla="*/ 3105 w 8960"/>
                <a:gd name="connsiteY2" fmla="*/ 0 h 10000"/>
                <a:gd name="connsiteX3" fmla="*/ 2467 w 8960"/>
                <a:gd name="connsiteY3" fmla="*/ 103 h 10000"/>
                <a:gd name="connsiteX4" fmla="*/ 1828 w 8960"/>
                <a:gd name="connsiteY4" fmla="*/ 931 h 10000"/>
                <a:gd name="connsiteX5" fmla="*/ 0 w 8960"/>
                <a:gd name="connsiteY5" fmla="*/ 8616 h 10000"/>
                <a:gd name="connsiteX6" fmla="*/ 1025 w 8960"/>
                <a:gd name="connsiteY6" fmla="*/ 10000 h 10000"/>
                <a:gd name="connsiteX7" fmla="*/ 2348 w 8960"/>
                <a:gd name="connsiteY7" fmla="*/ 9159 h 10000"/>
                <a:gd name="connsiteX8" fmla="*/ 4012 w 8960"/>
                <a:gd name="connsiteY8" fmla="*/ 2238 h 10000"/>
                <a:gd name="connsiteX9" fmla="*/ 7741 w 8960"/>
                <a:gd name="connsiteY9" fmla="*/ 2238 h 10000"/>
                <a:gd name="connsiteX10" fmla="*/ 8960 w 8960"/>
                <a:gd name="connsiteY10" fmla="*/ 1113 h 10000"/>
                <a:gd name="connsiteX11" fmla="*/ 7741 w 8960"/>
                <a:gd name="connsiteY11" fmla="*/ 0 h 10000"/>
                <a:gd name="connsiteX0" fmla="*/ 7496 w 8856"/>
                <a:gd name="connsiteY0" fmla="*/ 0 h 10000"/>
                <a:gd name="connsiteX1" fmla="*/ 7496 w 8856"/>
                <a:gd name="connsiteY1" fmla="*/ 0 h 10000"/>
                <a:gd name="connsiteX2" fmla="*/ 2321 w 8856"/>
                <a:gd name="connsiteY2" fmla="*/ 0 h 10000"/>
                <a:gd name="connsiteX3" fmla="*/ 1609 w 8856"/>
                <a:gd name="connsiteY3" fmla="*/ 103 h 10000"/>
                <a:gd name="connsiteX4" fmla="*/ 896 w 8856"/>
                <a:gd name="connsiteY4" fmla="*/ 931 h 10000"/>
                <a:gd name="connsiteX5" fmla="*/ 0 w 8856"/>
                <a:gd name="connsiteY5" fmla="*/ 10000 h 10000"/>
                <a:gd name="connsiteX6" fmla="*/ 1477 w 8856"/>
                <a:gd name="connsiteY6" fmla="*/ 9159 h 10000"/>
                <a:gd name="connsiteX7" fmla="*/ 3334 w 8856"/>
                <a:gd name="connsiteY7" fmla="*/ 2238 h 10000"/>
                <a:gd name="connsiteX8" fmla="*/ 7496 w 8856"/>
                <a:gd name="connsiteY8" fmla="*/ 2238 h 10000"/>
                <a:gd name="connsiteX9" fmla="*/ 8856 w 8856"/>
                <a:gd name="connsiteY9" fmla="*/ 1113 h 10000"/>
                <a:gd name="connsiteX10" fmla="*/ 7496 w 8856"/>
                <a:gd name="connsiteY1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56" h="10000">
                  <a:moveTo>
                    <a:pt x="7496" y="0"/>
                  </a:moveTo>
                  <a:lnTo>
                    <a:pt x="7496" y="0"/>
                  </a:lnTo>
                  <a:lnTo>
                    <a:pt x="2321" y="0"/>
                  </a:lnTo>
                  <a:cubicBezTo>
                    <a:pt x="2073" y="0"/>
                    <a:pt x="1825" y="13"/>
                    <a:pt x="1609" y="103"/>
                  </a:cubicBezTo>
                  <a:cubicBezTo>
                    <a:pt x="1260" y="246"/>
                    <a:pt x="979" y="608"/>
                    <a:pt x="896" y="931"/>
                  </a:cubicBezTo>
                  <a:cubicBezTo>
                    <a:pt x="597" y="3954"/>
                    <a:pt x="299" y="6977"/>
                    <a:pt x="0" y="10000"/>
                  </a:cubicBezTo>
                  <a:cubicBezTo>
                    <a:pt x="681" y="10000"/>
                    <a:pt x="1327" y="9702"/>
                    <a:pt x="1477" y="9159"/>
                  </a:cubicBezTo>
                  <a:lnTo>
                    <a:pt x="3334" y="2238"/>
                  </a:lnTo>
                  <a:lnTo>
                    <a:pt x="7496" y="2238"/>
                  </a:lnTo>
                  <a:cubicBezTo>
                    <a:pt x="8242" y="2238"/>
                    <a:pt x="8856" y="1695"/>
                    <a:pt x="8856" y="1113"/>
                  </a:cubicBezTo>
                  <a:cubicBezTo>
                    <a:pt x="8856" y="530"/>
                    <a:pt x="8242" y="0"/>
                    <a:pt x="749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2" name="Freeform 164">
              <a:extLst>
                <a:ext uri="{FF2B5EF4-FFF2-40B4-BE49-F238E27FC236}">
                  <a16:creationId xmlns:a16="http://schemas.microsoft.com/office/drawing/2014/main" id="{E3232911-6489-41A1-881A-51629DCB3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613" y="2305347"/>
              <a:ext cx="100613" cy="146195"/>
            </a:xfrm>
            <a:custGeom>
              <a:avLst/>
              <a:gdLst>
                <a:gd name="T0" fmla="*/ 645 w 727"/>
                <a:gd name="T1" fmla="*/ 0 h 773"/>
                <a:gd name="T2" fmla="*/ 645 w 727"/>
                <a:gd name="T3" fmla="*/ 0 h 773"/>
                <a:gd name="T4" fmla="*/ 333 w 727"/>
                <a:gd name="T5" fmla="*/ 0 h 773"/>
                <a:gd name="T6" fmla="*/ 290 w 727"/>
                <a:gd name="T7" fmla="*/ 8 h 773"/>
                <a:gd name="T8" fmla="*/ 247 w 727"/>
                <a:gd name="T9" fmla="*/ 72 h 773"/>
                <a:gd name="T10" fmla="*/ 124 w 727"/>
                <a:gd name="T11" fmla="*/ 666 h 773"/>
                <a:gd name="T12" fmla="*/ 54 w 727"/>
                <a:gd name="T13" fmla="*/ 666 h 773"/>
                <a:gd name="T14" fmla="*/ 0 w 727"/>
                <a:gd name="T15" fmla="*/ 720 h 773"/>
                <a:gd name="T16" fmla="*/ 54 w 727"/>
                <a:gd name="T17" fmla="*/ 773 h 773"/>
                <a:gd name="T18" fmla="*/ 193 w 727"/>
                <a:gd name="T19" fmla="*/ 773 h 773"/>
                <a:gd name="T20" fmla="*/ 282 w 727"/>
                <a:gd name="T21" fmla="*/ 708 h 773"/>
                <a:gd name="T22" fmla="*/ 394 w 727"/>
                <a:gd name="T23" fmla="*/ 173 h 773"/>
                <a:gd name="T24" fmla="*/ 645 w 727"/>
                <a:gd name="T25" fmla="*/ 173 h 773"/>
                <a:gd name="T26" fmla="*/ 727 w 727"/>
                <a:gd name="T27" fmla="*/ 86 h 773"/>
                <a:gd name="T28" fmla="*/ 645 w 727"/>
                <a:gd name="T29" fmla="*/ 0 h 773"/>
                <a:gd name="T30" fmla="*/ 645 w 727"/>
                <a:gd name="T31" fmla="*/ 0 h 773"/>
                <a:gd name="connsiteX0" fmla="*/ 8314 w 9442"/>
                <a:gd name="connsiteY0" fmla="*/ 0 h 10000"/>
                <a:gd name="connsiteX1" fmla="*/ 8314 w 9442"/>
                <a:gd name="connsiteY1" fmla="*/ 0 h 10000"/>
                <a:gd name="connsiteX2" fmla="*/ 4022 w 9442"/>
                <a:gd name="connsiteY2" fmla="*/ 0 h 10000"/>
                <a:gd name="connsiteX3" fmla="*/ 3431 w 9442"/>
                <a:gd name="connsiteY3" fmla="*/ 103 h 10000"/>
                <a:gd name="connsiteX4" fmla="*/ 2840 w 9442"/>
                <a:gd name="connsiteY4" fmla="*/ 931 h 10000"/>
                <a:gd name="connsiteX5" fmla="*/ 1148 w 9442"/>
                <a:gd name="connsiteY5" fmla="*/ 8616 h 10000"/>
                <a:gd name="connsiteX6" fmla="*/ 185 w 9442"/>
                <a:gd name="connsiteY6" fmla="*/ 8616 h 10000"/>
                <a:gd name="connsiteX7" fmla="*/ 185 w 9442"/>
                <a:gd name="connsiteY7" fmla="*/ 10000 h 10000"/>
                <a:gd name="connsiteX8" fmla="*/ 2097 w 9442"/>
                <a:gd name="connsiteY8" fmla="*/ 10000 h 10000"/>
                <a:gd name="connsiteX9" fmla="*/ 3321 w 9442"/>
                <a:gd name="connsiteY9" fmla="*/ 9159 h 10000"/>
                <a:gd name="connsiteX10" fmla="*/ 4862 w 9442"/>
                <a:gd name="connsiteY10" fmla="*/ 2238 h 10000"/>
                <a:gd name="connsiteX11" fmla="*/ 8314 w 9442"/>
                <a:gd name="connsiteY11" fmla="*/ 2238 h 10000"/>
                <a:gd name="connsiteX12" fmla="*/ 9442 w 9442"/>
                <a:gd name="connsiteY12" fmla="*/ 1113 h 10000"/>
                <a:gd name="connsiteX13" fmla="*/ 8314 w 9442"/>
                <a:gd name="connsiteY13" fmla="*/ 0 h 10000"/>
                <a:gd name="connsiteX14" fmla="*/ 8314 w 9442"/>
                <a:gd name="connsiteY14" fmla="*/ 0 h 10000"/>
                <a:gd name="connsiteX0" fmla="*/ 8609 w 9804"/>
                <a:gd name="connsiteY0" fmla="*/ 0 h 10000"/>
                <a:gd name="connsiteX1" fmla="*/ 8609 w 9804"/>
                <a:gd name="connsiteY1" fmla="*/ 0 h 10000"/>
                <a:gd name="connsiteX2" fmla="*/ 4064 w 9804"/>
                <a:gd name="connsiteY2" fmla="*/ 0 h 10000"/>
                <a:gd name="connsiteX3" fmla="*/ 3438 w 9804"/>
                <a:gd name="connsiteY3" fmla="*/ 103 h 10000"/>
                <a:gd name="connsiteX4" fmla="*/ 2812 w 9804"/>
                <a:gd name="connsiteY4" fmla="*/ 931 h 10000"/>
                <a:gd name="connsiteX5" fmla="*/ 1020 w 9804"/>
                <a:gd name="connsiteY5" fmla="*/ 8616 h 10000"/>
                <a:gd name="connsiteX6" fmla="*/ 0 w 9804"/>
                <a:gd name="connsiteY6" fmla="*/ 10000 h 10000"/>
                <a:gd name="connsiteX7" fmla="*/ 2025 w 9804"/>
                <a:gd name="connsiteY7" fmla="*/ 10000 h 10000"/>
                <a:gd name="connsiteX8" fmla="*/ 3321 w 9804"/>
                <a:gd name="connsiteY8" fmla="*/ 9159 h 10000"/>
                <a:gd name="connsiteX9" fmla="*/ 4953 w 9804"/>
                <a:gd name="connsiteY9" fmla="*/ 2238 h 10000"/>
                <a:gd name="connsiteX10" fmla="*/ 8609 w 9804"/>
                <a:gd name="connsiteY10" fmla="*/ 2238 h 10000"/>
                <a:gd name="connsiteX11" fmla="*/ 9804 w 9804"/>
                <a:gd name="connsiteY11" fmla="*/ 1113 h 10000"/>
                <a:gd name="connsiteX12" fmla="*/ 8609 w 9804"/>
                <a:gd name="connsiteY12" fmla="*/ 0 h 10000"/>
                <a:gd name="connsiteX13" fmla="*/ 8609 w 9804"/>
                <a:gd name="connsiteY13" fmla="*/ 0 h 10000"/>
                <a:gd name="connsiteX0" fmla="*/ 8781 w 10000"/>
                <a:gd name="connsiteY0" fmla="*/ 0 h 10000"/>
                <a:gd name="connsiteX1" fmla="*/ 8781 w 10000"/>
                <a:gd name="connsiteY1" fmla="*/ 0 h 10000"/>
                <a:gd name="connsiteX2" fmla="*/ 4145 w 10000"/>
                <a:gd name="connsiteY2" fmla="*/ 0 h 10000"/>
                <a:gd name="connsiteX3" fmla="*/ 3507 w 10000"/>
                <a:gd name="connsiteY3" fmla="*/ 103 h 10000"/>
                <a:gd name="connsiteX4" fmla="*/ 2868 w 10000"/>
                <a:gd name="connsiteY4" fmla="*/ 931 h 10000"/>
                <a:gd name="connsiteX5" fmla="*/ 0 w 10000"/>
                <a:gd name="connsiteY5" fmla="*/ 10000 h 10000"/>
                <a:gd name="connsiteX6" fmla="*/ 2065 w 10000"/>
                <a:gd name="connsiteY6" fmla="*/ 10000 h 10000"/>
                <a:gd name="connsiteX7" fmla="*/ 3387 w 10000"/>
                <a:gd name="connsiteY7" fmla="*/ 9159 h 10000"/>
                <a:gd name="connsiteX8" fmla="*/ 5052 w 10000"/>
                <a:gd name="connsiteY8" fmla="*/ 2238 h 10000"/>
                <a:gd name="connsiteX9" fmla="*/ 8781 w 10000"/>
                <a:gd name="connsiteY9" fmla="*/ 2238 h 10000"/>
                <a:gd name="connsiteX10" fmla="*/ 10000 w 10000"/>
                <a:gd name="connsiteY10" fmla="*/ 1113 h 10000"/>
                <a:gd name="connsiteX11" fmla="*/ 8781 w 10000"/>
                <a:gd name="connsiteY11" fmla="*/ 0 h 10000"/>
                <a:gd name="connsiteX12" fmla="*/ 8781 w 10000"/>
                <a:gd name="connsiteY12" fmla="*/ 0 h 10000"/>
                <a:gd name="connsiteX0" fmla="*/ 6716 w 7935"/>
                <a:gd name="connsiteY0" fmla="*/ 0 h 10000"/>
                <a:gd name="connsiteX1" fmla="*/ 6716 w 7935"/>
                <a:gd name="connsiteY1" fmla="*/ 0 h 10000"/>
                <a:gd name="connsiteX2" fmla="*/ 2080 w 7935"/>
                <a:gd name="connsiteY2" fmla="*/ 0 h 10000"/>
                <a:gd name="connsiteX3" fmla="*/ 1442 w 7935"/>
                <a:gd name="connsiteY3" fmla="*/ 103 h 10000"/>
                <a:gd name="connsiteX4" fmla="*/ 803 w 7935"/>
                <a:gd name="connsiteY4" fmla="*/ 931 h 10000"/>
                <a:gd name="connsiteX5" fmla="*/ 0 w 7935"/>
                <a:gd name="connsiteY5" fmla="*/ 10000 h 10000"/>
                <a:gd name="connsiteX6" fmla="*/ 1322 w 7935"/>
                <a:gd name="connsiteY6" fmla="*/ 9159 h 10000"/>
                <a:gd name="connsiteX7" fmla="*/ 2987 w 7935"/>
                <a:gd name="connsiteY7" fmla="*/ 2238 h 10000"/>
                <a:gd name="connsiteX8" fmla="*/ 6716 w 7935"/>
                <a:gd name="connsiteY8" fmla="*/ 2238 h 10000"/>
                <a:gd name="connsiteX9" fmla="*/ 7935 w 7935"/>
                <a:gd name="connsiteY9" fmla="*/ 1113 h 10000"/>
                <a:gd name="connsiteX10" fmla="*/ 6716 w 7935"/>
                <a:gd name="connsiteY10" fmla="*/ 0 h 10000"/>
                <a:gd name="connsiteX11" fmla="*/ 6716 w 7935"/>
                <a:gd name="connsiteY1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35" h="10000">
                  <a:moveTo>
                    <a:pt x="6716" y="0"/>
                  </a:moveTo>
                  <a:lnTo>
                    <a:pt x="6716" y="0"/>
                  </a:lnTo>
                  <a:lnTo>
                    <a:pt x="2080" y="0"/>
                  </a:lnTo>
                  <a:cubicBezTo>
                    <a:pt x="1858" y="0"/>
                    <a:pt x="1635" y="13"/>
                    <a:pt x="1442" y="103"/>
                  </a:cubicBezTo>
                  <a:cubicBezTo>
                    <a:pt x="1130" y="246"/>
                    <a:pt x="877" y="608"/>
                    <a:pt x="803" y="931"/>
                  </a:cubicBezTo>
                  <a:cubicBezTo>
                    <a:pt x="535" y="3954"/>
                    <a:pt x="268" y="6977"/>
                    <a:pt x="0" y="10000"/>
                  </a:cubicBezTo>
                  <a:cubicBezTo>
                    <a:pt x="609" y="10000"/>
                    <a:pt x="1189" y="9702"/>
                    <a:pt x="1322" y="9159"/>
                  </a:cubicBezTo>
                  <a:lnTo>
                    <a:pt x="2987" y="2238"/>
                  </a:lnTo>
                  <a:lnTo>
                    <a:pt x="6716" y="2238"/>
                  </a:lnTo>
                  <a:cubicBezTo>
                    <a:pt x="7385" y="2238"/>
                    <a:pt x="7935" y="1695"/>
                    <a:pt x="7935" y="1113"/>
                  </a:cubicBezTo>
                  <a:cubicBezTo>
                    <a:pt x="7935" y="530"/>
                    <a:pt x="7385" y="0"/>
                    <a:pt x="6716" y="0"/>
                  </a:cubicBezTo>
                  <a:lnTo>
                    <a:pt x="6716" y="0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3" name="Freeform 165">
              <a:extLst>
                <a:ext uri="{FF2B5EF4-FFF2-40B4-BE49-F238E27FC236}">
                  <a16:creationId xmlns:a16="http://schemas.microsoft.com/office/drawing/2014/main" id="{0863A1ED-F53A-43A9-8CDE-4B12C655C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737" y="2319834"/>
              <a:ext cx="151463" cy="71121"/>
            </a:xfrm>
            <a:custGeom>
              <a:avLst/>
              <a:gdLst>
                <a:gd name="T0" fmla="*/ 806 w 806"/>
                <a:gd name="T1" fmla="*/ 1 h 382"/>
                <a:gd name="T2" fmla="*/ 806 w 806"/>
                <a:gd name="T3" fmla="*/ 1 h 382"/>
                <a:gd name="T4" fmla="*/ 806 w 806"/>
                <a:gd name="T5" fmla="*/ 298 h 382"/>
                <a:gd name="T6" fmla="*/ 722 w 806"/>
                <a:gd name="T7" fmla="*/ 382 h 382"/>
                <a:gd name="T8" fmla="*/ 168 w 806"/>
                <a:gd name="T9" fmla="*/ 382 h 382"/>
                <a:gd name="T10" fmla="*/ 84 w 806"/>
                <a:gd name="T11" fmla="*/ 298 h 382"/>
                <a:gd name="T12" fmla="*/ 0 w 806"/>
                <a:gd name="T13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6" h="382">
                  <a:moveTo>
                    <a:pt x="806" y="1"/>
                  </a:moveTo>
                  <a:lnTo>
                    <a:pt x="806" y="1"/>
                  </a:lnTo>
                  <a:lnTo>
                    <a:pt x="806" y="298"/>
                  </a:lnTo>
                  <a:cubicBezTo>
                    <a:pt x="806" y="344"/>
                    <a:pt x="768" y="382"/>
                    <a:pt x="722" y="382"/>
                  </a:cubicBezTo>
                  <a:lnTo>
                    <a:pt x="168" y="382"/>
                  </a:lnTo>
                  <a:cubicBezTo>
                    <a:pt x="122" y="382"/>
                    <a:pt x="97" y="344"/>
                    <a:pt x="84" y="298"/>
                  </a:cubicBez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4" name="Freeform 166">
              <a:extLst>
                <a:ext uri="{FF2B5EF4-FFF2-40B4-BE49-F238E27FC236}">
                  <a16:creationId xmlns:a16="http://schemas.microsoft.com/office/drawing/2014/main" id="{AD861FB6-33F4-476E-906F-1F6DE0632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737" y="2319834"/>
              <a:ext cx="151463" cy="71121"/>
            </a:xfrm>
            <a:custGeom>
              <a:avLst/>
              <a:gdLst>
                <a:gd name="T0" fmla="*/ 806 w 806"/>
                <a:gd name="T1" fmla="*/ 1 h 382"/>
                <a:gd name="T2" fmla="*/ 806 w 806"/>
                <a:gd name="T3" fmla="*/ 1 h 382"/>
                <a:gd name="T4" fmla="*/ 806 w 806"/>
                <a:gd name="T5" fmla="*/ 298 h 382"/>
                <a:gd name="T6" fmla="*/ 722 w 806"/>
                <a:gd name="T7" fmla="*/ 382 h 382"/>
                <a:gd name="T8" fmla="*/ 168 w 806"/>
                <a:gd name="T9" fmla="*/ 382 h 382"/>
                <a:gd name="T10" fmla="*/ 84 w 806"/>
                <a:gd name="T11" fmla="*/ 298 h 382"/>
                <a:gd name="T12" fmla="*/ 0 w 806"/>
                <a:gd name="T13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6" h="382">
                  <a:moveTo>
                    <a:pt x="806" y="1"/>
                  </a:moveTo>
                  <a:lnTo>
                    <a:pt x="806" y="1"/>
                  </a:lnTo>
                  <a:lnTo>
                    <a:pt x="806" y="298"/>
                  </a:lnTo>
                  <a:cubicBezTo>
                    <a:pt x="806" y="344"/>
                    <a:pt x="768" y="382"/>
                    <a:pt x="722" y="382"/>
                  </a:cubicBezTo>
                  <a:lnTo>
                    <a:pt x="168" y="382"/>
                  </a:lnTo>
                  <a:cubicBezTo>
                    <a:pt x="122" y="382"/>
                    <a:pt x="97" y="344"/>
                    <a:pt x="84" y="298"/>
                  </a:cubicBez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5" name="Freeform 167">
              <a:extLst>
                <a:ext uri="{FF2B5EF4-FFF2-40B4-BE49-F238E27FC236}">
                  <a16:creationId xmlns:a16="http://schemas.microsoft.com/office/drawing/2014/main" id="{BB64566B-8EF0-4312-9AB5-3044F0A64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151" y="2300079"/>
              <a:ext cx="158048" cy="19756"/>
            </a:xfrm>
            <a:custGeom>
              <a:avLst/>
              <a:gdLst>
                <a:gd name="T0" fmla="*/ 5 w 840"/>
                <a:gd name="T1" fmla="*/ 102 h 103"/>
                <a:gd name="T2" fmla="*/ 5 w 840"/>
                <a:gd name="T3" fmla="*/ 102 h 103"/>
                <a:gd name="T4" fmla="*/ 0 w 840"/>
                <a:gd name="T5" fmla="*/ 87 h 103"/>
                <a:gd name="T6" fmla="*/ 87 w 840"/>
                <a:gd name="T7" fmla="*/ 0 h 103"/>
                <a:gd name="T8" fmla="*/ 753 w 840"/>
                <a:gd name="T9" fmla="*/ 0 h 103"/>
                <a:gd name="T10" fmla="*/ 840 w 840"/>
                <a:gd name="T11" fmla="*/ 87 h 103"/>
                <a:gd name="T12" fmla="*/ 840 w 840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0" h="103">
                  <a:moveTo>
                    <a:pt x="5" y="102"/>
                  </a:moveTo>
                  <a:lnTo>
                    <a:pt x="5" y="102"/>
                  </a:lnTo>
                  <a:lnTo>
                    <a:pt x="0" y="87"/>
                  </a:lnTo>
                  <a:cubicBezTo>
                    <a:pt x="0" y="39"/>
                    <a:pt x="39" y="0"/>
                    <a:pt x="87" y="0"/>
                  </a:cubicBezTo>
                  <a:lnTo>
                    <a:pt x="753" y="0"/>
                  </a:lnTo>
                  <a:cubicBezTo>
                    <a:pt x="800" y="0"/>
                    <a:pt x="840" y="39"/>
                    <a:pt x="840" y="87"/>
                  </a:cubicBezTo>
                  <a:lnTo>
                    <a:pt x="840" y="103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6" name="Freeform 168">
              <a:extLst>
                <a:ext uri="{FF2B5EF4-FFF2-40B4-BE49-F238E27FC236}">
                  <a16:creationId xmlns:a16="http://schemas.microsoft.com/office/drawing/2014/main" id="{CE25DF6D-80A6-4A92-A3FD-0EF844718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151" y="2300079"/>
              <a:ext cx="158048" cy="19756"/>
            </a:xfrm>
            <a:custGeom>
              <a:avLst/>
              <a:gdLst>
                <a:gd name="T0" fmla="*/ 5 w 840"/>
                <a:gd name="T1" fmla="*/ 102 h 103"/>
                <a:gd name="T2" fmla="*/ 5 w 840"/>
                <a:gd name="T3" fmla="*/ 102 h 103"/>
                <a:gd name="T4" fmla="*/ 0 w 840"/>
                <a:gd name="T5" fmla="*/ 87 h 103"/>
                <a:gd name="T6" fmla="*/ 87 w 840"/>
                <a:gd name="T7" fmla="*/ 0 h 103"/>
                <a:gd name="T8" fmla="*/ 753 w 840"/>
                <a:gd name="T9" fmla="*/ 0 h 103"/>
                <a:gd name="T10" fmla="*/ 840 w 840"/>
                <a:gd name="T11" fmla="*/ 87 h 103"/>
                <a:gd name="T12" fmla="*/ 840 w 840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0" h="103">
                  <a:moveTo>
                    <a:pt x="5" y="102"/>
                  </a:moveTo>
                  <a:lnTo>
                    <a:pt x="5" y="102"/>
                  </a:lnTo>
                  <a:lnTo>
                    <a:pt x="0" y="87"/>
                  </a:lnTo>
                  <a:cubicBezTo>
                    <a:pt x="0" y="39"/>
                    <a:pt x="39" y="0"/>
                    <a:pt x="87" y="0"/>
                  </a:cubicBezTo>
                  <a:lnTo>
                    <a:pt x="753" y="0"/>
                  </a:lnTo>
                  <a:cubicBezTo>
                    <a:pt x="800" y="0"/>
                    <a:pt x="840" y="39"/>
                    <a:pt x="840" y="87"/>
                  </a:cubicBezTo>
                  <a:lnTo>
                    <a:pt x="840" y="103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7" name="Freeform 169">
              <a:extLst>
                <a:ext uri="{FF2B5EF4-FFF2-40B4-BE49-F238E27FC236}">
                  <a16:creationId xmlns:a16="http://schemas.microsoft.com/office/drawing/2014/main" id="{9ED9687F-910B-4832-93A7-8E4E368B5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151" y="2319834"/>
              <a:ext cx="158048" cy="0"/>
            </a:xfrm>
            <a:custGeom>
              <a:avLst/>
              <a:gdLst>
                <a:gd name="T0" fmla="*/ 0 w 840"/>
                <a:gd name="T1" fmla="*/ 0 w 840"/>
                <a:gd name="T2" fmla="*/ 840 w 84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840">
                  <a:moveTo>
                    <a:pt x="0" y="0"/>
                  </a:moveTo>
                  <a:lnTo>
                    <a:pt x="0" y="0"/>
                  </a:lnTo>
                  <a:lnTo>
                    <a:pt x="840" y="0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8" name="Freeform 170">
              <a:extLst>
                <a:ext uri="{FF2B5EF4-FFF2-40B4-BE49-F238E27FC236}">
                  <a16:creationId xmlns:a16="http://schemas.microsoft.com/office/drawing/2014/main" id="{58D2A013-CA3C-4DB5-A1D5-52D2662DB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249" y="2390956"/>
              <a:ext cx="84292" cy="56634"/>
            </a:xfrm>
            <a:custGeom>
              <a:avLst/>
              <a:gdLst>
                <a:gd name="T0" fmla="*/ 451 w 451"/>
                <a:gd name="T1" fmla="*/ 296 h 296"/>
                <a:gd name="T2" fmla="*/ 451 w 451"/>
                <a:gd name="T3" fmla="*/ 296 h 296"/>
                <a:gd name="T4" fmla="*/ 94 w 451"/>
                <a:gd name="T5" fmla="*/ 296 h 296"/>
                <a:gd name="T6" fmla="*/ 0 w 451"/>
                <a:gd name="T7" fmla="*/ 0 h 296"/>
                <a:gd name="T8" fmla="*/ 451 w 451"/>
                <a:gd name="T9" fmla="*/ 0 h 296"/>
                <a:gd name="T10" fmla="*/ 451 w 451"/>
                <a:gd name="T11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1" h="296">
                  <a:moveTo>
                    <a:pt x="451" y="296"/>
                  </a:moveTo>
                  <a:lnTo>
                    <a:pt x="451" y="296"/>
                  </a:lnTo>
                  <a:lnTo>
                    <a:pt x="94" y="296"/>
                  </a:lnTo>
                  <a:lnTo>
                    <a:pt x="0" y="0"/>
                  </a:lnTo>
                  <a:lnTo>
                    <a:pt x="451" y="0"/>
                  </a:lnTo>
                  <a:lnTo>
                    <a:pt x="451" y="29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09" name="Freeform 171">
              <a:extLst>
                <a:ext uri="{FF2B5EF4-FFF2-40B4-BE49-F238E27FC236}">
                  <a16:creationId xmlns:a16="http://schemas.microsoft.com/office/drawing/2014/main" id="{A79635B2-E649-4186-A476-6737C1B5C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249" y="2390956"/>
              <a:ext cx="84292" cy="56634"/>
            </a:xfrm>
            <a:custGeom>
              <a:avLst/>
              <a:gdLst>
                <a:gd name="T0" fmla="*/ 451 w 451"/>
                <a:gd name="T1" fmla="*/ 296 h 296"/>
                <a:gd name="T2" fmla="*/ 451 w 451"/>
                <a:gd name="T3" fmla="*/ 296 h 296"/>
                <a:gd name="T4" fmla="*/ 94 w 451"/>
                <a:gd name="T5" fmla="*/ 296 h 296"/>
                <a:gd name="T6" fmla="*/ 0 w 451"/>
                <a:gd name="T7" fmla="*/ 0 h 296"/>
                <a:gd name="T8" fmla="*/ 451 w 451"/>
                <a:gd name="T9" fmla="*/ 0 h 296"/>
                <a:gd name="T10" fmla="*/ 451 w 451"/>
                <a:gd name="T11" fmla="*/ 296 h 296"/>
                <a:gd name="T12" fmla="*/ 451 w 451"/>
                <a:gd name="T13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1" h="296">
                  <a:moveTo>
                    <a:pt x="451" y="296"/>
                  </a:moveTo>
                  <a:lnTo>
                    <a:pt x="451" y="296"/>
                  </a:lnTo>
                  <a:lnTo>
                    <a:pt x="94" y="296"/>
                  </a:lnTo>
                  <a:lnTo>
                    <a:pt x="0" y="0"/>
                  </a:lnTo>
                  <a:lnTo>
                    <a:pt x="451" y="0"/>
                  </a:lnTo>
                  <a:lnTo>
                    <a:pt x="451" y="296"/>
                  </a:lnTo>
                  <a:lnTo>
                    <a:pt x="451" y="296"/>
                  </a:lnTo>
                  <a:close/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0" name="Freeform 172">
              <a:extLst>
                <a:ext uri="{FF2B5EF4-FFF2-40B4-BE49-F238E27FC236}">
                  <a16:creationId xmlns:a16="http://schemas.microsoft.com/office/drawing/2014/main" id="{C52141A8-168C-457A-BA5C-FA7654688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7517" y="2165738"/>
              <a:ext cx="110633" cy="90878"/>
            </a:xfrm>
            <a:custGeom>
              <a:avLst/>
              <a:gdLst>
                <a:gd name="T0" fmla="*/ 568 w 595"/>
                <a:gd name="T1" fmla="*/ 280 h 489"/>
                <a:gd name="T2" fmla="*/ 568 w 595"/>
                <a:gd name="T3" fmla="*/ 280 h 489"/>
                <a:gd name="T4" fmla="*/ 262 w 595"/>
                <a:gd name="T5" fmla="*/ 339 h 489"/>
                <a:gd name="T6" fmla="*/ 143 w 595"/>
                <a:gd name="T7" fmla="*/ 53 h 489"/>
                <a:gd name="T8" fmla="*/ 52 w 595"/>
                <a:gd name="T9" fmla="*/ 15 h 489"/>
                <a:gd name="T10" fmla="*/ 14 w 595"/>
                <a:gd name="T11" fmla="*/ 106 h 489"/>
                <a:gd name="T12" fmla="*/ 154 w 595"/>
                <a:gd name="T13" fmla="*/ 443 h 489"/>
                <a:gd name="T14" fmla="*/ 194 w 595"/>
                <a:gd name="T15" fmla="*/ 481 h 489"/>
                <a:gd name="T16" fmla="*/ 237 w 595"/>
                <a:gd name="T17" fmla="*/ 486 h 489"/>
                <a:gd name="T18" fmla="*/ 595 w 595"/>
                <a:gd name="T19" fmla="*/ 417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5" h="489">
                  <a:moveTo>
                    <a:pt x="568" y="280"/>
                  </a:moveTo>
                  <a:lnTo>
                    <a:pt x="568" y="280"/>
                  </a:lnTo>
                  <a:lnTo>
                    <a:pt x="262" y="339"/>
                  </a:lnTo>
                  <a:lnTo>
                    <a:pt x="143" y="53"/>
                  </a:lnTo>
                  <a:cubicBezTo>
                    <a:pt x="129" y="17"/>
                    <a:pt x="88" y="0"/>
                    <a:pt x="52" y="15"/>
                  </a:cubicBezTo>
                  <a:cubicBezTo>
                    <a:pt x="17" y="29"/>
                    <a:pt x="0" y="70"/>
                    <a:pt x="14" y="106"/>
                  </a:cubicBezTo>
                  <a:lnTo>
                    <a:pt x="154" y="443"/>
                  </a:lnTo>
                  <a:cubicBezTo>
                    <a:pt x="161" y="461"/>
                    <a:pt x="176" y="474"/>
                    <a:pt x="194" y="481"/>
                  </a:cubicBezTo>
                  <a:cubicBezTo>
                    <a:pt x="207" y="487"/>
                    <a:pt x="222" y="489"/>
                    <a:pt x="237" y="486"/>
                  </a:cubicBezTo>
                  <a:lnTo>
                    <a:pt x="595" y="417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1" name="Freeform 173">
              <a:extLst>
                <a:ext uri="{FF2B5EF4-FFF2-40B4-BE49-F238E27FC236}">
                  <a16:creationId xmlns:a16="http://schemas.microsoft.com/office/drawing/2014/main" id="{27D20DC0-17AF-4678-96FD-A85818EA7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7517" y="2165738"/>
              <a:ext cx="110633" cy="90878"/>
            </a:xfrm>
            <a:custGeom>
              <a:avLst/>
              <a:gdLst>
                <a:gd name="T0" fmla="*/ 568 w 595"/>
                <a:gd name="T1" fmla="*/ 280 h 489"/>
                <a:gd name="T2" fmla="*/ 568 w 595"/>
                <a:gd name="T3" fmla="*/ 280 h 489"/>
                <a:gd name="T4" fmla="*/ 262 w 595"/>
                <a:gd name="T5" fmla="*/ 339 h 489"/>
                <a:gd name="T6" fmla="*/ 143 w 595"/>
                <a:gd name="T7" fmla="*/ 53 h 489"/>
                <a:gd name="T8" fmla="*/ 52 w 595"/>
                <a:gd name="T9" fmla="*/ 15 h 489"/>
                <a:gd name="T10" fmla="*/ 14 w 595"/>
                <a:gd name="T11" fmla="*/ 106 h 489"/>
                <a:gd name="T12" fmla="*/ 154 w 595"/>
                <a:gd name="T13" fmla="*/ 443 h 489"/>
                <a:gd name="T14" fmla="*/ 194 w 595"/>
                <a:gd name="T15" fmla="*/ 481 h 489"/>
                <a:gd name="T16" fmla="*/ 237 w 595"/>
                <a:gd name="T17" fmla="*/ 486 h 489"/>
                <a:gd name="T18" fmla="*/ 595 w 595"/>
                <a:gd name="T19" fmla="*/ 417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5" h="489">
                  <a:moveTo>
                    <a:pt x="568" y="280"/>
                  </a:moveTo>
                  <a:lnTo>
                    <a:pt x="568" y="280"/>
                  </a:lnTo>
                  <a:lnTo>
                    <a:pt x="262" y="339"/>
                  </a:lnTo>
                  <a:lnTo>
                    <a:pt x="143" y="53"/>
                  </a:lnTo>
                  <a:cubicBezTo>
                    <a:pt x="129" y="17"/>
                    <a:pt x="88" y="0"/>
                    <a:pt x="52" y="15"/>
                  </a:cubicBezTo>
                  <a:cubicBezTo>
                    <a:pt x="17" y="29"/>
                    <a:pt x="0" y="70"/>
                    <a:pt x="14" y="106"/>
                  </a:cubicBezTo>
                  <a:lnTo>
                    <a:pt x="154" y="443"/>
                  </a:lnTo>
                  <a:cubicBezTo>
                    <a:pt x="161" y="461"/>
                    <a:pt x="176" y="474"/>
                    <a:pt x="194" y="481"/>
                  </a:cubicBezTo>
                  <a:cubicBezTo>
                    <a:pt x="207" y="487"/>
                    <a:pt x="222" y="489"/>
                    <a:pt x="237" y="486"/>
                  </a:cubicBezTo>
                  <a:lnTo>
                    <a:pt x="595" y="417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2" name="Freeform 174">
              <a:extLst>
                <a:ext uri="{FF2B5EF4-FFF2-40B4-BE49-F238E27FC236}">
                  <a16:creationId xmlns:a16="http://schemas.microsoft.com/office/drawing/2014/main" id="{154BCCC4-DA7C-475C-9FCC-BBC41ADE7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420" y="2120958"/>
              <a:ext cx="75073" cy="31610"/>
            </a:xfrm>
            <a:custGeom>
              <a:avLst/>
              <a:gdLst>
                <a:gd name="T0" fmla="*/ 30 w 398"/>
                <a:gd name="T1" fmla="*/ 162 h 171"/>
                <a:gd name="T2" fmla="*/ 30 w 398"/>
                <a:gd name="T3" fmla="*/ 162 h 171"/>
                <a:gd name="T4" fmla="*/ 0 w 398"/>
                <a:gd name="T5" fmla="*/ 47 h 171"/>
                <a:gd name="T6" fmla="*/ 198 w 398"/>
                <a:gd name="T7" fmla="*/ 0 h 171"/>
                <a:gd name="T8" fmla="*/ 398 w 398"/>
                <a:gd name="T9" fmla="*/ 47 h 171"/>
                <a:gd name="T10" fmla="*/ 350 w 398"/>
                <a:gd name="T1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8" h="171">
                  <a:moveTo>
                    <a:pt x="30" y="162"/>
                  </a:moveTo>
                  <a:lnTo>
                    <a:pt x="30" y="162"/>
                  </a:lnTo>
                  <a:lnTo>
                    <a:pt x="0" y="47"/>
                  </a:lnTo>
                  <a:cubicBezTo>
                    <a:pt x="0" y="47"/>
                    <a:pt x="96" y="0"/>
                    <a:pt x="198" y="0"/>
                  </a:cubicBezTo>
                  <a:cubicBezTo>
                    <a:pt x="300" y="0"/>
                    <a:pt x="398" y="47"/>
                    <a:pt x="398" y="47"/>
                  </a:cubicBezTo>
                  <a:lnTo>
                    <a:pt x="350" y="171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3" name="Freeform 175">
              <a:extLst>
                <a:ext uri="{FF2B5EF4-FFF2-40B4-BE49-F238E27FC236}">
                  <a16:creationId xmlns:a16="http://schemas.microsoft.com/office/drawing/2014/main" id="{B434EDB7-0CB2-4F6B-A748-B3C276E32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420" y="2120958"/>
              <a:ext cx="75073" cy="31610"/>
            </a:xfrm>
            <a:custGeom>
              <a:avLst/>
              <a:gdLst>
                <a:gd name="T0" fmla="*/ 30 w 398"/>
                <a:gd name="T1" fmla="*/ 162 h 171"/>
                <a:gd name="T2" fmla="*/ 30 w 398"/>
                <a:gd name="T3" fmla="*/ 162 h 171"/>
                <a:gd name="T4" fmla="*/ 0 w 398"/>
                <a:gd name="T5" fmla="*/ 47 h 171"/>
                <a:gd name="T6" fmla="*/ 198 w 398"/>
                <a:gd name="T7" fmla="*/ 0 h 171"/>
                <a:gd name="T8" fmla="*/ 398 w 398"/>
                <a:gd name="T9" fmla="*/ 47 h 171"/>
                <a:gd name="T10" fmla="*/ 350 w 398"/>
                <a:gd name="T1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8" h="171">
                  <a:moveTo>
                    <a:pt x="30" y="162"/>
                  </a:moveTo>
                  <a:lnTo>
                    <a:pt x="30" y="162"/>
                  </a:lnTo>
                  <a:lnTo>
                    <a:pt x="0" y="47"/>
                  </a:lnTo>
                  <a:cubicBezTo>
                    <a:pt x="0" y="47"/>
                    <a:pt x="96" y="0"/>
                    <a:pt x="198" y="0"/>
                  </a:cubicBezTo>
                  <a:cubicBezTo>
                    <a:pt x="300" y="0"/>
                    <a:pt x="398" y="47"/>
                    <a:pt x="398" y="47"/>
                  </a:cubicBezTo>
                  <a:lnTo>
                    <a:pt x="350" y="171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4" name="Freeform 176">
              <a:extLst>
                <a:ext uri="{FF2B5EF4-FFF2-40B4-BE49-F238E27FC236}">
                  <a16:creationId xmlns:a16="http://schemas.microsoft.com/office/drawing/2014/main" id="{7DB60FCC-1AB0-43AD-9CA0-6350B6561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2834" y="2151250"/>
              <a:ext cx="73756" cy="1317"/>
            </a:xfrm>
            <a:custGeom>
              <a:avLst/>
              <a:gdLst>
                <a:gd name="T0" fmla="*/ 0 w 392"/>
                <a:gd name="T1" fmla="*/ 0 h 5"/>
                <a:gd name="T2" fmla="*/ 0 w 392"/>
                <a:gd name="T3" fmla="*/ 0 h 5"/>
                <a:gd name="T4" fmla="*/ 392 w 392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2" h="5">
                  <a:moveTo>
                    <a:pt x="0" y="0"/>
                  </a:moveTo>
                  <a:lnTo>
                    <a:pt x="0" y="0"/>
                  </a:lnTo>
                  <a:lnTo>
                    <a:pt x="392" y="5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5" name="Freeform 177">
              <a:extLst>
                <a:ext uri="{FF2B5EF4-FFF2-40B4-BE49-F238E27FC236}">
                  <a16:creationId xmlns:a16="http://schemas.microsoft.com/office/drawing/2014/main" id="{CE5002C1-9022-42BC-ACC2-43606B2E6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784" y="2285591"/>
              <a:ext cx="416026" cy="169810"/>
            </a:xfrm>
            <a:custGeom>
              <a:avLst/>
              <a:gdLst>
                <a:gd name="T0" fmla="*/ 0 w 1778"/>
                <a:gd name="T1" fmla="*/ 0 h 988"/>
                <a:gd name="T2" fmla="*/ 0 w 1778"/>
                <a:gd name="T3" fmla="*/ 0 h 988"/>
                <a:gd name="T4" fmla="*/ 1778 w 1778"/>
                <a:gd name="T5" fmla="*/ 0 h 988"/>
                <a:gd name="T6" fmla="*/ 1777 w 1778"/>
                <a:gd name="T7" fmla="*/ 0 h 988"/>
                <a:gd name="T8" fmla="*/ 1777 w 1778"/>
                <a:gd name="T9" fmla="*/ 988 h 988"/>
                <a:gd name="connsiteX0" fmla="*/ 2436 w 12436"/>
                <a:gd name="connsiteY0" fmla="*/ 0 h 10000"/>
                <a:gd name="connsiteX1" fmla="*/ 0 w 12436"/>
                <a:gd name="connsiteY1" fmla="*/ 107 h 10000"/>
                <a:gd name="connsiteX2" fmla="*/ 12436 w 12436"/>
                <a:gd name="connsiteY2" fmla="*/ 0 h 10000"/>
                <a:gd name="connsiteX3" fmla="*/ 12430 w 12436"/>
                <a:gd name="connsiteY3" fmla="*/ 0 h 10000"/>
                <a:gd name="connsiteX4" fmla="*/ 12430 w 12436"/>
                <a:gd name="connsiteY4" fmla="*/ 10000 h 10000"/>
                <a:gd name="connsiteX0" fmla="*/ 2436 w 12436"/>
                <a:gd name="connsiteY0" fmla="*/ 0 h 9144"/>
                <a:gd name="connsiteX1" fmla="*/ 0 w 12436"/>
                <a:gd name="connsiteY1" fmla="*/ 107 h 9144"/>
                <a:gd name="connsiteX2" fmla="*/ 12436 w 12436"/>
                <a:gd name="connsiteY2" fmla="*/ 0 h 9144"/>
                <a:gd name="connsiteX3" fmla="*/ 12430 w 12436"/>
                <a:gd name="connsiteY3" fmla="*/ 0 h 9144"/>
                <a:gd name="connsiteX4" fmla="*/ 12430 w 12436"/>
                <a:gd name="connsiteY4" fmla="*/ 9144 h 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36" h="9144">
                  <a:moveTo>
                    <a:pt x="2436" y="0"/>
                  </a:moveTo>
                  <a:lnTo>
                    <a:pt x="0" y="107"/>
                  </a:lnTo>
                  <a:lnTo>
                    <a:pt x="12436" y="0"/>
                  </a:lnTo>
                  <a:lnTo>
                    <a:pt x="12430" y="0"/>
                  </a:lnTo>
                  <a:lnTo>
                    <a:pt x="12430" y="9144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6" name="Freeform 178">
              <a:extLst>
                <a:ext uri="{FF2B5EF4-FFF2-40B4-BE49-F238E27FC236}">
                  <a16:creationId xmlns:a16="http://schemas.microsoft.com/office/drawing/2014/main" id="{FAD5B8C7-DFCA-4498-807B-892E602F9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9276" y="2285591"/>
              <a:ext cx="334534" cy="180000"/>
            </a:xfrm>
            <a:custGeom>
              <a:avLst/>
              <a:gdLst>
                <a:gd name="T0" fmla="*/ 0 w 1778"/>
                <a:gd name="T1" fmla="*/ 0 h 988"/>
                <a:gd name="T2" fmla="*/ 0 w 1778"/>
                <a:gd name="T3" fmla="*/ 0 h 988"/>
                <a:gd name="T4" fmla="*/ 1778 w 1778"/>
                <a:gd name="T5" fmla="*/ 0 h 988"/>
                <a:gd name="T6" fmla="*/ 1777 w 1778"/>
                <a:gd name="T7" fmla="*/ 0 h 988"/>
                <a:gd name="T8" fmla="*/ 1777 w 1778"/>
                <a:gd name="T9" fmla="*/ 988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8" h="988">
                  <a:moveTo>
                    <a:pt x="0" y="0"/>
                  </a:moveTo>
                  <a:lnTo>
                    <a:pt x="0" y="0"/>
                  </a:lnTo>
                  <a:lnTo>
                    <a:pt x="1778" y="0"/>
                  </a:lnTo>
                  <a:lnTo>
                    <a:pt x="1777" y="0"/>
                  </a:lnTo>
                  <a:lnTo>
                    <a:pt x="1777" y="988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7" name="Freeform 235">
              <a:extLst>
                <a:ext uri="{FF2B5EF4-FFF2-40B4-BE49-F238E27FC236}">
                  <a16:creationId xmlns:a16="http://schemas.microsoft.com/office/drawing/2014/main" id="{02FDAE89-9B64-4CB5-9E53-5CB117D0C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568" y="2211835"/>
              <a:ext cx="59268" cy="60585"/>
            </a:xfrm>
            <a:custGeom>
              <a:avLst/>
              <a:gdLst>
                <a:gd name="T0" fmla="*/ 57 w 320"/>
                <a:gd name="T1" fmla="*/ 263 h 320"/>
                <a:gd name="T2" fmla="*/ 57 w 320"/>
                <a:gd name="T3" fmla="*/ 263 h 320"/>
                <a:gd name="T4" fmla="*/ 263 w 320"/>
                <a:gd name="T5" fmla="*/ 263 h 320"/>
                <a:gd name="T6" fmla="*/ 263 w 320"/>
                <a:gd name="T7" fmla="*/ 57 h 320"/>
                <a:gd name="T8" fmla="*/ 57 w 320"/>
                <a:gd name="T9" fmla="*/ 57 h 320"/>
                <a:gd name="T10" fmla="*/ 57 w 320"/>
                <a:gd name="T11" fmla="*/ 26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" h="320">
                  <a:moveTo>
                    <a:pt x="57" y="263"/>
                  </a:moveTo>
                  <a:lnTo>
                    <a:pt x="57" y="263"/>
                  </a:lnTo>
                  <a:cubicBezTo>
                    <a:pt x="114" y="320"/>
                    <a:pt x="206" y="320"/>
                    <a:pt x="263" y="263"/>
                  </a:cubicBezTo>
                  <a:cubicBezTo>
                    <a:pt x="320" y="206"/>
                    <a:pt x="320" y="114"/>
                    <a:pt x="263" y="57"/>
                  </a:cubicBezTo>
                  <a:cubicBezTo>
                    <a:pt x="206" y="0"/>
                    <a:pt x="114" y="0"/>
                    <a:pt x="57" y="57"/>
                  </a:cubicBezTo>
                  <a:cubicBezTo>
                    <a:pt x="0" y="114"/>
                    <a:pt x="0" y="206"/>
                    <a:pt x="57" y="26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8" name="Freeform 236">
              <a:extLst>
                <a:ext uri="{FF2B5EF4-FFF2-40B4-BE49-F238E27FC236}">
                  <a16:creationId xmlns:a16="http://schemas.microsoft.com/office/drawing/2014/main" id="{7EA1554C-98AA-4F9D-9F25-55D4B93D6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568" y="2211835"/>
              <a:ext cx="59268" cy="60585"/>
            </a:xfrm>
            <a:custGeom>
              <a:avLst/>
              <a:gdLst>
                <a:gd name="T0" fmla="*/ 57 w 320"/>
                <a:gd name="T1" fmla="*/ 263 h 320"/>
                <a:gd name="T2" fmla="*/ 57 w 320"/>
                <a:gd name="T3" fmla="*/ 263 h 320"/>
                <a:gd name="T4" fmla="*/ 263 w 320"/>
                <a:gd name="T5" fmla="*/ 263 h 320"/>
                <a:gd name="T6" fmla="*/ 263 w 320"/>
                <a:gd name="T7" fmla="*/ 57 h 320"/>
                <a:gd name="T8" fmla="*/ 57 w 320"/>
                <a:gd name="T9" fmla="*/ 57 h 320"/>
                <a:gd name="T10" fmla="*/ 57 w 320"/>
                <a:gd name="T11" fmla="*/ 263 h 320"/>
                <a:gd name="T12" fmla="*/ 57 w 320"/>
                <a:gd name="T13" fmla="*/ 26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320">
                  <a:moveTo>
                    <a:pt x="57" y="263"/>
                  </a:moveTo>
                  <a:lnTo>
                    <a:pt x="57" y="263"/>
                  </a:lnTo>
                  <a:cubicBezTo>
                    <a:pt x="114" y="320"/>
                    <a:pt x="206" y="320"/>
                    <a:pt x="263" y="263"/>
                  </a:cubicBezTo>
                  <a:cubicBezTo>
                    <a:pt x="320" y="206"/>
                    <a:pt x="320" y="114"/>
                    <a:pt x="263" y="57"/>
                  </a:cubicBezTo>
                  <a:cubicBezTo>
                    <a:pt x="206" y="0"/>
                    <a:pt x="114" y="0"/>
                    <a:pt x="57" y="57"/>
                  </a:cubicBezTo>
                  <a:cubicBezTo>
                    <a:pt x="0" y="114"/>
                    <a:pt x="0" y="206"/>
                    <a:pt x="57" y="263"/>
                  </a:cubicBezTo>
                  <a:lnTo>
                    <a:pt x="57" y="263"/>
                  </a:lnTo>
                  <a:close/>
                </a:path>
              </a:pathLst>
            </a:custGeom>
            <a:noFill/>
            <a:ln w="9525" cap="flat">
              <a:solidFill>
                <a:srgbClr val="00C9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19" name="Freeform 237">
              <a:extLst>
                <a:ext uri="{FF2B5EF4-FFF2-40B4-BE49-F238E27FC236}">
                  <a16:creationId xmlns:a16="http://schemas.microsoft.com/office/drawing/2014/main" id="{EF3AFE3E-5889-4577-BFB9-B1FCD40BA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421" y="2223689"/>
              <a:ext cx="35561" cy="35561"/>
            </a:xfrm>
            <a:custGeom>
              <a:avLst/>
              <a:gdLst>
                <a:gd name="T0" fmla="*/ 34 w 187"/>
                <a:gd name="T1" fmla="*/ 153 h 186"/>
                <a:gd name="T2" fmla="*/ 34 w 187"/>
                <a:gd name="T3" fmla="*/ 153 h 186"/>
                <a:gd name="T4" fmla="*/ 154 w 187"/>
                <a:gd name="T5" fmla="*/ 153 h 186"/>
                <a:gd name="T6" fmla="*/ 154 w 187"/>
                <a:gd name="T7" fmla="*/ 33 h 186"/>
                <a:gd name="T8" fmla="*/ 34 w 187"/>
                <a:gd name="T9" fmla="*/ 33 h 186"/>
                <a:gd name="T10" fmla="*/ 34 w 187"/>
                <a:gd name="T11" fmla="*/ 153 h 186"/>
                <a:gd name="T12" fmla="*/ 34 w 187"/>
                <a:gd name="T13" fmla="*/ 15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86">
                  <a:moveTo>
                    <a:pt x="34" y="153"/>
                  </a:moveTo>
                  <a:lnTo>
                    <a:pt x="34" y="153"/>
                  </a:lnTo>
                  <a:cubicBezTo>
                    <a:pt x="67" y="186"/>
                    <a:pt x="121" y="186"/>
                    <a:pt x="154" y="153"/>
                  </a:cubicBezTo>
                  <a:cubicBezTo>
                    <a:pt x="187" y="120"/>
                    <a:pt x="187" y="66"/>
                    <a:pt x="154" y="33"/>
                  </a:cubicBezTo>
                  <a:cubicBezTo>
                    <a:pt x="121" y="0"/>
                    <a:pt x="67" y="0"/>
                    <a:pt x="34" y="33"/>
                  </a:cubicBezTo>
                  <a:cubicBezTo>
                    <a:pt x="0" y="66"/>
                    <a:pt x="0" y="120"/>
                    <a:pt x="34" y="153"/>
                  </a:cubicBezTo>
                  <a:lnTo>
                    <a:pt x="34" y="153"/>
                  </a:lnTo>
                  <a:close/>
                </a:path>
              </a:pathLst>
            </a:custGeom>
            <a:noFill/>
            <a:ln w="9525" cap="flat">
              <a:solidFill>
                <a:srgbClr val="00C9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0" name="Freeform 238">
              <a:extLst>
                <a:ext uri="{FF2B5EF4-FFF2-40B4-BE49-F238E27FC236}">
                  <a16:creationId xmlns:a16="http://schemas.microsoft.com/office/drawing/2014/main" id="{62504CE4-E0DD-4988-ADCC-3AFEDE148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275" y="2236860"/>
              <a:ext cx="11854" cy="10537"/>
            </a:xfrm>
            <a:custGeom>
              <a:avLst/>
              <a:gdLst>
                <a:gd name="T0" fmla="*/ 11 w 59"/>
                <a:gd name="T1" fmla="*/ 48 h 58"/>
                <a:gd name="T2" fmla="*/ 11 w 59"/>
                <a:gd name="T3" fmla="*/ 48 h 58"/>
                <a:gd name="T4" fmla="*/ 49 w 59"/>
                <a:gd name="T5" fmla="*/ 48 h 58"/>
                <a:gd name="T6" fmla="*/ 49 w 59"/>
                <a:gd name="T7" fmla="*/ 10 h 58"/>
                <a:gd name="T8" fmla="*/ 11 w 59"/>
                <a:gd name="T9" fmla="*/ 10 h 58"/>
                <a:gd name="T10" fmla="*/ 11 w 59"/>
                <a:gd name="T11" fmla="*/ 48 h 58"/>
                <a:gd name="T12" fmla="*/ 11 w 59"/>
                <a:gd name="T13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8">
                  <a:moveTo>
                    <a:pt x="11" y="48"/>
                  </a:moveTo>
                  <a:lnTo>
                    <a:pt x="11" y="48"/>
                  </a:lnTo>
                  <a:cubicBezTo>
                    <a:pt x="21" y="58"/>
                    <a:pt x="38" y="58"/>
                    <a:pt x="49" y="48"/>
                  </a:cubicBezTo>
                  <a:cubicBezTo>
                    <a:pt x="59" y="37"/>
                    <a:pt x="59" y="20"/>
                    <a:pt x="49" y="10"/>
                  </a:cubicBezTo>
                  <a:cubicBezTo>
                    <a:pt x="38" y="0"/>
                    <a:pt x="21" y="0"/>
                    <a:pt x="11" y="10"/>
                  </a:cubicBezTo>
                  <a:cubicBezTo>
                    <a:pt x="0" y="20"/>
                    <a:pt x="0" y="37"/>
                    <a:pt x="11" y="48"/>
                  </a:cubicBezTo>
                  <a:lnTo>
                    <a:pt x="11" y="48"/>
                  </a:lnTo>
                  <a:close/>
                </a:path>
              </a:pathLst>
            </a:custGeom>
            <a:noFill/>
            <a:ln w="9525" cap="flat">
              <a:solidFill>
                <a:srgbClr val="00C9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id="{571B1AD9-D6CA-4FCA-BF8F-BE4CCE813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959" y="2207884"/>
              <a:ext cx="26341" cy="76390"/>
            </a:xfrm>
            <a:custGeom>
              <a:avLst/>
              <a:gdLst>
                <a:gd name="T0" fmla="*/ 0 w 136"/>
                <a:gd name="T1" fmla="*/ 408 h 408"/>
                <a:gd name="T2" fmla="*/ 0 w 136"/>
                <a:gd name="T3" fmla="*/ 408 h 408"/>
                <a:gd name="T4" fmla="*/ 0 w 136"/>
                <a:gd name="T5" fmla="*/ 33 h 408"/>
                <a:gd name="T6" fmla="*/ 33 w 136"/>
                <a:gd name="T7" fmla="*/ 0 h 408"/>
                <a:gd name="T8" fmla="*/ 103 w 136"/>
                <a:gd name="T9" fmla="*/ 0 h 408"/>
                <a:gd name="T10" fmla="*/ 136 w 136"/>
                <a:gd name="T11" fmla="*/ 33 h 408"/>
                <a:gd name="T12" fmla="*/ 136 w 136"/>
                <a:gd name="T13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08">
                  <a:moveTo>
                    <a:pt x="0" y="408"/>
                  </a:moveTo>
                  <a:lnTo>
                    <a:pt x="0" y="408"/>
                  </a:lnTo>
                  <a:lnTo>
                    <a:pt x="0" y="33"/>
                  </a:lnTo>
                  <a:cubicBezTo>
                    <a:pt x="0" y="15"/>
                    <a:pt x="15" y="0"/>
                    <a:pt x="33" y="0"/>
                  </a:cubicBezTo>
                  <a:lnTo>
                    <a:pt x="103" y="0"/>
                  </a:lnTo>
                  <a:cubicBezTo>
                    <a:pt x="121" y="0"/>
                    <a:pt x="136" y="15"/>
                    <a:pt x="136" y="33"/>
                  </a:cubicBezTo>
                  <a:lnTo>
                    <a:pt x="136" y="408"/>
                  </a:lnTo>
                </a:path>
              </a:pathLst>
            </a:custGeom>
            <a:noFill/>
            <a:ln w="9525" cap="flat">
              <a:solidFill>
                <a:srgbClr val="00113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22" name="Gruppieren 83">
              <a:extLst>
                <a:ext uri="{FF2B5EF4-FFF2-40B4-BE49-F238E27FC236}">
                  <a16:creationId xmlns:a16="http://schemas.microsoft.com/office/drawing/2014/main" id="{CCE774C9-C80B-498E-B3A2-4CC14B74B288}"/>
                </a:ext>
              </a:extLst>
            </p:cNvPr>
            <p:cNvGrpSpPr/>
            <p:nvPr/>
          </p:nvGrpSpPr>
          <p:grpSpPr>
            <a:xfrm>
              <a:off x="4634220" y="1901451"/>
              <a:ext cx="90000" cy="259879"/>
              <a:chOff x="5475122" y="1899863"/>
              <a:chExt cx="90000" cy="259879"/>
            </a:xfrm>
          </p:grpSpPr>
          <p:sp>
            <p:nvSpPr>
              <p:cNvPr id="366" name="Rectangle 39">
                <a:extLst>
                  <a:ext uri="{FF2B5EF4-FFF2-40B4-BE49-F238E27FC236}">
                    <a16:creationId xmlns:a16="http://schemas.microsoft.com/office/drawing/2014/main" id="{DE80707B-24DF-4E12-9287-B6EAD2ABD7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2022727"/>
                <a:ext cx="90000" cy="36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  <p:cxnSp>
            <p:nvCxnSpPr>
              <p:cNvPr id="367" name="Straight Connector 87">
                <a:extLst>
                  <a:ext uri="{FF2B5EF4-FFF2-40B4-BE49-F238E27FC236}">
                    <a16:creationId xmlns:a16="http://schemas.microsoft.com/office/drawing/2014/main" id="{5E4C1DD1-76CD-402E-87DA-4B65B60578CE}"/>
                  </a:ext>
                </a:extLst>
              </p:cNvPr>
              <p:cNvCxnSpPr>
                <a:cxnSpLocks/>
                <a:stCxn id="369" idx="2"/>
                <a:endCxn id="366" idx="0"/>
              </p:cNvCxnSpPr>
              <p:nvPr/>
            </p:nvCxnSpPr>
            <p:spPr>
              <a:xfrm>
                <a:off x="5520122" y="1989863"/>
                <a:ext cx="0" cy="32864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</a:ln>
            </p:spPr>
          </p:cxnSp>
          <p:grpSp>
            <p:nvGrpSpPr>
              <p:cNvPr id="368" name="Gruppieren 333">
                <a:extLst>
                  <a:ext uri="{FF2B5EF4-FFF2-40B4-BE49-F238E27FC236}">
                    <a16:creationId xmlns:a16="http://schemas.microsoft.com/office/drawing/2014/main" id="{8AE4E625-62B3-4631-89BA-CEEC34D98694}"/>
                  </a:ext>
                </a:extLst>
              </p:cNvPr>
              <p:cNvGrpSpPr/>
              <p:nvPr/>
            </p:nvGrpSpPr>
            <p:grpSpPr>
              <a:xfrm>
                <a:off x="5481511" y="2063431"/>
                <a:ext cx="77222" cy="96311"/>
                <a:chOff x="4600707" y="3076860"/>
                <a:chExt cx="127890" cy="159504"/>
              </a:xfrm>
            </p:grpSpPr>
            <p:sp>
              <p:nvSpPr>
                <p:cNvPr id="370" name="Oval 13">
                  <a:extLst>
                    <a:ext uri="{FF2B5EF4-FFF2-40B4-BE49-F238E27FC236}">
                      <a16:creationId xmlns:a16="http://schemas.microsoft.com/office/drawing/2014/main" id="{D2AAABA3-B6C8-4A49-9718-29AD519F62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8100000">
                  <a:off x="4659076" y="3076860"/>
                  <a:ext cx="10752" cy="9620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Freeform 14">
                  <a:extLst>
                    <a:ext uri="{FF2B5EF4-FFF2-40B4-BE49-F238E27FC236}">
                      <a16:creationId xmlns:a16="http://schemas.microsoft.com/office/drawing/2014/main" id="{FF4EF3B0-139F-4F6F-840C-31A208B438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43914" y="3091143"/>
                  <a:ext cx="41876" cy="41876"/>
                </a:xfrm>
                <a:custGeom>
                  <a:avLst/>
                  <a:gdLst>
                    <a:gd name="T0" fmla="*/ 31 w 31"/>
                    <a:gd name="T1" fmla="*/ 31 h 31"/>
                    <a:gd name="T2" fmla="*/ 0 w 31"/>
                    <a:gd name="T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1" h="31">
                      <a:moveTo>
                        <a:pt x="31" y="31"/>
                      </a:moveTo>
                      <a:cubicBezTo>
                        <a:pt x="31" y="14"/>
                        <a:pt x="17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15">
                  <a:extLst>
                    <a:ext uri="{FF2B5EF4-FFF2-40B4-BE49-F238E27FC236}">
                      <a16:creationId xmlns:a16="http://schemas.microsoft.com/office/drawing/2014/main" id="{C9E92D39-F7E2-42B7-87AB-7C46084D8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22128" y="3100167"/>
                  <a:ext cx="85449" cy="85448"/>
                </a:xfrm>
                <a:custGeom>
                  <a:avLst/>
                  <a:gdLst>
                    <a:gd name="T0" fmla="*/ 63 w 63"/>
                    <a:gd name="T1" fmla="*/ 63 h 63"/>
                    <a:gd name="T2" fmla="*/ 0 w 63"/>
                    <a:gd name="T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3" h="63">
                      <a:moveTo>
                        <a:pt x="63" y="63"/>
                      </a:moveTo>
                      <a:cubicBezTo>
                        <a:pt x="63" y="29"/>
                        <a:pt x="35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Freeform 16">
                  <a:extLst>
                    <a:ext uri="{FF2B5EF4-FFF2-40B4-BE49-F238E27FC236}">
                      <a16:creationId xmlns:a16="http://schemas.microsoft.com/office/drawing/2014/main" id="{B3921369-FC99-45CF-9281-49091728C2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00707" y="3109040"/>
                  <a:ext cx="127890" cy="127324"/>
                </a:xfrm>
                <a:custGeom>
                  <a:avLst/>
                  <a:gdLst>
                    <a:gd name="T0" fmla="*/ 94 w 94"/>
                    <a:gd name="T1" fmla="*/ 94 h 94"/>
                    <a:gd name="T2" fmla="*/ 0 w 94"/>
                    <a:gd name="T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94" h="94">
                      <a:moveTo>
                        <a:pt x="94" y="94"/>
                      </a:moveTo>
                      <a:cubicBezTo>
                        <a:pt x="94" y="42"/>
                        <a:pt x="52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9" name="Rectangle 39">
                <a:extLst>
                  <a:ext uri="{FF2B5EF4-FFF2-40B4-BE49-F238E27FC236}">
                    <a16:creationId xmlns:a16="http://schemas.microsoft.com/office/drawing/2014/main" id="{BB7C8F59-3FA5-4CD0-B66F-3E0D06708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1899863"/>
                <a:ext cx="90000" cy="90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</p:grpSp>
        <p:grpSp>
          <p:nvGrpSpPr>
            <p:cNvPr id="123" name="Gruppieren 84">
              <a:extLst>
                <a:ext uri="{FF2B5EF4-FFF2-40B4-BE49-F238E27FC236}">
                  <a16:creationId xmlns:a16="http://schemas.microsoft.com/office/drawing/2014/main" id="{27471C18-548F-4CA7-82A8-4133C29A715D}"/>
                </a:ext>
              </a:extLst>
            </p:cNvPr>
            <p:cNvGrpSpPr/>
            <p:nvPr/>
          </p:nvGrpSpPr>
          <p:grpSpPr>
            <a:xfrm>
              <a:off x="5740080" y="1901451"/>
              <a:ext cx="90000" cy="259879"/>
              <a:chOff x="5475122" y="1899863"/>
              <a:chExt cx="90000" cy="259879"/>
            </a:xfrm>
          </p:grpSpPr>
          <p:sp>
            <p:nvSpPr>
              <p:cNvPr id="358" name="Rectangle 39">
                <a:extLst>
                  <a:ext uri="{FF2B5EF4-FFF2-40B4-BE49-F238E27FC236}">
                    <a16:creationId xmlns:a16="http://schemas.microsoft.com/office/drawing/2014/main" id="{FDDAACD7-5FAE-437B-9782-467B7A927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2022727"/>
                <a:ext cx="90000" cy="36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  <p:cxnSp>
            <p:nvCxnSpPr>
              <p:cNvPr id="359" name="Straight Connector 87">
                <a:extLst>
                  <a:ext uri="{FF2B5EF4-FFF2-40B4-BE49-F238E27FC236}">
                    <a16:creationId xmlns:a16="http://schemas.microsoft.com/office/drawing/2014/main" id="{210C4A6C-70C8-4A5B-8A83-11ECA83FB253}"/>
                  </a:ext>
                </a:extLst>
              </p:cNvPr>
              <p:cNvCxnSpPr>
                <a:cxnSpLocks/>
                <a:stCxn id="361" idx="2"/>
                <a:endCxn id="358" idx="0"/>
              </p:cNvCxnSpPr>
              <p:nvPr/>
            </p:nvCxnSpPr>
            <p:spPr>
              <a:xfrm>
                <a:off x="5520122" y="1989863"/>
                <a:ext cx="0" cy="32864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</a:ln>
            </p:spPr>
          </p:cxnSp>
          <p:grpSp>
            <p:nvGrpSpPr>
              <p:cNvPr id="360" name="Gruppieren 325">
                <a:extLst>
                  <a:ext uri="{FF2B5EF4-FFF2-40B4-BE49-F238E27FC236}">
                    <a16:creationId xmlns:a16="http://schemas.microsoft.com/office/drawing/2014/main" id="{870DC63E-E437-4821-9643-2B2A7274B2AD}"/>
                  </a:ext>
                </a:extLst>
              </p:cNvPr>
              <p:cNvGrpSpPr/>
              <p:nvPr/>
            </p:nvGrpSpPr>
            <p:grpSpPr>
              <a:xfrm>
                <a:off x="5481511" y="2063431"/>
                <a:ext cx="77222" cy="96311"/>
                <a:chOff x="4600707" y="3076860"/>
                <a:chExt cx="127890" cy="159504"/>
              </a:xfrm>
            </p:grpSpPr>
            <p:sp>
              <p:nvSpPr>
                <p:cNvPr id="362" name="Oval 13">
                  <a:extLst>
                    <a:ext uri="{FF2B5EF4-FFF2-40B4-BE49-F238E27FC236}">
                      <a16:creationId xmlns:a16="http://schemas.microsoft.com/office/drawing/2014/main" id="{2BB7BCD6-3B9B-4B30-84D5-0E2A8CC77A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8100000">
                  <a:off x="4659076" y="3076860"/>
                  <a:ext cx="10752" cy="9620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Freeform 14">
                  <a:extLst>
                    <a:ext uri="{FF2B5EF4-FFF2-40B4-BE49-F238E27FC236}">
                      <a16:creationId xmlns:a16="http://schemas.microsoft.com/office/drawing/2014/main" id="{570960FA-9A56-490F-B370-0016F3A46D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43914" y="3091143"/>
                  <a:ext cx="41876" cy="41876"/>
                </a:xfrm>
                <a:custGeom>
                  <a:avLst/>
                  <a:gdLst>
                    <a:gd name="T0" fmla="*/ 31 w 31"/>
                    <a:gd name="T1" fmla="*/ 31 h 31"/>
                    <a:gd name="T2" fmla="*/ 0 w 31"/>
                    <a:gd name="T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1" h="31">
                      <a:moveTo>
                        <a:pt x="31" y="31"/>
                      </a:moveTo>
                      <a:cubicBezTo>
                        <a:pt x="31" y="14"/>
                        <a:pt x="17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15">
                  <a:extLst>
                    <a:ext uri="{FF2B5EF4-FFF2-40B4-BE49-F238E27FC236}">
                      <a16:creationId xmlns:a16="http://schemas.microsoft.com/office/drawing/2014/main" id="{28346931-B5A6-43FB-B87B-B2CB0251EF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22128" y="3100167"/>
                  <a:ext cx="85449" cy="85448"/>
                </a:xfrm>
                <a:custGeom>
                  <a:avLst/>
                  <a:gdLst>
                    <a:gd name="T0" fmla="*/ 63 w 63"/>
                    <a:gd name="T1" fmla="*/ 63 h 63"/>
                    <a:gd name="T2" fmla="*/ 0 w 63"/>
                    <a:gd name="T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3" h="63">
                      <a:moveTo>
                        <a:pt x="63" y="63"/>
                      </a:moveTo>
                      <a:cubicBezTo>
                        <a:pt x="63" y="29"/>
                        <a:pt x="35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Freeform 16">
                  <a:extLst>
                    <a:ext uri="{FF2B5EF4-FFF2-40B4-BE49-F238E27FC236}">
                      <a16:creationId xmlns:a16="http://schemas.microsoft.com/office/drawing/2014/main" id="{5082CFDC-BBD9-4004-934E-EF5E545678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00707" y="3109040"/>
                  <a:ext cx="127890" cy="127324"/>
                </a:xfrm>
                <a:custGeom>
                  <a:avLst/>
                  <a:gdLst>
                    <a:gd name="T0" fmla="*/ 94 w 94"/>
                    <a:gd name="T1" fmla="*/ 94 h 94"/>
                    <a:gd name="T2" fmla="*/ 0 w 94"/>
                    <a:gd name="T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94" h="94">
                      <a:moveTo>
                        <a:pt x="94" y="94"/>
                      </a:moveTo>
                      <a:cubicBezTo>
                        <a:pt x="94" y="42"/>
                        <a:pt x="52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1" name="Rectangle 39">
                <a:extLst>
                  <a:ext uri="{FF2B5EF4-FFF2-40B4-BE49-F238E27FC236}">
                    <a16:creationId xmlns:a16="http://schemas.microsoft.com/office/drawing/2014/main" id="{C1FEDBEB-66CB-4B38-B4EA-0FA89A233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1899863"/>
                <a:ext cx="90000" cy="90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</p:grpSp>
        <p:grpSp>
          <p:nvGrpSpPr>
            <p:cNvPr id="124" name="Gruppieren 85">
              <a:extLst>
                <a:ext uri="{FF2B5EF4-FFF2-40B4-BE49-F238E27FC236}">
                  <a16:creationId xmlns:a16="http://schemas.microsoft.com/office/drawing/2014/main" id="{CAD91F4A-B6C4-4166-B8F8-3E4969409F54}"/>
                </a:ext>
              </a:extLst>
            </p:cNvPr>
            <p:cNvGrpSpPr/>
            <p:nvPr/>
          </p:nvGrpSpPr>
          <p:grpSpPr>
            <a:xfrm>
              <a:off x="3656791" y="1901451"/>
              <a:ext cx="90000" cy="259879"/>
              <a:chOff x="5475122" y="1899863"/>
              <a:chExt cx="90000" cy="259879"/>
            </a:xfrm>
          </p:grpSpPr>
          <p:sp>
            <p:nvSpPr>
              <p:cNvPr id="350" name="Rectangle 39">
                <a:extLst>
                  <a:ext uri="{FF2B5EF4-FFF2-40B4-BE49-F238E27FC236}">
                    <a16:creationId xmlns:a16="http://schemas.microsoft.com/office/drawing/2014/main" id="{A78F5432-225F-431D-9305-CD2C4BDF3F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2022727"/>
                <a:ext cx="90000" cy="36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  <p:cxnSp>
            <p:nvCxnSpPr>
              <p:cNvPr id="351" name="Straight Connector 87">
                <a:extLst>
                  <a:ext uri="{FF2B5EF4-FFF2-40B4-BE49-F238E27FC236}">
                    <a16:creationId xmlns:a16="http://schemas.microsoft.com/office/drawing/2014/main" id="{E3816317-510B-4EB2-91AB-56EA415F3722}"/>
                  </a:ext>
                </a:extLst>
              </p:cNvPr>
              <p:cNvCxnSpPr>
                <a:cxnSpLocks/>
                <a:stCxn id="353" idx="2"/>
                <a:endCxn id="350" idx="0"/>
              </p:cNvCxnSpPr>
              <p:nvPr/>
            </p:nvCxnSpPr>
            <p:spPr>
              <a:xfrm>
                <a:off x="5520122" y="1989863"/>
                <a:ext cx="0" cy="32864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</a:ln>
            </p:spPr>
          </p:cxnSp>
          <p:grpSp>
            <p:nvGrpSpPr>
              <p:cNvPr id="352" name="Gruppieren 317">
                <a:extLst>
                  <a:ext uri="{FF2B5EF4-FFF2-40B4-BE49-F238E27FC236}">
                    <a16:creationId xmlns:a16="http://schemas.microsoft.com/office/drawing/2014/main" id="{3E3FEDFC-5229-41B9-A264-C84509062604}"/>
                  </a:ext>
                </a:extLst>
              </p:cNvPr>
              <p:cNvGrpSpPr/>
              <p:nvPr/>
            </p:nvGrpSpPr>
            <p:grpSpPr>
              <a:xfrm>
                <a:off x="5481511" y="2063431"/>
                <a:ext cx="77222" cy="96311"/>
                <a:chOff x="4600707" y="3076860"/>
                <a:chExt cx="127890" cy="159504"/>
              </a:xfrm>
            </p:grpSpPr>
            <p:sp>
              <p:nvSpPr>
                <p:cNvPr id="354" name="Oval 13">
                  <a:extLst>
                    <a:ext uri="{FF2B5EF4-FFF2-40B4-BE49-F238E27FC236}">
                      <a16:creationId xmlns:a16="http://schemas.microsoft.com/office/drawing/2014/main" id="{3518CE81-58BB-4C9C-9CB3-BDA3C9D9B1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8100000">
                  <a:off x="4659076" y="3076860"/>
                  <a:ext cx="10752" cy="9620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14">
                  <a:extLst>
                    <a:ext uri="{FF2B5EF4-FFF2-40B4-BE49-F238E27FC236}">
                      <a16:creationId xmlns:a16="http://schemas.microsoft.com/office/drawing/2014/main" id="{C425EAD4-1E1D-4AE7-BAB5-5E341686E9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43914" y="3091143"/>
                  <a:ext cx="41876" cy="41876"/>
                </a:xfrm>
                <a:custGeom>
                  <a:avLst/>
                  <a:gdLst>
                    <a:gd name="T0" fmla="*/ 31 w 31"/>
                    <a:gd name="T1" fmla="*/ 31 h 31"/>
                    <a:gd name="T2" fmla="*/ 0 w 31"/>
                    <a:gd name="T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1" h="31">
                      <a:moveTo>
                        <a:pt x="31" y="31"/>
                      </a:moveTo>
                      <a:cubicBezTo>
                        <a:pt x="31" y="14"/>
                        <a:pt x="17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15">
                  <a:extLst>
                    <a:ext uri="{FF2B5EF4-FFF2-40B4-BE49-F238E27FC236}">
                      <a16:creationId xmlns:a16="http://schemas.microsoft.com/office/drawing/2014/main" id="{098A105C-780C-457E-8B91-48659E11CC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22128" y="3100167"/>
                  <a:ext cx="85449" cy="85448"/>
                </a:xfrm>
                <a:custGeom>
                  <a:avLst/>
                  <a:gdLst>
                    <a:gd name="T0" fmla="*/ 63 w 63"/>
                    <a:gd name="T1" fmla="*/ 63 h 63"/>
                    <a:gd name="T2" fmla="*/ 0 w 63"/>
                    <a:gd name="T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3" h="63">
                      <a:moveTo>
                        <a:pt x="63" y="63"/>
                      </a:moveTo>
                      <a:cubicBezTo>
                        <a:pt x="63" y="29"/>
                        <a:pt x="35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16">
                  <a:extLst>
                    <a:ext uri="{FF2B5EF4-FFF2-40B4-BE49-F238E27FC236}">
                      <a16:creationId xmlns:a16="http://schemas.microsoft.com/office/drawing/2014/main" id="{FE89A919-5555-402E-AFFE-7607B02A02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8100000">
                  <a:off x="4600707" y="3109040"/>
                  <a:ext cx="127890" cy="127324"/>
                </a:xfrm>
                <a:custGeom>
                  <a:avLst/>
                  <a:gdLst>
                    <a:gd name="T0" fmla="*/ 94 w 94"/>
                    <a:gd name="T1" fmla="*/ 94 h 94"/>
                    <a:gd name="T2" fmla="*/ 0 w 94"/>
                    <a:gd name="T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94" h="94">
                      <a:moveTo>
                        <a:pt x="94" y="94"/>
                      </a:moveTo>
                      <a:cubicBezTo>
                        <a:pt x="94" y="42"/>
                        <a:pt x="52" y="0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53" name="Rectangle 39">
                <a:extLst>
                  <a:ext uri="{FF2B5EF4-FFF2-40B4-BE49-F238E27FC236}">
                    <a16:creationId xmlns:a16="http://schemas.microsoft.com/office/drawing/2014/main" id="{215279D8-64C9-4E6E-9D4E-C4751C7B98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122" y="1899863"/>
                <a:ext cx="90000" cy="90000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</p:grpSp>
        <p:cxnSp>
          <p:nvCxnSpPr>
            <p:cNvPr id="125" name="Straight Connector 87">
              <a:extLst>
                <a:ext uri="{FF2B5EF4-FFF2-40B4-BE49-F238E27FC236}">
                  <a16:creationId xmlns:a16="http://schemas.microsoft.com/office/drawing/2014/main" id="{2A597DD4-CBDA-42AD-BF34-A1768461776B}"/>
                </a:ext>
              </a:extLst>
            </p:cNvPr>
            <p:cNvCxnSpPr>
              <a:cxnSpLocks/>
              <a:stCxn id="369" idx="1"/>
              <a:endCxn id="353" idx="3"/>
            </p:cNvCxnSpPr>
            <p:nvPr/>
          </p:nvCxnSpPr>
          <p:spPr>
            <a:xfrm flipH="1">
              <a:off x="3746791" y="1946451"/>
              <a:ext cx="887429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D8878B95-A32A-4D8E-B45B-DDFCCE5738BD}"/>
                </a:ext>
              </a:extLst>
            </p:cNvPr>
            <p:cNvCxnSpPr>
              <a:cxnSpLocks/>
              <a:stCxn id="361" idx="1"/>
              <a:endCxn id="369" idx="3"/>
            </p:cNvCxnSpPr>
            <p:nvPr/>
          </p:nvCxnSpPr>
          <p:spPr>
            <a:xfrm flipH="1">
              <a:off x="4724220" y="1946451"/>
              <a:ext cx="101586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</p:cxnSp>
        <p:grpSp>
          <p:nvGrpSpPr>
            <p:cNvPr id="127" name="Gruppieren 88">
              <a:extLst>
                <a:ext uri="{FF2B5EF4-FFF2-40B4-BE49-F238E27FC236}">
                  <a16:creationId xmlns:a16="http://schemas.microsoft.com/office/drawing/2014/main" id="{C201094F-9960-49CE-803B-207F81BB88C7}"/>
                </a:ext>
              </a:extLst>
            </p:cNvPr>
            <p:cNvGrpSpPr/>
            <p:nvPr/>
          </p:nvGrpSpPr>
          <p:grpSpPr>
            <a:xfrm>
              <a:off x="2314287" y="2540075"/>
              <a:ext cx="3879880" cy="30163"/>
              <a:chOff x="2314287" y="2540075"/>
              <a:chExt cx="3879880" cy="30163"/>
            </a:xfrm>
          </p:grpSpPr>
          <p:sp>
            <p:nvSpPr>
              <p:cNvPr id="304" name="Freeform 206">
                <a:extLst>
                  <a:ext uri="{FF2B5EF4-FFF2-40B4-BE49-F238E27FC236}">
                    <a16:creationId xmlns:a16="http://schemas.microsoft.com/office/drawing/2014/main" id="{7C9B32E4-9DA8-4FF4-9A4F-B85865EFB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6985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05" name="Freeform 207">
                <a:extLst>
                  <a:ext uri="{FF2B5EF4-FFF2-40B4-BE49-F238E27FC236}">
                    <a16:creationId xmlns:a16="http://schemas.microsoft.com/office/drawing/2014/main" id="{C679019C-C596-4DA7-9FFF-088C32E33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051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06" name="Freeform 208">
                <a:extLst>
                  <a:ext uri="{FF2B5EF4-FFF2-40B4-BE49-F238E27FC236}">
                    <a16:creationId xmlns:a16="http://schemas.microsoft.com/office/drawing/2014/main" id="{0AD617AD-B2E7-43FC-82D5-0172D5A75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3018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07" name="Freeform 209">
                <a:extLst>
                  <a:ext uri="{FF2B5EF4-FFF2-40B4-BE49-F238E27FC236}">
                    <a16:creationId xmlns:a16="http://schemas.microsoft.com/office/drawing/2014/main" id="{2460EBB9-4C87-46EC-8815-5B59CDDA8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084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08" name="Freeform 210">
                <a:extLst>
                  <a:ext uri="{FF2B5EF4-FFF2-40B4-BE49-F238E27FC236}">
                    <a16:creationId xmlns:a16="http://schemas.microsoft.com/office/drawing/2014/main" id="{C5811437-9450-440B-BB46-FABE5E7DF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1117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09" name="Freeform 211">
                <a:extLst>
                  <a:ext uri="{FF2B5EF4-FFF2-40B4-BE49-F238E27FC236}">
                    <a16:creationId xmlns:a16="http://schemas.microsoft.com/office/drawing/2014/main" id="{C5E3DB2E-B769-45E4-8257-D96B299FF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7150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0" name="Freeform 212">
                <a:extLst>
                  <a:ext uri="{FF2B5EF4-FFF2-40B4-BE49-F238E27FC236}">
                    <a16:creationId xmlns:a16="http://schemas.microsoft.com/office/drawing/2014/main" id="{246B7B51-E602-450A-9EED-C01AF9811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183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1" name="Freeform 213">
                <a:extLst>
                  <a:ext uri="{FF2B5EF4-FFF2-40B4-BE49-F238E27FC236}">
                    <a16:creationId xmlns:a16="http://schemas.microsoft.com/office/drawing/2014/main" id="{C3BE9D07-E983-4E83-866E-D5FD535CB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5249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2" name="Freeform 214">
                <a:extLst>
                  <a:ext uri="{FF2B5EF4-FFF2-40B4-BE49-F238E27FC236}">
                    <a16:creationId xmlns:a16="http://schemas.microsoft.com/office/drawing/2014/main" id="{4F170F87-9E0D-4FF3-B9FC-5CE39FA21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216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3" name="Freeform 215">
                <a:extLst>
                  <a:ext uri="{FF2B5EF4-FFF2-40B4-BE49-F238E27FC236}">
                    <a16:creationId xmlns:a16="http://schemas.microsoft.com/office/drawing/2014/main" id="{447E71FB-49B5-4FB5-A009-EEE4375E0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282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4" name="Freeform 216">
                <a:extLst>
                  <a:ext uri="{FF2B5EF4-FFF2-40B4-BE49-F238E27FC236}">
                    <a16:creationId xmlns:a16="http://schemas.microsoft.com/office/drawing/2014/main" id="{B212952F-3FB9-409A-94E4-6BDEF4AAF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7315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5" name="Freeform 217">
                <a:extLst>
                  <a:ext uri="{FF2B5EF4-FFF2-40B4-BE49-F238E27FC236}">
                    <a16:creationId xmlns:a16="http://schemas.microsoft.com/office/drawing/2014/main" id="{ACDA228F-14D8-48C3-87EC-10A8EC56F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381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6" name="Freeform 218">
                <a:extLst>
                  <a:ext uri="{FF2B5EF4-FFF2-40B4-BE49-F238E27FC236}">
                    <a16:creationId xmlns:a16="http://schemas.microsoft.com/office/drawing/2014/main" id="{275BCEAE-D85E-40F7-B633-53808BB36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3348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7" name="Freeform 219">
                <a:extLst>
                  <a:ext uri="{FF2B5EF4-FFF2-40B4-BE49-F238E27FC236}">
                    <a16:creationId xmlns:a16="http://schemas.microsoft.com/office/drawing/2014/main" id="{BD3087B4-C9C6-4E9B-8CEC-A2E82AD25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414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8" name="Freeform 220">
                <a:extLst>
                  <a:ext uri="{FF2B5EF4-FFF2-40B4-BE49-F238E27FC236}">
                    <a16:creationId xmlns:a16="http://schemas.microsoft.com/office/drawing/2014/main" id="{868206FA-3ABA-4085-A8FE-07D40D029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447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19" name="Freeform 221">
                <a:extLst>
                  <a:ext uri="{FF2B5EF4-FFF2-40B4-BE49-F238E27FC236}">
                    <a16:creationId xmlns:a16="http://schemas.microsoft.com/office/drawing/2014/main" id="{4629BF2A-B40A-4032-83F6-7FB20F6A1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9546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0" name="Freeform 222">
                <a:extLst>
                  <a:ext uri="{FF2B5EF4-FFF2-40B4-BE49-F238E27FC236}">
                    <a16:creationId xmlns:a16="http://schemas.microsoft.com/office/drawing/2014/main" id="{07B734A7-830C-4396-9BB5-F66D61B54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3513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1" name="Freeform 223">
                <a:extLst>
                  <a:ext uri="{FF2B5EF4-FFF2-40B4-BE49-F238E27FC236}">
                    <a16:creationId xmlns:a16="http://schemas.microsoft.com/office/drawing/2014/main" id="{A79CD326-F1EE-4F40-AB3C-3AC93CF55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7480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2" name="Freeform 224">
                <a:extLst>
                  <a:ext uri="{FF2B5EF4-FFF2-40B4-BE49-F238E27FC236}">
                    <a16:creationId xmlns:a16="http://schemas.microsoft.com/office/drawing/2014/main" id="{E58CB223-9B91-4583-A888-DE2F4C66E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5579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3" name="Freeform 225">
                <a:extLst>
                  <a:ext uri="{FF2B5EF4-FFF2-40B4-BE49-F238E27FC236}">
                    <a16:creationId xmlns:a16="http://schemas.microsoft.com/office/drawing/2014/main" id="{5F834258-756C-4155-B779-A2DD88763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595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4" name="Freeform 206">
                <a:extLst>
                  <a:ext uri="{FF2B5EF4-FFF2-40B4-BE49-F238E27FC236}">
                    <a16:creationId xmlns:a16="http://schemas.microsoft.com/office/drawing/2014/main" id="{8F1A6932-DFA3-44DB-866C-7C29D3875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325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5" name="Freeform 207">
                <a:extLst>
                  <a:ext uri="{FF2B5EF4-FFF2-40B4-BE49-F238E27FC236}">
                    <a16:creationId xmlns:a16="http://schemas.microsoft.com/office/drawing/2014/main" id="{DE67894B-2FF7-488B-A367-A79D9F613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8391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6" name="Freeform 208">
                <a:extLst>
                  <a:ext uri="{FF2B5EF4-FFF2-40B4-BE49-F238E27FC236}">
                    <a16:creationId xmlns:a16="http://schemas.microsoft.com/office/drawing/2014/main" id="{88747047-CDA7-4242-9F67-FDBA7F186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358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7" name="Freeform 209">
                <a:extLst>
                  <a:ext uri="{FF2B5EF4-FFF2-40B4-BE49-F238E27FC236}">
                    <a16:creationId xmlns:a16="http://schemas.microsoft.com/office/drawing/2014/main" id="{C150C2AD-A613-4C93-8280-54FAD3AC7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4424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8" name="Freeform 210">
                <a:extLst>
                  <a:ext uri="{FF2B5EF4-FFF2-40B4-BE49-F238E27FC236}">
                    <a16:creationId xmlns:a16="http://schemas.microsoft.com/office/drawing/2014/main" id="{FE64058E-8AB5-42EB-AE21-8C8602B00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0457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29" name="Freeform 211">
                <a:extLst>
                  <a:ext uri="{FF2B5EF4-FFF2-40B4-BE49-F238E27FC236}">
                    <a16:creationId xmlns:a16="http://schemas.microsoft.com/office/drawing/2014/main" id="{2497B541-283D-4B7C-8F8A-853435B19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6490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0" name="Freeform 212">
                <a:extLst>
                  <a:ext uri="{FF2B5EF4-FFF2-40B4-BE49-F238E27FC236}">
                    <a16:creationId xmlns:a16="http://schemas.microsoft.com/office/drawing/2014/main" id="{C84788E5-8A3C-42FE-8291-8E66483C8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2523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1" name="Freeform 213">
                <a:extLst>
                  <a:ext uri="{FF2B5EF4-FFF2-40B4-BE49-F238E27FC236}">
                    <a16:creationId xmlns:a16="http://schemas.microsoft.com/office/drawing/2014/main" id="{9561765B-6DAE-4896-8A96-57351D705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589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2" name="Freeform 214">
                <a:extLst>
                  <a:ext uri="{FF2B5EF4-FFF2-40B4-BE49-F238E27FC236}">
                    <a16:creationId xmlns:a16="http://schemas.microsoft.com/office/drawing/2014/main" id="{3B7AF79A-0C47-44B2-8B15-1C82B4B10D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556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3" name="Freeform 215">
                <a:extLst>
                  <a:ext uri="{FF2B5EF4-FFF2-40B4-BE49-F238E27FC236}">
                    <a16:creationId xmlns:a16="http://schemas.microsoft.com/office/drawing/2014/main" id="{1384DBD6-BA87-4ACE-9681-88261B2B7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0622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4" name="Freeform 216">
                <a:extLst>
                  <a:ext uri="{FF2B5EF4-FFF2-40B4-BE49-F238E27FC236}">
                    <a16:creationId xmlns:a16="http://schemas.microsoft.com/office/drawing/2014/main" id="{705C7C3F-882B-4059-8037-4356FEDE0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6655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5" name="Freeform 217">
                <a:extLst>
                  <a:ext uri="{FF2B5EF4-FFF2-40B4-BE49-F238E27FC236}">
                    <a16:creationId xmlns:a16="http://schemas.microsoft.com/office/drawing/2014/main" id="{A95FED56-E567-41F0-B07E-FFF792D63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721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6" name="Freeform 218">
                <a:extLst>
                  <a:ext uri="{FF2B5EF4-FFF2-40B4-BE49-F238E27FC236}">
                    <a16:creationId xmlns:a16="http://schemas.microsoft.com/office/drawing/2014/main" id="{F98E5770-8909-4090-98AC-3795BD4D2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688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7" name="Freeform 219">
                <a:extLst>
                  <a:ext uri="{FF2B5EF4-FFF2-40B4-BE49-F238E27FC236}">
                    <a16:creationId xmlns:a16="http://schemas.microsoft.com/office/drawing/2014/main" id="{AF73E60F-A009-46CC-BE16-FB858EEE9B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754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8" name="Freeform 220">
                <a:extLst>
                  <a:ext uri="{FF2B5EF4-FFF2-40B4-BE49-F238E27FC236}">
                    <a16:creationId xmlns:a16="http://schemas.microsoft.com/office/drawing/2014/main" id="{22FFCE0F-DA32-46B5-8FE2-A9FD0FE9E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787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9" name="Freeform 221">
                <a:extLst>
                  <a:ext uri="{FF2B5EF4-FFF2-40B4-BE49-F238E27FC236}">
                    <a16:creationId xmlns:a16="http://schemas.microsoft.com/office/drawing/2014/main" id="{08895B25-F7E7-4CBD-83DC-EFC9B62FD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8886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0" name="Freeform 222">
                <a:extLst>
                  <a:ext uri="{FF2B5EF4-FFF2-40B4-BE49-F238E27FC236}">
                    <a16:creationId xmlns:a16="http://schemas.microsoft.com/office/drawing/2014/main" id="{B94EA428-81F0-42CD-9588-6CFAAFFE63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853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1" name="Freeform 223">
                <a:extLst>
                  <a:ext uri="{FF2B5EF4-FFF2-40B4-BE49-F238E27FC236}">
                    <a16:creationId xmlns:a16="http://schemas.microsoft.com/office/drawing/2014/main" id="{22A81FBB-B165-4C91-83A3-AD21329E0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6820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2" name="Freeform 224">
                <a:extLst>
                  <a:ext uri="{FF2B5EF4-FFF2-40B4-BE49-F238E27FC236}">
                    <a16:creationId xmlns:a16="http://schemas.microsoft.com/office/drawing/2014/main" id="{56A26282-9BC5-4829-BA03-45580CCB7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919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3" name="Freeform 225">
                <a:extLst>
                  <a:ext uri="{FF2B5EF4-FFF2-40B4-BE49-F238E27FC236}">
                    <a16:creationId xmlns:a16="http://schemas.microsoft.com/office/drawing/2014/main" id="{E67DCCED-2E69-409D-9F6F-89365E5B3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952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4" name="Freeform 221">
                <a:extLst>
                  <a:ext uri="{FF2B5EF4-FFF2-40B4-BE49-F238E27FC236}">
                    <a16:creationId xmlns:a16="http://schemas.microsoft.com/office/drawing/2014/main" id="{12635A0C-A5D7-4FD4-BD13-DB5139E9F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8226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5" name="Freeform 222">
                <a:extLst>
                  <a:ext uri="{FF2B5EF4-FFF2-40B4-BE49-F238E27FC236}">
                    <a16:creationId xmlns:a16="http://schemas.microsoft.com/office/drawing/2014/main" id="{CED27785-F6CC-4606-83F7-4CA62C7DFC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193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6" name="Freeform 223">
                <a:extLst>
                  <a:ext uri="{FF2B5EF4-FFF2-40B4-BE49-F238E27FC236}">
                    <a16:creationId xmlns:a16="http://schemas.microsoft.com/office/drawing/2014/main" id="{6A970AC9-BF92-4B60-A57F-D561493AB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160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7" name="Freeform 224">
                <a:extLst>
                  <a:ext uri="{FF2B5EF4-FFF2-40B4-BE49-F238E27FC236}">
                    <a16:creationId xmlns:a16="http://schemas.microsoft.com/office/drawing/2014/main" id="{EA43A5FC-D153-4337-9C75-FC433A086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259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8" name="Freeform 225">
                <a:extLst>
                  <a:ext uri="{FF2B5EF4-FFF2-40B4-BE49-F238E27FC236}">
                    <a16:creationId xmlns:a16="http://schemas.microsoft.com/office/drawing/2014/main" id="{B35B492C-3280-4300-B98D-63B3DAED7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292" y="2540075"/>
                <a:ext cx="0" cy="30163"/>
              </a:xfrm>
              <a:custGeom>
                <a:avLst/>
                <a:gdLst>
                  <a:gd name="T0" fmla="*/ 0 h 139"/>
                  <a:gd name="T1" fmla="*/ 0 h 139"/>
                  <a:gd name="T2" fmla="*/ 139 h 13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9">
                    <a:moveTo>
                      <a:pt x="0" y="0"/>
                    </a:moveTo>
                    <a:lnTo>
                      <a:pt x="0" y="0"/>
                    </a:lnTo>
                    <a:lnTo>
                      <a:pt x="0" y="139"/>
                    </a:lnTo>
                  </a:path>
                </a:pathLst>
              </a:custGeom>
              <a:noFill/>
              <a:ln w="9525" cap="flat">
                <a:solidFill>
                  <a:srgbClr val="00113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9" name="Line 22">
                <a:extLst>
                  <a:ext uri="{FF2B5EF4-FFF2-40B4-BE49-F238E27FC236}">
                    <a16:creationId xmlns:a16="http://schemas.microsoft.com/office/drawing/2014/main" id="{54B8EEEA-268A-4283-8A21-45B1237E79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14287" y="2555156"/>
                <a:ext cx="3879880" cy="0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Nokia Pure Text Light"/>
                  <a:ea typeface="ヒラギノ角ゴ Pro W3"/>
                </a:endParaRPr>
              </a:p>
            </p:txBody>
          </p:sp>
        </p:grpSp>
        <p:sp>
          <p:nvSpPr>
            <p:cNvPr id="128" name="Freeform 11">
              <a:extLst>
                <a:ext uri="{FF2B5EF4-FFF2-40B4-BE49-F238E27FC236}">
                  <a16:creationId xmlns:a16="http://schemas.microsoft.com/office/drawing/2014/main" id="{3321488D-E939-482F-BCF8-E621BE62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568" y="2194654"/>
              <a:ext cx="113948" cy="113948"/>
            </a:xfrm>
            <a:custGeom>
              <a:avLst/>
              <a:gdLst>
                <a:gd name="T0" fmla="*/ 475 w 555"/>
                <a:gd name="T1" fmla="*/ 0 h 555"/>
                <a:gd name="T2" fmla="*/ 475 w 555"/>
                <a:gd name="T3" fmla="*/ 0 h 555"/>
                <a:gd name="T4" fmla="*/ 401 w 555"/>
                <a:gd name="T5" fmla="*/ 0 h 555"/>
                <a:gd name="T6" fmla="*/ 401 w 555"/>
                <a:gd name="T7" fmla="*/ 38 h 555"/>
                <a:gd name="T8" fmla="*/ 154 w 555"/>
                <a:gd name="T9" fmla="*/ 38 h 555"/>
                <a:gd name="T10" fmla="*/ 154 w 555"/>
                <a:gd name="T11" fmla="*/ 0 h 555"/>
                <a:gd name="T12" fmla="*/ 80 w 555"/>
                <a:gd name="T13" fmla="*/ 0 h 555"/>
                <a:gd name="T14" fmla="*/ 0 w 555"/>
                <a:gd name="T15" fmla="*/ 80 h 555"/>
                <a:gd name="T16" fmla="*/ 0 w 555"/>
                <a:gd name="T17" fmla="*/ 474 h 555"/>
                <a:gd name="T18" fmla="*/ 80 w 555"/>
                <a:gd name="T19" fmla="*/ 555 h 555"/>
                <a:gd name="T20" fmla="*/ 475 w 555"/>
                <a:gd name="T21" fmla="*/ 555 h 555"/>
                <a:gd name="T22" fmla="*/ 555 w 555"/>
                <a:gd name="T23" fmla="*/ 474 h 555"/>
                <a:gd name="T24" fmla="*/ 555 w 555"/>
                <a:gd name="T25" fmla="*/ 80 h 555"/>
                <a:gd name="T26" fmla="*/ 475 w 555"/>
                <a:gd name="T27" fmla="*/ 0 h 555"/>
                <a:gd name="T28" fmla="*/ 475 w 555"/>
                <a:gd name="T29" fmla="*/ 0 h 555"/>
                <a:gd name="connsiteX0" fmla="*/ 8559 w 10000"/>
                <a:gd name="connsiteY0" fmla="*/ 0 h 10000"/>
                <a:gd name="connsiteX1" fmla="*/ 8559 w 10000"/>
                <a:gd name="connsiteY1" fmla="*/ 0 h 10000"/>
                <a:gd name="connsiteX2" fmla="*/ 7225 w 10000"/>
                <a:gd name="connsiteY2" fmla="*/ 0 h 10000"/>
                <a:gd name="connsiteX3" fmla="*/ 7225 w 10000"/>
                <a:gd name="connsiteY3" fmla="*/ 685 h 10000"/>
                <a:gd name="connsiteX4" fmla="*/ 2775 w 10000"/>
                <a:gd name="connsiteY4" fmla="*/ 685 h 10000"/>
                <a:gd name="connsiteX5" fmla="*/ 1441 w 10000"/>
                <a:gd name="connsiteY5" fmla="*/ 0 h 10000"/>
                <a:gd name="connsiteX6" fmla="*/ 0 w 10000"/>
                <a:gd name="connsiteY6" fmla="*/ 1441 h 10000"/>
                <a:gd name="connsiteX7" fmla="*/ 0 w 10000"/>
                <a:gd name="connsiteY7" fmla="*/ 8541 h 10000"/>
                <a:gd name="connsiteX8" fmla="*/ 1441 w 10000"/>
                <a:gd name="connsiteY8" fmla="*/ 10000 h 10000"/>
                <a:gd name="connsiteX9" fmla="*/ 8559 w 10000"/>
                <a:gd name="connsiteY9" fmla="*/ 10000 h 10000"/>
                <a:gd name="connsiteX10" fmla="*/ 10000 w 10000"/>
                <a:gd name="connsiteY10" fmla="*/ 8541 h 10000"/>
                <a:gd name="connsiteX11" fmla="*/ 10000 w 10000"/>
                <a:gd name="connsiteY11" fmla="*/ 1441 h 10000"/>
                <a:gd name="connsiteX12" fmla="*/ 8559 w 10000"/>
                <a:gd name="connsiteY12" fmla="*/ 0 h 10000"/>
                <a:gd name="connsiteX13" fmla="*/ 8559 w 10000"/>
                <a:gd name="connsiteY13" fmla="*/ 0 h 10000"/>
                <a:gd name="connsiteX0" fmla="*/ 8559 w 10000"/>
                <a:gd name="connsiteY0" fmla="*/ 0 h 10000"/>
                <a:gd name="connsiteX1" fmla="*/ 8559 w 10000"/>
                <a:gd name="connsiteY1" fmla="*/ 0 h 10000"/>
                <a:gd name="connsiteX2" fmla="*/ 7225 w 10000"/>
                <a:gd name="connsiteY2" fmla="*/ 0 h 10000"/>
                <a:gd name="connsiteX3" fmla="*/ 2775 w 10000"/>
                <a:gd name="connsiteY3" fmla="*/ 685 h 10000"/>
                <a:gd name="connsiteX4" fmla="*/ 1441 w 10000"/>
                <a:gd name="connsiteY4" fmla="*/ 0 h 10000"/>
                <a:gd name="connsiteX5" fmla="*/ 0 w 10000"/>
                <a:gd name="connsiteY5" fmla="*/ 1441 h 10000"/>
                <a:gd name="connsiteX6" fmla="*/ 0 w 10000"/>
                <a:gd name="connsiteY6" fmla="*/ 8541 h 10000"/>
                <a:gd name="connsiteX7" fmla="*/ 1441 w 10000"/>
                <a:gd name="connsiteY7" fmla="*/ 10000 h 10000"/>
                <a:gd name="connsiteX8" fmla="*/ 8559 w 10000"/>
                <a:gd name="connsiteY8" fmla="*/ 10000 h 10000"/>
                <a:gd name="connsiteX9" fmla="*/ 10000 w 10000"/>
                <a:gd name="connsiteY9" fmla="*/ 8541 h 10000"/>
                <a:gd name="connsiteX10" fmla="*/ 10000 w 10000"/>
                <a:gd name="connsiteY10" fmla="*/ 1441 h 10000"/>
                <a:gd name="connsiteX11" fmla="*/ 8559 w 10000"/>
                <a:gd name="connsiteY11" fmla="*/ 0 h 10000"/>
                <a:gd name="connsiteX12" fmla="*/ 8559 w 10000"/>
                <a:gd name="connsiteY12" fmla="*/ 0 h 10000"/>
                <a:gd name="connsiteX0" fmla="*/ 8559 w 10000"/>
                <a:gd name="connsiteY0" fmla="*/ 0 h 10000"/>
                <a:gd name="connsiteX1" fmla="*/ 8559 w 10000"/>
                <a:gd name="connsiteY1" fmla="*/ 0 h 10000"/>
                <a:gd name="connsiteX2" fmla="*/ 7225 w 10000"/>
                <a:gd name="connsiteY2" fmla="*/ 0 h 10000"/>
                <a:gd name="connsiteX3" fmla="*/ 1441 w 10000"/>
                <a:gd name="connsiteY3" fmla="*/ 0 h 10000"/>
                <a:gd name="connsiteX4" fmla="*/ 0 w 10000"/>
                <a:gd name="connsiteY4" fmla="*/ 1441 h 10000"/>
                <a:gd name="connsiteX5" fmla="*/ 0 w 10000"/>
                <a:gd name="connsiteY5" fmla="*/ 8541 h 10000"/>
                <a:gd name="connsiteX6" fmla="*/ 1441 w 10000"/>
                <a:gd name="connsiteY6" fmla="*/ 10000 h 10000"/>
                <a:gd name="connsiteX7" fmla="*/ 8559 w 10000"/>
                <a:gd name="connsiteY7" fmla="*/ 10000 h 10000"/>
                <a:gd name="connsiteX8" fmla="*/ 10000 w 10000"/>
                <a:gd name="connsiteY8" fmla="*/ 8541 h 10000"/>
                <a:gd name="connsiteX9" fmla="*/ 10000 w 10000"/>
                <a:gd name="connsiteY9" fmla="*/ 1441 h 10000"/>
                <a:gd name="connsiteX10" fmla="*/ 8559 w 10000"/>
                <a:gd name="connsiteY10" fmla="*/ 0 h 10000"/>
                <a:gd name="connsiteX11" fmla="*/ 8559 w 10000"/>
                <a:gd name="connsiteY11" fmla="*/ 0 h 10000"/>
                <a:gd name="connsiteX0" fmla="*/ 8559 w 10000"/>
                <a:gd name="connsiteY0" fmla="*/ 0 h 10000"/>
                <a:gd name="connsiteX1" fmla="*/ 8559 w 10000"/>
                <a:gd name="connsiteY1" fmla="*/ 0 h 10000"/>
                <a:gd name="connsiteX2" fmla="*/ 1441 w 10000"/>
                <a:gd name="connsiteY2" fmla="*/ 0 h 10000"/>
                <a:gd name="connsiteX3" fmla="*/ 0 w 10000"/>
                <a:gd name="connsiteY3" fmla="*/ 1441 h 10000"/>
                <a:gd name="connsiteX4" fmla="*/ 0 w 10000"/>
                <a:gd name="connsiteY4" fmla="*/ 8541 h 10000"/>
                <a:gd name="connsiteX5" fmla="*/ 1441 w 10000"/>
                <a:gd name="connsiteY5" fmla="*/ 10000 h 10000"/>
                <a:gd name="connsiteX6" fmla="*/ 8559 w 10000"/>
                <a:gd name="connsiteY6" fmla="*/ 10000 h 10000"/>
                <a:gd name="connsiteX7" fmla="*/ 10000 w 10000"/>
                <a:gd name="connsiteY7" fmla="*/ 8541 h 10000"/>
                <a:gd name="connsiteX8" fmla="*/ 10000 w 10000"/>
                <a:gd name="connsiteY8" fmla="*/ 1441 h 10000"/>
                <a:gd name="connsiteX9" fmla="*/ 8559 w 10000"/>
                <a:gd name="connsiteY9" fmla="*/ 0 h 10000"/>
                <a:gd name="connsiteX10" fmla="*/ 8559 w 10000"/>
                <a:gd name="connsiteY1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00" h="10000">
                  <a:moveTo>
                    <a:pt x="8559" y="0"/>
                  </a:moveTo>
                  <a:lnTo>
                    <a:pt x="8559" y="0"/>
                  </a:lnTo>
                  <a:lnTo>
                    <a:pt x="1441" y="0"/>
                  </a:lnTo>
                  <a:cubicBezTo>
                    <a:pt x="649" y="0"/>
                    <a:pt x="0" y="631"/>
                    <a:pt x="0" y="1441"/>
                  </a:cubicBezTo>
                  <a:lnTo>
                    <a:pt x="0" y="8541"/>
                  </a:lnTo>
                  <a:cubicBezTo>
                    <a:pt x="0" y="9351"/>
                    <a:pt x="649" y="10000"/>
                    <a:pt x="1441" y="10000"/>
                  </a:cubicBezTo>
                  <a:lnTo>
                    <a:pt x="8559" y="10000"/>
                  </a:lnTo>
                  <a:cubicBezTo>
                    <a:pt x="9351" y="10000"/>
                    <a:pt x="10000" y="9351"/>
                    <a:pt x="10000" y="8541"/>
                  </a:cubicBezTo>
                  <a:lnTo>
                    <a:pt x="10000" y="1441"/>
                  </a:lnTo>
                  <a:cubicBezTo>
                    <a:pt x="10000" y="631"/>
                    <a:pt x="9351" y="0"/>
                    <a:pt x="8559" y="0"/>
                  </a:cubicBezTo>
                  <a:lnTo>
                    <a:pt x="8559" y="0"/>
                  </a:lnTo>
                  <a:close/>
                </a:path>
              </a:pathLst>
            </a:custGeom>
            <a:noFill/>
            <a:ln w="9525" cap="flat">
              <a:solidFill>
                <a:srgbClr val="00CA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29" name="Freeform 133">
              <a:extLst>
                <a:ext uri="{FF2B5EF4-FFF2-40B4-BE49-F238E27FC236}">
                  <a16:creationId xmlns:a16="http://schemas.microsoft.com/office/drawing/2014/main" id="{DE19DF1E-6FF9-4ED7-BF28-CC649905B99B}"/>
                </a:ext>
              </a:extLst>
            </p:cNvPr>
            <p:cNvSpPr/>
            <p:nvPr/>
          </p:nvSpPr>
          <p:spPr>
            <a:xfrm flipH="1">
              <a:off x="3427143" y="1944257"/>
              <a:ext cx="226800" cy="252000"/>
            </a:xfrm>
            <a:custGeom>
              <a:avLst/>
              <a:gdLst>
                <a:gd name="connsiteX0" fmla="*/ 376237 w 376237"/>
                <a:gd name="connsiteY0" fmla="*/ 228600 h 228600"/>
                <a:gd name="connsiteX1" fmla="*/ 376237 w 376237"/>
                <a:gd name="connsiteY1" fmla="*/ 0 h 228600"/>
                <a:gd name="connsiteX2" fmla="*/ 0 w 376237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6237" h="228600">
                  <a:moveTo>
                    <a:pt x="376237" y="228600"/>
                  </a:moveTo>
                  <a:lnTo>
                    <a:pt x="376237" y="0"/>
                  </a:lnTo>
                  <a:lnTo>
                    <a:pt x="0" y="0"/>
                  </a:lnTo>
                </a:path>
              </a:pathLst>
            </a:custGeom>
            <a:ln w="95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Rectangle 103">
              <a:extLst>
                <a:ext uri="{FF2B5EF4-FFF2-40B4-BE49-F238E27FC236}">
                  <a16:creationId xmlns:a16="http://schemas.microsoft.com/office/drawing/2014/main" id="{B1964967-C2D1-44F0-B1C4-DC4CA2FE5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785" y="1949409"/>
              <a:ext cx="98451" cy="660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131" name="Rectangle 104">
              <a:extLst>
                <a:ext uri="{FF2B5EF4-FFF2-40B4-BE49-F238E27FC236}">
                  <a16:creationId xmlns:a16="http://schemas.microsoft.com/office/drawing/2014/main" id="{B75B6076-597A-48A4-A49C-E7CDF6DDED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4637" y="1949409"/>
              <a:ext cx="98451" cy="660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132" name="Rectangle 106">
              <a:extLst>
                <a:ext uri="{FF2B5EF4-FFF2-40B4-BE49-F238E27FC236}">
                  <a16:creationId xmlns:a16="http://schemas.microsoft.com/office/drawing/2014/main" id="{9E26352B-388D-4A0B-A27D-D92CCF7D64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0488" y="1949409"/>
              <a:ext cx="98451" cy="660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ヒラギノ角ゴ Pro W3"/>
              </a:endParaRPr>
            </a:p>
          </p:txBody>
        </p:sp>
        <p:sp>
          <p:nvSpPr>
            <p:cNvPr id="133" name="Freeform 9">
              <a:extLst>
                <a:ext uri="{FF2B5EF4-FFF2-40B4-BE49-F238E27FC236}">
                  <a16:creationId xmlns:a16="http://schemas.microsoft.com/office/drawing/2014/main" id="{29DB1EBA-7655-43CA-91C0-0CD9EE58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942" y="2109342"/>
              <a:ext cx="108000" cy="126532"/>
            </a:xfrm>
            <a:custGeom>
              <a:avLst/>
              <a:gdLst>
                <a:gd name="T0" fmla="*/ 419 w 612"/>
                <a:gd name="T1" fmla="*/ 707 h 707"/>
                <a:gd name="T2" fmla="*/ 419 w 612"/>
                <a:gd name="T3" fmla="*/ 707 h 707"/>
                <a:gd name="T4" fmla="*/ 193 w 612"/>
                <a:gd name="T5" fmla="*/ 707 h 707"/>
                <a:gd name="T6" fmla="*/ 0 w 612"/>
                <a:gd name="T7" fmla="*/ 514 h 707"/>
                <a:gd name="T8" fmla="*/ 0 w 612"/>
                <a:gd name="T9" fmla="*/ 194 h 707"/>
                <a:gd name="T10" fmla="*/ 193 w 612"/>
                <a:gd name="T11" fmla="*/ 0 h 707"/>
                <a:gd name="T12" fmla="*/ 419 w 612"/>
                <a:gd name="T13" fmla="*/ 0 h 707"/>
                <a:gd name="T14" fmla="*/ 612 w 612"/>
                <a:gd name="T15" fmla="*/ 194 h 707"/>
                <a:gd name="T16" fmla="*/ 612 w 612"/>
                <a:gd name="T17" fmla="*/ 514 h 707"/>
                <a:gd name="T18" fmla="*/ 419 w 612"/>
                <a:gd name="T19" fmla="*/ 707 h 707"/>
                <a:gd name="T20" fmla="*/ 419 w 612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2" h="707">
                  <a:moveTo>
                    <a:pt x="419" y="707"/>
                  </a:moveTo>
                  <a:lnTo>
                    <a:pt x="419" y="707"/>
                  </a:lnTo>
                  <a:lnTo>
                    <a:pt x="193" y="707"/>
                  </a:lnTo>
                  <a:cubicBezTo>
                    <a:pt x="87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7" y="0"/>
                    <a:pt x="193" y="0"/>
                  </a:cubicBezTo>
                  <a:lnTo>
                    <a:pt x="419" y="0"/>
                  </a:lnTo>
                  <a:cubicBezTo>
                    <a:pt x="525" y="0"/>
                    <a:pt x="612" y="87"/>
                    <a:pt x="612" y="194"/>
                  </a:cubicBezTo>
                  <a:lnTo>
                    <a:pt x="612" y="514"/>
                  </a:lnTo>
                  <a:cubicBezTo>
                    <a:pt x="612" y="621"/>
                    <a:pt x="525" y="707"/>
                    <a:pt x="419" y="707"/>
                  </a:cubicBezTo>
                  <a:lnTo>
                    <a:pt x="419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id="{9279657E-939F-4383-A7EE-F35FC1DC9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152" y="2109342"/>
              <a:ext cx="108000" cy="126532"/>
            </a:xfrm>
            <a:custGeom>
              <a:avLst/>
              <a:gdLst>
                <a:gd name="T0" fmla="*/ 419 w 612"/>
                <a:gd name="T1" fmla="*/ 707 h 707"/>
                <a:gd name="T2" fmla="*/ 419 w 612"/>
                <a:gd name="T3" fmla="*/ 707 h 707"/>
                <a:gd name="T4" fmla="*/ 193 w 612"/>
                <a:gd name="T5" fmla="*/ 707 h 707"/>
                <a:gd name="T6" fmla="*/ 0 w 612"/>
                <a:gd name="T7" fmla="*/ 514 h 707"/>
                <a:gd name="T8" fmla="*/ 0 w 612"/>
                <a:gd name="T9" fmla="*/ 194 h 707"/>
                <a:gd name="T10" fmla="*/ 193 w 612"/>
                <a:gd name="T11" fmla="*/ 0 h 707"/>
                <a:gd name="T12" fmla="*/ 419 w 612"/>
                <a:gd name="T13" fmla="*/ 0 h 707"/>
                <a:gd name="T14" fmla="*/ 612 w 612"/>
                <a:gd name="T15" fmla="*/ 194 h 707"/>
                <a:gd name="T16" fmla="*/ 612 w 612"/>
                <a:gd name="T17" fmla="*/ 514 h 707"/>
                <a:gd name="T18" fmla="*/ 419 w 612"/>
                <a:gd name="T19" fmla="*/ 707 h 707"/>
                <a:gd name="T20" fmla="*/ 419 w 612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2" h="707">
                  <a:moveTo>
                    <a:pt x="419" y="707"/>
                  </a:moveTo>
                  <a:lnTo>
                    <a:pt x="419" y="707"/>
                  </a:lnTo>
                  <a:lnTo>
                    <a:pt x="193" y="707"/>
                  </a:lnTo>
                  <a:cubicBezTo>
                    <a:pt x="87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7" y="0"/>
                    <a:pt x="193" y="0"/>
                  </a:cubicBezTo>
                  <a:lnTo>
                    <a:pt x="419" y="0"/>
                  </a:lnTo>
                  <a:cubicBezTo>
                    <a:pt x="525" y="0"/>
                    <a:pt x="612" y="87"/>
                    <a:pt x="612" y="194"/>
                  </a:cubicBezTo>
                  <a:lnTo>
                    <a:pt x="612" y="514"/>
                  </a:lnTo>
                  <a:cubicBezTo>
                    <a:pt x="612" y="621"/>
                    <a:pt x="525" y="707"/>
                    <a:pt x="419" y="707"/>
                  </a:cubicBezTo>
                  <a:lnTo>
                    <a:pt x="419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id="{DAACD0B3-16E6-4803-AA3D-4D4677299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362" y="2109342"/>
              <a:ext cx="108000" cy="126532"/>
            </a:xfrm>
            <a:custGeom>
              <a:avLst/>
              <a:gdLst>
                <a:gd name="T0" fmla="*/ 419 w 612"/>
                <a:gd name="T1" fmla="*/ 707 h 707"/>
                <a:gd name="T2" fmla="*/ 419 w 612"/>
                <a:gd name="T3" fmla="*/ 707 h 707"/>
                <a:gd name="T4" fmla="*/ 194 w 612"/>
                <a:gd name="T5" fmla="*/ 707 h 707"/>
                <a:gd name="T6" fmla="*/ 0 w 612"/>
                <a:gd name="T7" fmla="*/ 514 h 707"/>
                <a:gd name="T8" fmla="*/ 0 w 612"/>
                <a:gd name="T9" fmla="*/ 194 h 707"/>
                <a:gd name="T10" fmla="*/ 194 w 612"/>
                <a:gd name="T11" fmla="*/ 0 h 707"/>
                <a:gd name="T12" fmla="*/ 419 w 612"/>
                <a:gd name="T13" fmla="*/ 0 h 707"/>
                <a:gd name="T14" fmla="*/ 612 w 612"/>
                <a:gd name="T15" fmla="*/ 194 h 707"/>
                <a:gd name="T16" fmla="*/ 612 w 612"/>
                <a:gd name="T17" fmla="*/ 514 h 707"/>
                <a:gd name="T18" fmla="*/ 419 w 612"/>
                <a:gd name="T19" fmla="*/ 707 h 707"/>
                <a:gd name="T20" fmla="*/ 419 w 612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2" h="707">
                  <a:moveTo>
                    <a:pt x="419" y="707"/>
                  </a:moveTo>
                  <a:lnTo>
                    <a:pt x="419" y="707"/>
                  </a:lnTo>
                  <a:lnTo>
                    <a:pt x="194" y="707"/>
                  </a:lnTo>
                  <a:cubicBezTo>
                    <a:pt x="87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7" y="0"/>
                    <a:pt x="194" y="0"/>
                  </a:cubicBezTo>
                  <a:lnTo>
                    <a:pt x="419" y="0"/>
                  </a:lnTo>
                  <a:cubicBezTo>
                    <a:pt x="525" y="0"/>
                    <a:pt x="612" y="87"/>
                    <a:pt x="612" y="194"/>
                  </a:cubicBezTo>
                  <a:lnTo>
                    <a:pt x="612" y="514"/>
                  </a:lnTo>
                  <a:cubicBezTo>
                    <a:pt x="612" y="621"/>
                    <a:pt x="525" y="707"/>
                    <a:pt x="419" y="707"/>
                  </a:cubicBezTo>
                  <a:lnTo>
                    <a:pt x="419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6" name="Freeform 12">
              <a:extLst>
                <a:ext uri="{FF2B5EF4-FFF2-40B4-BE49-F238E27FC236}">
                  <a16:creationId xmlns:a16="http://schemas.microsoft.com/office/drawing/2014/main" id="{85A889B7-B1F9-4337-BCAA-F6BCD0E30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572" y="2109342"/>
              <a:ext cx="108000" cy="126532"/>
            </a:xfrm>
            <a:custGeom>
              <a:avLst/>
              <a:gdLst>
                <a:gd name="T0" fmla="*/ 418 w 612"/>
                <a:gd name="T1" fmla="*/ 707 h 707"/>
                <a:gd name="T2" fmla="*/ 418 w 612"/>
                <a:gd name="T3" fmla="*/ 707 h 707"/>
                <a:gd name="T4" fmla="*/ 193 w 612"/>
                <a:gd name="T5" fmla="*/ 707 h 707"/>
                <a:gd name="T6" fmla="*/ 0 w 612"/>
                <a:gd name="T7" fmla="*/ 514 h 707"/>
                <a:gd name="T8" fmla="*/ 0 w 612"/>
                <a:gd name="T9" fmla="*/ 194 h 707"/>
                <a:gd name="T10" fmla="*/ 193 w 612"/>
                <a:gd name="T11" fmla="*/ 0 h 707"/>
                <a:gd name="T12" fmla="*/ 418 w 612"/>
                <a:gd name="T13" fmla="*/ 0 h 707"/>
                <a:gd name="T14" fmla="*/ 612 w 612"/>
                <a:gd name="T15" fmla="*/ 194 h 707"/>
                <a:gd name="T16" fmla="*/ 612 w 612"/>
                <a:gd name="T17" fmla="*/ 514 h 707"/>
                <a:gd name="T18" fmla="*/ 418 w 612"/>
                <a:gd name="T19" fmla="*/ 707 h 707"/>
                <a:gd name="T20" fmla="*/ 418 w 612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2" h="707">
                  <a:moveTo>
                    <a:pt x="418" y="707"/>
                  </a:moveTo>
                  <a:lnTo>
                    <a:pt x="418" y="707"/>
                  </a:lnTo>
                  <a:lnTo>
                    <a:pt x="193" y="707"/>
                  </a:lnTo>
                  <a:cubicBezTo>
                    <a:pt x="87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7" y="0"/>
                    <a:pt x="193" y="0"/>
                  </a:cubicBezTo>
                  <a:lnTo>
                    <a:pt x="418" y="0"/>
                  </a:lnTo>
                  <a:cubicBezTo>
                    <a:pt x="525" y="0"/>
                    <a:pt x="612" y="87"/>
                    <a:pt x="612" y="194"/>
                  </a:cubicBezTo>
                  <a:lnTo>
                    <a:pt x="612" y="514"/>
                  </a:lnTo>
                  <a:cubicBezTo>
                    <a:pt x="612" y="621"/>
                    <a:pt x="525" y="707"/>
                    <a:pt x="418" y="707"/>
                  </a:cubicBezTo>
                  <a:lnTo>
                    <a:pt x="418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C33AA673-047D-4F7E-8875-F68082B9B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9732" y="2109342"/>
              <a:ext cx="108000" cy="126532"/>
            </a:xfrm>
            <a:custGeom>
              <a:avLst/>
              <a:gdLst>
                <a:gd name="T0" fmla="*/ 418 w 611"/>
                <a:gd name="T1" fmla="*/ 707 h 707"/>
                <a:gd name="T2" fmla="*/ 418 w 611"/>
                <a:gd name="T3" fmla="*/ 707 h 707"/>
                <a:gd name="T4" fmla="*/ 193 w 611"/>
                <a:gd name="T5" fmla="*/ 707 h 707"/>
                <a:gd name="T6" fmla="*/ 0 w 611"/>
                <a:gd name="T7" fmla="*/ 514 h 707"/>
                <a:gd name="T8" fmla="*/ 0 w 611"/>
                <a:gd name="T9" fmla="*/ 194 h 707"/>
                <a:gd name="T10" fmla="*/ 193 w 611"/>
                <a:gd name="T11" fmla="*/ 0 h 707"/>
                <a:gd name="T12" fmla="*/ 418 w 611"/>
                <a:gd name="T13" fmla="*/ 0 h 707"/>
                <a:gd name="T14" fmla="*/ 611 w 611"/>
                <a:gd name="T15" fmla="*/ 194 h 707"/>
                <a:gd name="T16" fmla="*/ 611 w 611"/>
                <a:gd name="T17" fmla="*/ 514 h 707"/>
                <a:gd name="T18" fmla="*/ 418 w 611"/>
                <a:gd name="T19" fmla="*/ 707 h 707"/>
                <a:gd name="T20" fmla="*/ 418 w 611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1" h="707">
                  <a:moveTo>
                    <a:pt x="418" y="707"/>
                  </a:moveTo>
                  <a:lnTo>
                    <a:pt x="418" y="707"/>
                  </a:lnTo>
                  <a:lnTo>
                    <a:pt x="193" y="707"/>
                  </a:lnTo>
                  <a:cubicBezTo>
                    <a:pt x="86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6" y="0"/>
                    <a:pt x="193" y="0"/>
                  </a:cubicBezTo>
                  <a:lnTo>
                    <a:pt x="418" y="0"/>
                  </a:lnTo>
                  <a:cubicBezTo>
                    <a:pt x="524" y="0"/>
                    <a:pt x="611" y="87"/>
                    <a:pt x="611" y="194"/>
                  </a:cubicBezTo>
                  <a:lnTo>
                    <a:pt x="611" y="514"/>
                  </a:lnTo>
                  <a:cubicBezTo>
                    <a:pt x="611" y="621"/>
                    <a:pt x="524" y="707"/>
                    <a:pt x="418" y="707"/>
                  </a:cubicBezTo>
                  <a:lnTo>
                    <a:pt x="418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38" name="Freeform 12">
              <a:extLst>
                <a:ext uri="{FF2B5EF4-FFF2-40B4-BE49-F238E27FC236}">
                  <a16:creationId xmlns:a16="http://schemas.microsoft.com/office/drawing/2014/main" id="{40220ADC-4199-4687-971D-CCFC961C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0784" y="2109342"/>
              <a:ext cx="108000" cy="126532"/>
            </a:xfrm>
            <a:custGeom>
              <a:avLst/>
              <a:gdLst>
                <a:gd name="T0" fmla="*/ 418 w 612"/>
                <a:gd name="T1" fmla="*/ 707 h 707"/>
                <a:gd name="T2" fmla="*/ 418 w 612"/>
                <a:gd name="T3" fmla="*/ 707 h 707"/>
                <a:gd name="T4" fmla="*/ 193 w 612"/>
                <a:gd name="T5" fmla="*/ 707 h 707"/>
                <a:gd name="T6" fmla="*/ 0 w 612"/>
                <a:gd name="T7" fmla="*/ 514 h 707"/>
                <a:gd name="T8" fmla="*/ 0 w 612"/>
                <a:gd name="T9" fmla="*/ 194 h 707"/>
                <a:gd name="T10" fmla="*/ 193 w 612"/>
                <a:gd name="T11" fmla="*/ 0 h 707"/>
                <a:gd name="T12" fmla="*/ 418 w 612"/>
                <a:gd name="T13" fmla="*/ 0 h 707"/>
                <a:gd name="T14" fmla="*/ 612 w 612"/>
                <a:gd name="T15" fmla="*/ 194 h 707"/>
                <a:gd name="T16" fmla="*/ 612 w 612"/>
                <a:gd name="T17" fmla="*/ 514 h 707"/>
                <a:gd name="T18" fmla="*/ 418 w 612"/>
                <a:gd name="T19" fmla="*/ 707 h 707"/>
                <a:gd name="T20" fmla="*/ 418 w 612"/>
                <a:gd name="T2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2" h="707">
                  <a:moveTo>
                    <a:pt x="418" y="707"/>
                  </a:moveTo>
                  <a:lnTo>
                    <a:pt x="418" y="707"/>
                  </a:lnTo>
                  <a:lnTo>
                    <a:pt x="193" y="707"/>
                  </a:lnTo>
                  <a:cubicBezTo>
                    <a:pt x="87" y="707"/>
                    <a:pt x="0" y="621"/>
                    <a:pt x="0" y="514"/>
                  </a:cubicBezTo>
                  <a:lnTo>
                    <a:pt x="0" y="194"/>
                  </a:lnTo>
                  <a:cubicBezTo>
                    <a:pt x="0" y="87"/>
                    <a:pt x="87" y="0"/>
                    <a:pt x="193" y="0"/>
                  </a:cubicBezTo>
                  <a:lnTo>
                    <a:pt x="418" y="0"/>
                  </a:lnTo>
                  <a:cubicBezTo>
                    <a:pt x="525" y="0"/>
                    <a:pt x="612" y="87"/>
                    <a:pt x="612" y="194"/>
                  </a:cubicBezTo>
                  <a:lnTo>
                    <a:pt x="612" y="514"/>
                  </a:lnTo>
                  <a:cubicBezTo>
                    <a:pt x="612" y="621"/>
                    <a:pt x="525" y="707"/>
                    <a:pt x="418" y="707"/>
                  </a:cubicBezTo>
                  <a:lnTo>
                    <a:pt x="418" y="707"/>
                  </a:lnTo>
                  <a:close/>
                </a:path>
              </a:pathLst>
            </a:custGeom>
            <a:noFill/>
            <a:ln w="9525" cap="flat">
              <a:solidFill>
                <a:srgbClr val="98A2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39" name="Gruppieren 100">
              <a:extLst>
                <a:ext uri="{FF2B5EF4-FFF2-40B4-BE49-F238E27FC236}">
                  <a16:creationId xmlns:a16="http://schemas.microsoft.com/office/drawing/2014/main" id="{C0807B14-A7F0-432B-9B3A-5AFE8F9DA4BA}"/>
                </a:ext>
              </a:extLst>
            </p:cNvPr>
            <p:cNvGrpSpPr/>
            <p:nvPr/>
          </p:nvGrpSpPr>
          <p:grpSpPr>
            <a:xfrm>
              <a:off x="4152953" y="2100336"/>
              <a:ext cx="1983792" cy="356502"/>
              <a:chOff x="4055015" y="2825819"/>
              <a:chExt cx="3989547" cy="716950"/>
            </a:xfrm>
          </p:grpSpPr>
          <p:grpSp>
            <p:nvGrpSpPr>
              <p:cNvPr id="140" name="Gruppieren 101">
                <a:extLst>
                  <a:ext uri="{FF2B5EF4-FFF2-40B4-BE49-F238E27FC236}">
                    <a16:creationId xmlns:a16="http://schemas.microsoft.com/office/drawing/2014/main" id="{3F943B80-FC25-4A33-86B2-98CE2EB66A3D}"/>
                  </a:ext>
                </a:extLst>
              </p:cNvPr>
              <p:cNvGrpSpPr/>
              <p:nvPr/>
            </p:nvGrpSpPr>
            <p:grpSpPr>
              <a:xfrm>
                <a:off x="4055015" y="2825819"/>
                <a:ext cx="464681" cy="716941"/>
                <a:chOff x="4055015" y="2825819"/>
                <a:chExt cx="464681" cy="716941"/>
              </a:xfrm>
            </p:grpSpPr>
            <p:sp>
              <p:nvSpPr>
                <p:cNvPr id="282" name="Freeform 13">
                  <a:extLst>
                    <a:ext uri="{FF2B5EF4-FFF2-40B4-BE49-F238E27FC236}">
                      <a16:creationId xmlns:a16="http://schemas.microsoft.com/office/drawing/2014/main" id="{0DE87860-5BC4-4478-918D-3F5362F5CE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3652" y="2905479"/>
                  <a:ext cx="146044" cy="419542"/>
                </a:xfrm>
                <a:custGeom>
                  <a:avLst/>
                  <a:gdLst>
                    <a:gd name="T0" fmla="*/ 386 w 388"/>
                    <a:gd name="T1" fmla="*/ 93 h 1105"/>
                    <a:gd name="T2" fmla="*/ 386 w 388"/>
                    <a:gd name="T3" fmla="*/ 93 h 1105"/>
                    <a:gd name="T4" fmla="*/ 291 w 388"/>
                    <a:gd name="T5" fmla="*/ 0 h 1105"/>
                    <a:gd name="T6" fmla="*/ 289 w 388"/>
                    <a:gd name="T7" fmla="*/ 0 h 1105"/>
                    <a:gd name="T8" fmla="*/ 177 w 388"/>
                    <a:gd name="T9" fmla="*/ 86 h 1105"/>
                    <a:gd name="T10" fmla="*/ 177 w 388"/>
                    <a:gd name="T11" fmla="*/ 293 h 1105"/>
                    <a:gd name="T12" fmla="*/ 13 w 388"/>
                    <a:gd name="T13" fmla="*/ 968 h 1105"/>
                    <a:gd name="T14" fmla="*/ 90 w 388"/>
                    <a:gd name="T15" fmla="*/ 1091 h 1105"/>
                    <a:gd name="T16" fmla="*/ 215 w 388"/>
                    <a:gd name="T17" fmla="*/ 1018 h 1105"/>
                    <a:gd name="T18" fmla="*/ 386 w 388"/>
                    <a:gd name="T19" fmla="*/ 333 h 1105"/>
                    <a:gd name="T20" fmla="*/ 386 w 388"/>
                    <a:gd name="T21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8" h="1105">
                      <a:moveTo>
                        <a:pt x="386" y="93"/>
                      </a:moveTo>
                      <a:lnTo>
                        <a:pt x="386" y="93"/>
                      </a:lnTo>
                      <a:cubicBezTo>
                        <a:pt x="386" y="37"/>
                        <a:pt x="347" y="0"/>
                        <a:pt x="291" y="0"/>
                      </a:cubicBezTo>
                      <a:lnTo>
                        <a:pt x="289" y="0"/>
                      </a:lnTo>
                      <a:cubicBezTo>
                        <a:pt x="233" y="0"/>
                        <a:pt x="177" y="31"/>
                        <a:pt x="177" y="86"/>
                      </a:cubicBezTo>
                      <a:lnTo>
                        <a:pt x="177" y="293"/>
                      </a:lnTo>
                      <a:lnTo>
                        <a:pt x="13" y="968"/>
                      </a:lnTo>
                      <a:cubicBezTo>
                        <a:pt x="0" y="1022"/>
                        <a:pt x="36" y="1077"/>
                        <a:pt x="90" y="1091"/>
                      </a:cubicBezTo>
                      <a:cubicBezTo>
                        <a:pt x="144" y="1105"/>
                        <a:pt x="202" y="1072"/>
                        <a:pt x="215" y="1018"/>
                      </a:cubicBezTo>
                      <a:cubicBezTo>
                        <a:pt x="215" y="1018"/>
                        <a:pt x="386" y="334"/>
                        <a:pt x="386" y="333"/>
                      </a:cubicBezTo>
                      <a:cubicBezTo>
                        <a:pt x="388" y="325"/>
                        <a:pt x="386" y="93"/>
                        <a:pt x="386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Freeform 14">
                  <a:extLst>
                    <a:ext uri="{FF2B5EF4-FFF2-40B4-BE49-F238E27FC236}">
                      <a16:creationId xmlns:a16="http://schemas.microsoft.com/office/drawing/2014/main" id="{6CD68016-0284-49E2-99F7-5D6EE0FA38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3652" y="2905479"/>
                  <a:ext cx="146044" cy="419542"/>
                </a:xfrm>
                <a:custGeom>
                  <a:avLst/>
                  <a:gdLst>
                    <a:gd name="T0" fmla="*/ 386 w 388"/>
                    <a:gd name="T1" fmla="*/ 93 h 1105"/>
                    <a:gd name="T2" fmla="*/ 386 w 388"/>
                    <a:gd name="T3" fmla="*/ 93 h 1105"/>
                    <a:gd name="T4" fmla="*/ 291 w 388"/>
                    <a:gd name="T5" fmla="*/ 0 h 1105"/>
                    <a:gd name="T6" fmla="*/ 289 w 388"/>
                    <a:gd name="T7" fmla="*/ 0 h 1105"/>
                    <a:gd name="T8" fmla="*/ 177 w 388"/>
                    <a:gd name="T9" fmla="*/ 86 h 1105"/>
                    <a:gd name="T10" fmla="*/ 177 w 388"/>
                    <a:gd name="T11" fmla="*/ 293 h 1105"/>
                    <a:gd name="T12" fmla="*/ 13 w 388"/>
                    <a:gd name="T13" fmla="*/ 968 h 1105"/>
                    <a:gd name="T14" fmla="*/ 90 w 388"/>
                    <a:gd name="T15" fmla="*/ 1091 h 1105"/>
                    <a:gd name="T16" fmla="*/ 215 w 388"/>
                    <a:gd name="T17" fmla="*/ 1018 h 1105"/>
                    <a:gd name="T18" fmla="*/ 386 w 388"/>
                    <a:gd name="T19" fmla="*/ 333 h 1105"/>
                    <a:gd name="T20" fmla="*/ 386 w 388"/>
                    <a:gd name="T21" fmla="*/ 93 h 1105"/>
                    <a:gd name="T22" fmla="*/ 386 w 388"/>
                    <a:gd name="T23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8" h="1105">
                      <a:moveTo>
                        <a:pt x="386" y="93"/>
                      </a:moveTo>
                      <a:lnTo>
                        <a:pt x="386" y="93"/>
                      </a:lnTo>
                      <a:cubicBezTo>
                        <a:pt x="386" y="37"/>
                        <a:pt x="347" y="0"/>
                        <a:pt x="291" y="0"/>
                      </a:cubicBezTo>
                      <a:lnTo>
                        <a:pt x="289" y="0"/>
                      </a:lnTo>
                      <a:cubicBezTo>
                        <a:pt x="233" y="0"/>
                        <a:pt x="177" y="31"/>
                        <a:pt x="177" y="86"/>
                      </a:cubicBezTo>
                      <a:lnTo>
                        <a:pt x="177" y="293"/>
                      </a:lnTo>
                      <a:lnTo>
                        <a:pt x="13" y="968"/>
                      </a:lnTo>
                      <a:cubicBezTo>
                        <a:pt x="0" y="1022"/>
                        <a:pt x="36" y="1077"/>
                        <a:pt x="90" y="1091"/>
                      </a:cubicBezTo>
                      <a:cubicBezTo>
                        <a:pt x="144" y="1105"/>
                        <a:pt x="202" y="1072"/>
                        <a:pt x="215" y="1018"/>
                      </a:cubicBezTo>
                      <a:cubicBezTo>
                        <a:pt x="215" y="1018"/>
                        <a:pt x="386" y="334"/>
                        <a:pt x="386" y="333"/>
                      </a:cubicBezTo>
                      <a:cubicBezTo>
                        <a:pt x="388" y="325"/>
                        <a:pt x="386" y="93"/>
                        <a:pt x="386" y="93"/>
                      </a:cubicBezTo>
                      <a:lnTo>
                        <a:pt x="386" y="9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Freeform 15">
                  <a:extLst>
                    <a:ext uri="{FF2B5EF4-FFF2-40B4-BE49-F238E27FC236}">
                      <a16:creationId xmlns:a16="http://schemas.microsoft.com/office/drawing/2014/main" id="{B302D5D7-2640-470B-9DF2-1352D0E29F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4052" y="3319711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2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2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Freeform 16">
                  <a:extLst>
                    <a:ext uri="{FF2B5EF4-FFF2-40B4-BE49-F238E27FC236}">
                      <a16:creationId xmlns:a16="http://schemas.microsoft.com/office/drawing/2014/main" id="{5862C995-2FF0-45D1-BD04-13FD6B04D1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4052" y="3319711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  <a:gd name="T20" fmla="*/ 837 w 887"/>
                    <a:gd name="T21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2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2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Freeform 17">
                  <a:extLst>
                    <a:ext uri="{FF2B5EF4-FFF2-40B4-BE49-F238E27FC236}">
                      <a16:creationId xmlns:a16="http://schemas.microsoft.com/office/drawing/2014/main" id="{1A1B3BAA-42B1-4661-86B4-FE67B0E601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4052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Freeform 18">
                  <a:extLst>
                    <a:ext uri="{FF2B5EF4-FFF2-40B4-BE49-F238E27FC236}">
                      <a16:creationId xmlns:a16="http://schemas.microsoft.com/office/drawing/2014/main" id="{9692EF9B-E8AD-4AED-ADA0-CA52AF6C96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4052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Freeform 19">
                  <a:extLst>
                    <a:ext uri="{FF2B5EF4-FFF2-40B4-BE49-F238E27FC236}">
                      <a16:creationId xmlns:a16="http://schemas.microsoft.com/office/drawing/2014/main" id="{15468D61-23F5-4B08-A9F9-921EC4478A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4052" y="3388749"/>
                  <a:ext cx="345193" cy="0"/>
                </a:xfrm>
                <a:custGeom>
                  <a:avLst/>
                  <a:gdLst>
                    <a:gd name="T0" fmla="*/ 0 w 911"/>
                    <a:gd name="T1" fmla="*/ 0 w 911"/>
                    <a:gd name="T2" fmla="*/ 911 w 9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1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Freeform 20">
                  <a:extLst>
                    <a:ext uri="{FF2B5EF4-FFF2-40B4-BE49-F238E27FC236}">
                      <a16:creationId xmlns:a16="http://schemas.microsoft.com/office/drawing/2014/main" id="{50B613C4-B9BD-4C73-A8E8-1FD605135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6536" y="3285193"/>
                  <a:ext cx="305362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21">
                  <a:extLst>
                    <a:ext uri="{FF2B5EF4-FFF2-40B4-BE49-F238E27FC236}">
                      <a16:creationId xmlns:a16="http://schemas.microsoft.com/office/drawing/2014/main" id="{701E1094-551D-4698-9C93-DD1EE27F89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6536" y="3285193"/>
                  <a:ext cx="305362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Freeform 22">
                  <a:extLst>
                    <a:ext uri="{FF2B5EF4-FFF2-40B4-BE49-F238E27FC236}">
                      <a16:creationId xmlns:a16="http://schemas.microsoft.com/office/drawing/2014/main" id="{A76080E3-1812-46CD-A454-9202C9599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3259" y="3245363"/>
                  <a:ext cx="318639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Freeform 23">
                  <a:extLst>
                    <a:ext uri="{FF2B5EF4-FFF2-40B4-BE49-F238E27FC236}">
                      <a16:creationId xmlns:a16="http://schemas.microsoft.com/office/drawing/2014/main" id="{68FB5B7B-6EFD-491E-A00E-D0A1147C0A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3259" y="3245363"/>
                  <a:ext cx="318639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Freeform 24">
                  <a:extLst>
                    <a:ext uri="{FF2B5EF4-FFF2-40B4-BE49-F238E27FC236}">
                      <a16:creationId xmlns:a16="http://schemas.microsoft.com/office/drawing/2014/main" id="{83EA1EFF-60F4-4C56-B634-36C4EDF276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3259" y="3285193"/>
                  <a:ext cx="318639" cy="0"/>
                </a:xfrm>
                <a:custGeom>
                  <a:avLst/>
                  <a:gdLst>
                    <a:gd name="T0" fmla="*/ 0 w 840"/>
                    <a:gd name="T1" fmla="*/ 0 w 840"/>
                    <a:gd name="T2" fmla="*/ 840 w 84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Freeform 25">
                  <a:extLst>
                    <a:ext uri="{FF2B5EF4-FFF2-40B4-BE49-F238E27FC236}">
                      <a16:creationId xmlns:a16="http://schemas.microsoft.com/office/drawing/2014/main" id="{33FC5A5D-A07D-4038-9C98-AF7EF950B9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3543" y="3428581"/>
                  <a:ext cx="172597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Freeform 26">
                  <a:extLst>
                    <a:ext uri="{FF2B5EF4-FFF2-40B4-BE49-F238E27FC236}">
                      <a16:creationId xmlns:a16="http://schemas.microsoft.com/office/drawing/2014/main" id="{FD0710EF-E2C7-45D3-AEDD-14A2EF9177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3543" y="3428581"/>
                  <a:ext cx="172597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  <a:gd name="T12" fmla="*/ 450 w 450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 79">
                  <a:extLst>
                    <a:ext uri="{FF2B5EF4-FFF2-40B4-BE49-F238E27FC236}">
                      <a16:creationId xmlns:a16="http://schemas.microsoft.com/office/drawing/2014/main" id="{6239FAFA-927B-4B55-9FA8-ABC5B7F30A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55015" y="2825819"/>
                  <a:ext cx="382367" cy="714283"/>
                </a:xfrm>
                <a:custGeom>
                  <a:avLst/>
                  <a:gdLst>
                    <a:gd name="T0" fmla="*/ 313 w 1007"/>
                    <a:gd name="T1" fmla="*/ 368 h 1879"/>
                    <a:gd name="T2" fmla="*/ 313 w 1007"/>
                    <a:gd name="T3" fmla="*/ 368 h 1879"/>
                    <a:gd name="T4" fmla="*/ 313 w 1007"/>
                    <a:gd name="T5" fmla="*/ 368 h 1879"/>
                    <a:gd name="T6" fmla="*/ 50 w 1007"/>
                    <a:gd name="T7" fmla="*/ 740 h 1879"/>
                    <a:gd name="T8" fmla="*/ 40 w 1007"/>
                    <a:gd name="T9" fmla="*/ 787 h 1879"/>
                    <a:gd name="T10" fmla="*/ 12 w 1007"/>
                    <a:gd name="T11" fmla="*/ 1024 h 1879"/>
                    <a:gd name="T12" fmla="*/ 162 w 1007"/>
                    <a:gd name="T13" fmla="*/ 1042 h 1879"/>
                    <a:gd name="T14" fmla="*/ 190 w 1007"/>
                    <a:gd name="T15" fmla="*/ 799 h 1879"/>
                    <a:gd name="T16" fmla="*/ 199 w 1007"/>
                    <a:gd name="T17" fmla="*/ 783 h 1879"/>
                    <a:gd name="T18" fmla="*/ 225 w 1007"/>
                    <a:gd name="T19" fmla="*/ 1071 h 1879"/>
                    <a:gd name="T20" fmla="*/ 226 w 1007"/>
                    <a:gd name="T21" fmla="*/ 1081 h 1879"/>
                    <a:gd name="T22" fmla="*/ 99 w 1007"/>
                    <a:gd name="T23" fmla="*/ 1777 h 1879"/>
                    <a:gd name="T24" fmla="*/ 166 w 1007"/>
                    <a:gd name="T25" fmla="*/ 1878 h 1879"/>
                    <a:gd name="T26" fmla="*/ 183 w 1007"/>
                    <a:gd name="T27" fmla="*/ 1879 h 1879"/>
                    <a:gd name="T28" fmla="*/ 183 w 1007"/>
                    <a:gd name="T29" fmla="*/ 1879 h 1879"/>
                    <a:gd name="T30" fmla="*/ 356 w 1007"/>
                    <a:gd name="T31" fmla="*/ 1879 h 1879"/>
                    <a:gd name="T32" fmla="*/ 356 w 1007"/>
                    <a:gd name="T33" fmla="*/ 1778 h 1879"/>
                    <a:gd name="T34" fmla="*/ 273 w 1007"/>
                    <a:gd name="T35" fmla="*/ 1778 h 1879"/>
                    <a:gd name="T36" fmla="*/ 370 w 1007"/>
                    <a:gd name="T37" fmla="*/ 1246 h 1879"/>
                    <a:gd name="T38" fmla="*/ 689 w 1007"/>
                    <a:gd name="T39" fmla="*/ 1726 h 1879"/>
                    <a:gd name="T40" fmla="*/ 800 w 1007"/>
                    <a:gd name="T41" fmla="*/ 1755 h 1879"/>
                    <a:gd name="T42" fmla="*/ 800 w 1007"/>
                    <a:gd name="T43" fmla="*/ 1755 h 1879"/>
                    <a:gd name="T44" fmla="*/ 808 w 1007"/>
                    <a:gd name="T45" fmla="*/ 1750 h 1879"/>
                    <a:gd name="T46" fmla="*/ 950 w 1007"/>
                    <a:gd name="T47" fmla="*/ 1668 h 1879"/>
                    <a:gd name="T48" fmla="*/ 899 w 1007"/>
                    <a:gd name="T49" fmla="*/ 1580 h 1879"/>
                    <a:gd name="T50" fmla="*/ 827 w 1007"/>
                    <a:gd name="T51" fmla="*/ 1622 h 1879"/>
                    <a:gd name="T52" fmla="*/ 460 w 1007"/>
                    <a:gd name="T53" fmla="*/ 1072 h 1879"/>
                    <a:gd name="T54" fmla="*/ 462 w 1007"/>
                    <a:gd name="T55" fmla="*/ 1055 h 1879"/>
                    <a:gd name="T56" fmla="*/ 483 w 1007"/>
                    <a:gd name="T57" fmla="*/ 821 h 1879"/>
                    <a:gd name="T58" fmla="*/ 510 w 1007"/>
                    <a:gd name="T59" fmla="*/ 840 h 1879"/>
                    <a:gd name="T60" fmla="*/ 708 w 1007"/>
                    <a:gd name="T61" fmla="*/ 972 h 1879"/>
                    <a:gd name="T62" fmla="*/ 792 w 1007"/>
                    <a:gd name="T63" fmla="*/ 848 h 1879"/>
                    <a:gd name="T64" fmla="*/ 589 w 1007"/>
                    <a:gd name="T65" fmla="*/ 711 h 1879"/>
                    <a:gd name="T66" fmla="*/ 504 w 1007"/>
                    <a:gd name="T67" fmla="*/ 582 h 1879"/>
                    <a:gd name="T68" fmla="*/ 313 w 1007"/>
                    <a:gd name="T69" fmla="*/ 368 h 1879"/>
                    <a:gd name="T70" fmla="*/ 420 w 1007"/>
                    <a:gd name="T71" fmla="*/ 31 h 1879"/>
                    <a:gd name="T72" fmla="*/ 420 w 1007"/>
                    <a:gd name="T73" fmla="*/ 31 h 1879"/>
                    <a:gd name="T74" fmla="*/ 518 w 1007"/>
                    <a:gd name="T75" fmla="*/ 244 h 1879"/>
                    <a:gd name="T76" fmla="*/ 305 w 1007"/>
                    <a:gd name="T77" fmla="*/ 342 h 1879"/>
                    <a:gd name="T78" fmla="*/ 207 w 1007"/>
                    <a:gd name="T79" fmla="*/ 129 h 1879"/>
                    <a:gd name="T80" fmla="*/ 420 w 1007"/>
                    <a:gd name="T81" fmla="*/ 31 h 18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07" h="1879">
                      <a:moveTo>
                        <a:pt x="313" y="368"/>
                      </a:moveTo>
                      <a:lnTo>
                        <a:pt x="313" y="368"/>
                      </a:lnTo>
                      <a:lnTo>
                        <a:pt x="313" y="368"/>
                      </a:lnTo>
                      <a:cubicBezTo>
                        <a:pt x="204" y="300"/>
                        <a:pt x="86" y="669"/>
                        <a:pt x="50" y="740"/>
                      </a:cubicBezTo>
                      <a:cubicBezTo>
                        <a:pt x="41" y="757"/>
                        <a:pt x="38" y="773"/>
                        <a:pt x="40" y="787"/>
                      </a:cubicBezTo>
                      <a:lnTo>
                        <a:pt x="12" y="1024"/>
                      </a:lnTo>
                      <a:cubicBezTo>
                        <a:pt x="0" y="1122"/>
                        <a:pt x="150" y="1140"/>
                        <a:pt x="162" y="1042"/>
                      </a:cubicBezTo>
                      <a:lnTo>
                        <a:pt x="190" y="799"/>
                      </a:lnTo>
                      <a:lnTo>
                        <a:pt x="199" y="783"/>
                      </a:lnTo>
                      <a:lnTo>
                        <a:pt x="225" y="1071"/>
                      </a:lnTo>
                      <a:cubicBezTo>
                        <a:pt x="225" y="1075"/>
                        <a:pt x="225" y="1078"/>
                        <a:pt x="226" y="1081"/>
                      </a:cubicBezTo>
                      <a:lnTo>
                        <a:pt x="99" y="1777"/>
                      </a:lnTo>
                      <a:cubicBezTo>
                        <a:pt x="89" y="1823"/>
                        <a:pt x="120" y="1868"/>
                        <a:pt x="166" y="1878"/>
                      </a:cubicBezTo>
                      <a:cubicBezTo>
                        <a:pt x="172" y="1879"/>
                        <a:pt x="177" y="1879"/>
                        <a:pt x="183" y="1879"/>
                      </a:cubicBezTo>
                      <a:lnTo>
                        <a:pt x="183" y="1879"/>
                      </a:lnTo>
                      <a:lnTo>
                        <a:pt x="356" y="1879"/>
                      </a:lnTo>
                      <a:cubicBezTo>
                        <a:pt x="423" y="1879"/>
                        <a:pt x="423" y="1778"/>
                        <a:pt x="356" y="1778"/>
                      </a:cubicBezTo>
                      <a:lnTo>
                        <a:pt x="273" y="1778"/>
                      </a:lnTo>
                      <a:lnTo>
                        <a:pt x="370" y="1246"/>
                      </a:lnTo>
                      <a:lnTo>
                        <a:pt x="689" y="1726"/>
                      </a:lnTo>
                      <a:cubicBezTo>
                        <a:pt x="714" y="1763"/>
                        <a:pt x="761" y="1774"/>
                        <a:pt x="800" y="1755"/>
                      </a:cubicBezTo>
                      <a:lnTo>
                        <a:pt x="800" y="1755"/>
                      </a:lnTo>
                      <a:cubicBezTo>
                        <a:pt x="803" y="1753"/>
                        <a:pt x="805" y="1752"/>
                        <a:pt x="808" y="1750"/>
                      </a:cubicBezTo>
                      <a:lnTo>
                        <a:pt x="950" y="1668"/>
                      </a:lnTo>
                      <a:cubicBezTo>
                        <a:pt x="1007" y="1634"/>
                        <a:pt x="957" y="1547"/>
                        <a:pt x="899" y="1580"/>
                      </a:cubicBezTo>
                      <a:lnTo>
                        <a:pt x="827" y="1622"/>
                      </a:lnTo>
                      <a:lnTo>
                        <a:pt x="460" y="1072"/>
                      </a:lnTo>
                      <a:cubicBezTo>
                        <a:pt x="461" y="1067"/>
                        <a:pt x="462" y="1061"/>
                        <a:pt x="462" y="1055"/>
                      </a:cubicBezTo>
                      <a:lnTo>
                        <a:pt x="483" y="821"/>
                      </a:lnTo>
                      <a:cubicBezTo>
                        <a:pt x="491" y="830"/>
                        <a:pt x="500" y="836"/>
                        <a:pt x="510" y="840"/>
                      </a:cubicBezTo>
                      <a:lnTo>
                        <a:pt x="708" y="972"/>
                      </a:lnTo>
                      <a:cubicBezTo>
                        <a:pt x="791" y="1028"/>
                        <a:pt x="874" y="903"/>
                        <a:pt x="792" y="848"/>
                      </a:cubicBezTo>
                      <a:lnTo>
                        <a:pt x="589" y="711"/>
                      </a:lnTo>
                      <a:lnTo>
                        <a:pt x="504" y="582"/>
                      </a:lnTo>
                      <a:cubicBezTo>
                        <a:pt x="452" y="453"/>
                        <a:pt x="402" y="424"/>
                        <a:pt x="313" y="368"/>
                      </a:cubicBezTo>
                      <a:close/>
                      <a:moveTo>
                        <a:pt x="420" y="31"/>
                      </a:moveTo>
                      <a:lnTo>
                        <a:pt x="420" y="31"/>
                      </a:lnTo>
                      <a:cubicBezTo>
                        <a:pt x="505" y="63"/>
                        <a:pt x="549" y="158"/>
                        <a:pt x="518" y="244"/>
                      </a:cubicBezTo>
                      <a:cubicBezTo>
                        <a:pt x="486" y="330"/>
                        <a:pt x="391" y="374"/>
                        <a:pt x="305" y="342"/>
                      </a:cubicBezTo>
                      <a:cubicBezTo>
                        <a:pt x="219" y="311"/>
                        <a:pt x="175" y="215"/>
                        <a:pt x="207" y="129"/>
                      </a:cubicBezTo>
                      <a:cubicBezTo>
                        <a:pt x="238" y="44"/>
                        <a:pt x="334" y="0"/>
                        <a:pt x="420" y="3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eform 80">
                  <a:extLst>
                    <a:ext uri="{FF2B5EF4-FFF2-40B4-BE49-F238E27FC236}">
                      <a16:creationId xmlns:a16="http://schemas.microsoft.com/office/drawing/2014/main" id="{44FABF35-5F7F-4D9A-A6A2-160A806931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55017" y="2825819"/>
                  <a:ext cx="382367" cy="714283"/>
                </a:xfrm>
                <a:custGeom>
                  <a:avLst/>
                  <a:gdLst>
                    <a:gd name="T0" fmla="*/ 313 w 1007"/>
                    <a:gd name="T1" fmla="*/ 368 h 1879"/>
                    <a:gd name="T2" fmla="*/ 313 w 1007"/>
                    <a:gd name="T3" fmla="*/ 368 h 1879"/>
                    <a:gd name="T4" fmla="*/ 313 w 1007"/>
                    <a:gd name="T5" fmla="*/ 368 h 1879"/>
                    <a:gd name="T6" fmla="*/ 50 w 1007"/>
                    <a:gd name="T7" fmla="*/ 740 h 1879"/>
                    <a:gd name="T8" fmla="*/ 40 w 1007"/>
                    <a:gd name="T9" fmla="*/ 787 h 1879"/>
                    <a:gd name="T10" fmla="*/ 12 w 1007"/>
                    <a:gd name="T11" fmla="*/ 1024 h 1879"/>
                    <a:gd name="T12" fmla="*/ 162 w 1007"/>
                    <a:gd name="T13" fmla="*/ 1042 h 1879"/>
                    <a:gd name="T14" fmla="*/ 190 w 1007"/>
                    <a:gd name="T15" fmla="*/ 799 h 1879"/>
                    <a:gd name="T16" fmla="*/ 199 w 1007"/>
                    <a:gd name="T17" fmla="*/ 783 h 1879"/>
                    <a:gd name="T18" fmla="*/ 225 w 1007"/>
                    <a:gd name="T19" fmla="*/ 1071 h 1879"/>
                    <a:gd name="T20" fmla="*/ 226 w 1007"/>
                    <a:gd name="T21" fmla="*/ 1081 h 1879"/>
                    <a:gd name="T22" fmla="*/ 99 w 1007"/>
                    <a:gd name="T23" fmla="*/ 1777 h 1879"/>
                    <a:gd name="T24" fmla="*/ 166 w 1007"/>
                    <a:gd name="T25" fmla="*/ 1878 h 1879"/>
                    <a:gd name="T26" fmla="*/ 183 w 1007"/>
                    <a:gd name="T27" fmla="*/ 1879 h 1879"/>
                    <a:gd name="T28" fmla="*/ 183 w 1007"/>
                    <a:gd name="T29" fmla="*/ 1879 h 1879"/>
                    <a:gd name="T30" fmla="*/ 356 w 1007"/>
                    <a:gd name="T31" fmla="*/ 1879 h 1879"/>
                    <a:gd name="T32" fmla="*/ 356 w 1007"/>
                    <a:gd name="T33" fmla="*/ 1778 h 1879"/>
                    <a:gd name="T34" fmla="*/ 273 w 1007"/>
                    <a:gd name="T35" fmla="*/ 1778 h 1879"/>
                    <a:gd name="T36" fmla="*/ 370 w 1007"/>
                    <a:gd name="T37" fmla="*/ 1246 h 1879"/>
                    <a:gd name="T38" fmla="*/ 689 w 1007"/>
                    <a:gd name="T39" fmla="*/ 1726 h 1879"/>
                    <a:gd name="T40" fmla="*/ 800 w 1007"/>
                    <a:gd name="T41" fmla="*/ 1755 h 1879"/>
                    <a:gd name="T42" fmla="*/ 800 w 1007"/>
                    <a:gd name="T43" fmla="*/ 1755 h 1879"/>
                    <a:gd name="T44" fmla="*/ 808 w 1007"/>
                    <a:gd name="T45" fmla="*/ 1750 h 1879"/>
                    <a:gd name="T46" fmla="*/ 950 w 1007"/>
                    <a:gd name="T47" fmla="*/ 1668 h 1879"/>
                    <a:gd name="T48" fmla="*/ 899 w 1007"/>
                    <a:gd name="T49" fmla="*/ 1580 h 1879"/>
                    <a:gd name="T50" fmla="*/ 827 w 1007"/>
                    <a:gd name="T51" fmla="*/ 1622 h 1879"/>
                    <a:gd name="T52" fmla="*/ 460 w 1007"/>
                    <a:gd name="T53" fmla="*/ 1072 h 1879"/>
                    <a:gd name="T54" fmla="*/ 462 w 1007"/>
                    <a:gd name="T55" fmla="*/ 1055 h 1879"/>
                    <a:gd name="T56" fmla="*/ 483 w 1007"/>
                    <a:gd name="T57" fmla="*/ 821 h 1879"/>
                    <a:gd name="T58" fmla="*/ 510 w 1007"/>
                    <a:gd name="T59" fmla="*/ 840 h 1879"/>
                    <a:gd name="T60" fmla="*/ 708 w 1007"/>
                    <a:gd name="T61" fmla="*/ 972 h 1879"/>
                    <a:gd name="T62" fmla="*/ 792 w 1007"/>
                    <a:gd name="T63" fmla="*/ 848 h 1879"/>
                    <a:gd name="T64" fmla="*/ 589 w 1007"/>
                    <a:gd name="T65" fmla="*/ 711 h 1879"/>
                    <a:gd name="T66" fmla="*/ 504 w 1007"/>
                    <a:gd name="T67" fmla="*/ 582 h 1879"/>
                    <a:gd name="T68" fmla="*/ 313 w 1007"/>
                    <a:gd name="T69" fmla="*/ 368 h 1879"/>
                    <a:gd name="T70" fmla="*/ 313 w 1007"/>
                    <a:gd name="T71" fmla="*/ 368 h 1879"/>
                    <a:gd name="T72" fmla="*/ 420 w 1007"/>
                    <a:gd name="T73" fmla="*/ 31 h 1879"/>
                    <a:gd name="T74" fmla="*/ 420 w 1007"/>
                    <a:gd name="T75" fmla="*/ 31 h 1879"/>
                    <a:gd name="T76" fmla="*/ 518 w 1007"/>
                    <a:gd name="T77" fmla="*/ 244 h 1879"/>
                    <a:gd name="T78" fmla="*/ 305 w 1007"/>
                    <a:gd name="T79" fmla="*/ 342 h 1879"/>
                    <a:gd name="T80" fmla="*/ 207 w 1007"/>
                    <a:gd name="T81" fmla="*/ 129 h 1879"/>
                    <a:gd name="T82" fmla="*/ 420 w 1007"/>
                    <a:gd name="T83" fmla="*/ 31 h 1879"/>
                    <a:gd name="T84" fmla="*/ 420 w 1007"/>
                    <a:gd name="T85" fmla="*/ 31 h 18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07" h="1879">
                      <a:moveTo>
                        <a:pt x="313" y="368"/>
                      </a:moveTo>
                      <a:lnTo>
                        <a:pt x="313" y="368"/>
                      </a:lnTo>
                      <a:lnTo>
                        <a:pt x="313" y="368"/>
                      </a:lnTo>
                      <a:cubicBezTo>
                        <a:pt x="204" y="300"/>
                        <a:pt x="86" y="669"/>
                        <a:pt x="50" y="740"/>
                      </a:cubicBezTo>
                      <a:cubicBezTo>
                        <a:pt x="41" y="757"/>
                        <a:pt x="38" y="773"/>
                        <a:pt x="40" y="787"/>
                      </a:cubicBezTo>
                      <a:lnTo>
                        <a:pt x="12" y="1024"/>
                      </a:lnTo>
                      <a:cubicBezTo>
                        <a:pt x="0" y="1122"/>
                        <a:pt x="150" y="1140"/>
                        <a:pt x="162" y="1042"/>
                      </a:cubicBezTo>
                      <a:lnTo>
                        <a:pt x="190" y="799"/>
                      </a:lnTo>
                      <a:lnTo>
                        <a:pt x="199" y="783"/>
                      </a:lnTo>
                      <a:lnTo>
                        <a:pt x="225" y="1071"/>
                      </a:lnTo>
                      <a:cubicBezTo>
                        <a:pt x="225" y="1075"/>
                        <a:pt x="225" y="1078"/>
                        <a:pt x="226" y="1081"/>
                      </a:cubicBezTo>
                      <a:lnTo>
                        <a:pt x="99" y="1777"/>
                      </a:lnTo>
                      <a:cubicBezTo>
                        <a:pt x="89" y="1823"/>
                        <a:pt x="120" y="1868"/>
                        <a:pt x="166" y="1878"/>
                      </a:cubicBezTo>
                      <a:cubicBezTo>
                        <a:pt x="172" y="1879"/>
                        <a:pt x="177" y="1879"/>
                        <a:pt x="183" y="1879"/>
                      </a:cubicBezTo>
                      <a:lnTo>
                        <a:pt x="183" y="1879"/>
                      </a:lnTo>
                      <a:lnTo>
                        <a:pt x="356" y="1879"/>
                      </a:lnTo>
                      <a:cubicBezTo>
                        <a:pt x="423" y="1879"/>
                        <a:pt x="423" y="1778"/>
                        <a:pt x="356" y="1778"/>
                      </a:cubicBezTo>
                      <a:lnTo>
                        <a:pt x="273" y="1778"/>
                      </a:lnTo>
                      <a:lnTo>
                        <a:pt x="370" y="1246"/>
                      </a:lnTo>
                      <a:lnTo>
                        <a:pt x="689" y="1726"/>
                      </a:lnTo>
                      <a:cubicBezTo>
                        <a:pt x="714" y="1763"/>
                        <a:pt x="761" y="1774"/>
                        <a:pt x="800" y="1755"/>
                      </a:cubicBezTo>
                      <a:lnTo>
                        <a:pt x="800" y="1755"/>
                      </a:lnTo>
                      <a:cubicBezTo>
                        <a:pt x="803" y="1753"/>
                        <a:pt x="805" y="1752"/>
                        <a:pt x="808" y="1750"/>
                      </a:cubicBezTo>
                      <a:lnTo>
                        <a:pt x="950" y="1668"/>
                      </a:lnTo>
                      <a:cubicBezTo>
                        <a:pt x="1007" y="1634"/>
                        <a:pt x="957" y="1547"/>
                        <a:pt x="899" y="1580"/>
                      </a:cubicBezTo>
                      <a:lnTo>
                        <a:pt x="827" y="1622"/>
                      </a:lnTo>
                      <a:lnTo>
                        <a:pt x="460" y="1072"/>
                      </a:lnTo>
                      <a:cubicBezTo>
                        <a:pt x="461" y="1067"/>
                        <a:pt x="462" y="1061"/>
                        <a:pt x="462" y="1055"/>
                      </a:cubicBezTo>
                      <a:lnTo>
                        <a:pt x="483" y="821"/>
                      </a:lnTo>
                      <a:cubicBezTo>
                        <a:pt x="491" y="830"/>
                        <a:pt x="500" y="836"/>
                        <a:pt x="510" y="840"/>
                      </a:cubicBezTo>
                      <a:lnTo>
                        <a:pt x="708" y="972"/>
                      </a:lnTo>
                      <a:cubicBezTo>
                        <a:pt x="791" y="1028"/>
                        <a:pt x="874" y="903"/>
                        <a:pt x="792" y="848"/>
                      </a:cubicBezTo>
                      <a:lnTo>
                        <a:pt x="589" y="711"/>
                      </a:lnTo>
                      <a:lnTo>
                        <a:pt x="504" y="582"/>
                      </a:lnTo>
                      <a:cubicBezTo>
                        <a:pt x="452" y="453"/>
                        <a:pt x="402" y="424"/>
                        <a:pt x="313" y="368"/>
                      </a:cubicBezTo>
                      <a:lnTo>
                        <a:pt x="313" y="368"/>
                      </a:lnTo>
                      <a:close/>
                      <a:moveTo>
                        <a:pt x="420" y="31"/>
                      </a:moveTo>
                      <a:lnTo>
                        <a:pt x="420" y="31"/>
                      </a:lnTo>
                      <a:cubicBezTo>
                        <a:pt x="505" y="63"/>
                        <a:pt x="549" y="158"/>
                        <a:pt x="518" y="244"/>
                      </a:cubicBezTo>
                      <a:cubicBezTo>
                        <a:pt x="486" y="330"/>
                        <a:pt x="391" y="374"/>
                        <a:pt x="305" y="342"/>
                      </a:cubicBezTo>
                      <a:cubicBezTo>
                        <a:pt x="219" y="311"/>
                        <a:pt x="175" y="215"/>
                        <a:pt x="207" y="129"/>
                      </a:cubicBezTo>
                      <a:cubicBezTo>
                        <a:pt x="238" y="44"/>
                        <a:pt x="334" y="0"/>
                        <a:pt x="420" y="31"/>
                      </a:cubicBezTo>
                      <a:lnTo>
                        <a:pt x="420" y="31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81">
                  <a:extLst>
                    <a:ext uri="{FF2B5EF4-FFF2-40B4-BE49-F238E27FC236}">
                      <a16:creationId xmlns:a16="http://schemas.microsoft.com/office/drawing/2014/main" id="{ACDEC975-DCE9-4062-91B1-E54B92EC25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7333" y="2860340"/>
                  <a:ext cx="103558" cy="69039"/>
                </a:xfrm>
                <a:custGeom>
                  <a:avLst/>
                  <a:gdLst>
                    <a:gd name="T0" fmla="*/ 276 w 276"/>
                    <a:gd name="T1" fmla="*/ 0 h 182"/>
                    <a:gd name="T2" fmla="*/ 276 w 276"/>
                    <a:gd name="T3" fmla="*/ 0 h 182"/>
                    <a:gd name="T4" fmla="*/ 99 w 276"/>
                    <a:gd name="T5" fmla="*/ 102 h 182"/>
                    <a:gd name="T6" fmla="*/ 0 w 276"/>
                    <a:gd name="T7" fmla="*/ 18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6" h="182">
                      <a:moveTo>
                        <a:pt x="276" y="0"/>
                      </a:moveTo>
                      <a:lnTo>
                        <a:pt x="276" y="0"/>
                      </a:lnTo>
                      <a:cubicBezTo>
                        <a:pt x="276" y="0"/>
                        <a:pt x="269" y="102"/>
                        <a:pt x="99" y="102"/>
                      </a:cubicBezTo>
                      <a:cubicBezTo>
                        <a:pt x="64" y="102"/>
                        <a:pt x="43" y="173"/>
                        <a:pt x="0" y="182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Freeform 82">
                  <a:extLst>
                    <a:ext uri="{FF2B5EF4-FFF2-40B4-BE49-F238E27FC236}">
                      <a16:creationId xmlns:a16="http://schemas.microsoft.com/office/drawing/2014/main" id="{6D6F739D-B5B9-419F-87AA-062020E228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7333" y="2860340"/>
                  <a:ext cx="103558" cy="69039"/>
                </a:xfrm>
                <a:custGeom>
                  <a:avLst/>
                  <a:gdLst>
                    <a:gd name="T0" fmla="*/ 276 w 276"/>
                    <a:gd name="T1" fmla="*/ 0 h 182"/>
                    <a:gd name="T2" fmla="*/ 276 w 276"/>
                    <a:gd name="T3" fmla="*/ 0 h 182"/>
                    <a:gd name="T4" fmla="*/ 99 w 276"/>
                    <a:gd name="T5" fmla="*/ 102 h 182"/>
                    <a:gd name="T6" fmla="*/ 0 w 276"/>
                    <a:gd name="T7" fmla="*/ 18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6" h="182">
                      <a:moveTo>
                        <a:pt x="276" y="0"/>
                      </a:moveTo>
                      <a:lnTo>
                        <a:pt x="276" y="0"/>
                      </a:lnTo>
                      <a:cubicBezTo>
                        <a:pt x="276" y="0"/>
                        <a:pt x="269" y="102"/>
                        <a:pt x="99" y="102"/>
                      </a:cubicBezTo>
                      <a:cubicBezTo>
                        <a:pt x="64" y="102"/>
                        <a:pt x="43" y="173"/>
                        <a:pt x="0" y="182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 83">
                  <a:extLst>
                    <a:ext uri="{FF2B5EF4-FFF2-40B4-BE49-F238E27FC236}">
                      <a16:creationId xmlns:a16="http://schemas.microsoft.com/office/drawing/2014/main" id="{7F86DD85-937B-4AF2-9368-AE78D1DF0B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5638" y="3173670"/>
                  <a:ext cx="55763" cy="7967"/>
                </a:xfrm>
                <a:custGeom>
                  <a:avLst/>
                  <a:gdLst>
                    <a:gd name="T0" fmla="*/ 0 w 151"/>
                    <a:gd name="T1" fmla="*/ 0 h 17"/>
                    <a:gd name="T2" fmla="*/ 0 w 151"/>
                    <a:gd name="T3" fmla="*/ 0 h 17"/>
                    <a:gd name="T4" fmla="*/ 151 w 151"/>
                    <a:gd name="T5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1" h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51" y="17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 84">
                  <a:extLst>
                    <a:ext uri="{FF2B5EF4-FFF2-40B4-BE49-F238E27FC236}">
                      <a16:creationId xmlns:a16="http://schemas.microsoft.com/office/drawing/2014/main" id="{8A989063-F7C6-4D30-9FFD-879196F00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2982" y="3184291"/>
                  <a:ext cx="55763" cy="7967"/>
                </a:xfrm>
                <a:custGeom>
                  <a:avLst/>
                  <a:gdLst>
                    <a:gd name="T0" fmla="*/ 0 w 152"/>
                    <a:gd name="T1" fmla="*/ 0 h 17"/>
                    <a:gd name="T2" fmla="*/ 0 w 152"/>
                    <a:gd name="T3" fmla="*/ 0 h 17"/>
                    <a:gd name="T4" fmla="*/ 152 w 152"/>
                    <a:gd name="T5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2" h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52" y="17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Freeform 85">
                  <a:extLst>
                    <a:ext uri="{FF2B5EF4-FFF2-40B4-BE49-F238E27FC236}">
                      <a16:creationId xmlns:a16="http://schemas.microsoft.com/office/drawing/2014/main" id="{5EE15E43-A89F-4812-BFA5-6F450BEA4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603" y="3168358"/>
                  <a:ext cx="34521" cy="31865"/>
                </a:xfrm>
                <a:custGeom>
                  <a:avLst/>
                  <a:gdLst>
                    <a:gd name="T0" fmla="*/ 59 w 93"/>
                    <a:gd name="T1" fmla="*/ 84 h 86"/>
                    <a:gd name="T2" fmla="*/ 59 w 93"/>
                    <a:gd name="T3" fmla="*/ 84 h 86"/>
                    <a:gd name="T4" fmla="*/ 25 w 93"/>
                    <a:gd name="T5" fmla="*/ 81 h 86"/>
                    <a:gd name="T6" fmla="*/ 2 w 93"/>
                    <a:gd name="T7" fmla="*/ 51 h 86"/>
                    <a:gd name="T8" fmla="*/ 5 w 93"/>
                    <a:gd name="T9" fmla="*/ 25 h 86"/>
                    <a:gd name="T10" fmla="*/ 34 w 93"/>
                    <a:gd name="T11" fmla="*/ 1 h 86"/>
                    <a:gd name="T12" fmla="*/ 68 w 93"/>
                    <a:gd name="T13" fmla="*/ 5 h 86"/>
                    <a:gd name="T14" fmla="*/ 92 w 93"/>
                    <a:gd name="T15" fmla="*/ 34 h 86"/>
                    <a:gd name="T16" fmla="*/ 89 w 93"/>
                    <a:gd name="T17" fmla="*/ 61 h 86"/>
                    <a:gd name="T18" fmla="*/ 59 w 93"/>
                    <a:gd name="T19" fmla="*/ 8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3" h="86">
                      <a:moveTo>
                        <a:pt x="59" y="84"/>
                      </a:moveTo>
                      <a:lnTo>
                        <a:pt x="59" y="84"/>
                      </a:lnTo>
                      <a:lnTo>
                        <a:pt x="25" y="81"/>
                      </a:lnTo>
                      <a:cubicBezTo>
                        <a:pt x="11" y="79"/>
                        <a:pt x="0" y="66"/>
                        <a:pt x="2" y="51"/>
                      </a:cubicBezTo>
                      <a:lnTo>
                        <a:pt x="5" y="25"/>
                      </a:lnTo>
                      <a:cubicBezTo>
                        <a:pt x="6" y="10"/>
                        <a:pt x="19" y="0"/>
                        <a:pt x="34" y="1"/>
                      </a:cubicBezTo>
                      <a:lnTo>
                        <a:pt x="68" y="5"/>
                      </a:lnTo>
                      <a:cubicBezTo>
                        <a:pt x="82" y="7"/>
                        <a:pt x="93" y="20"/>
                        <a:pt x="92" y="34"/>
                      </a:cubicBezTo>
                      <a:lnTo>
                        <a:pt x="89" y="61"/>
                      </a:lnTo>
                      <a:cubicBezTo>
                        <a:pt x="87" y="75"/>
                        <a:pt x="74" y="86"/>
                        <a:pt x="59" y="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Freeform 86">
                  <a:extLst>
                    <a:ext uri="{FF2B5EF4-FFF2-40B4-BE49-F238E27FC236}">
                      <a16:creationId xmlns:a16="http://schemas.microsoft.com/office/drawing/2014/main" id="{6B2E89C7-2AC6-4120-B8C4-C8091E3DA3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603" y="3168358"/>
                  <a:ext cx="34521" cy="31865"/>
                </a:xfrm>
                <a:custGeom>
                  <a:avLst/>
                  <a:gdLst>
                    <a:gd name="T0" fmla="*/ 59 w 93"/>
                    <a:gd name="T1" fmla="*/ 84 h 86"/>
                    <a:gd name="T2" fmla="*/ 59 w 93"/>
                    <a:gd name="T3" fmla="*/ 84 h 86"/>
                    <a:gd name="T4" fmla="*/ 25 w 93"/>
                    <a:gd name="T5" fmla="*/ 81 h 86"/>
                    <a:gd name="T6" fmla="*/ 2 w 93"/>
                    <a:gd name="T7" fmla="*/ 51 h 86"/>
                    <a:gd name="T8" fmla="*/ 5 w 93"/>
                    <a:gd name="T9" fmla="*/ 25 h 86"/>
                    <a:gd name="T10" fmla="*/ 34 w 93"/>
                    <a:gd name="T11" fmla="*/ 1 h 86"/>
                    <a:gd name="T12" fmla="*/ 68 w 93"/>
                    <a:gd name="T13" fmla="*/ 5 h 86"/>
                    <a:gd name="T14" fmla="*/ 92 w 93"/>
                    <a:gd name="T15" fmla="*/ 34 h 86"/>
                    <a:gd name="T16" fmla="*/ 89 w 93"/>
                    <a:gd name="T17" fmla="*/ 61 h 86"/>
                    <a:gd name="T18" fmla="*/ 59 w 93"/>
                    <a:gd name="T19" fmla="*/ 84 h 86"/>
                    <a:gd name="T20" fmla="*/ 59 w 93"/>
                    <a:gd name="T21" fmla="*/ 8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3" h="86">
                      <a:moveTo>
                        <a:pt x="59" y="84"/>
                      </a:moveTo>
                      <a:lnTo>
                        <a:pt x="59" y="84"/>
                      </a:lnTo>
                      <a:lnTo>
                        <a:pt x="25" y="81"/>
                      </a:lnTo>
                      <a:cubicBezTo>
                        <a:pt x="11" y="79"/>
                        <a:pt x="0" y="66"/>
                        <a:pt x="2" y="51"/>
                      </a:cubicBezTo>
                      <a:lnTo>
                        <a:pt x="5" y="25"/>
                      </a:lnTo>
                      <a:cubicBezTo>
                        <a:pt x="6" y="10"/>
                        <a:pt x="19" y="0"/>
                        <a:pt x="34" y="1"/>
                      </a:cubicBezTo>
                      <a:lnTo>
                        <a:pt x="68" y="5"/>
                      </a:lnTo>
                      <a:cubicBezTo>
                        <a:pt x="82" y="7"/>
                        <a:pt x="93" y="20"/>
                        <a:pt x="92" y="34"/>
                      </a:cubicBezTo>
                      <a:lnTo>
                        <a:pt x="89" y="61"/>
                      </a:lnTo>
                      <a:cubicBezTo>
                        <a:pt x="87" y="75"/>
                        <a:pt x="74" y="86"/>
                        <a:pt x="59" y="84"/>
                      </a:cubicBezTo>
                      <a:lnTo>
                        <a:pt x="59" y="84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uppieren 102">
                <a:extLst>
                  <a:ext uri="{FF2B5EF4-FFF2-40B4-BE49-F238E27FC236}">
                    <a16:creationId xmlns:a16="http://schemas.microsoft.com/office/drawing/2014/main" id="{84F7A656-BF1F-42D2-8FCC-463D1D5F1477}"/>
                  </a:ext>
                </a:extLst>
              </p:cNvPr>
              <p:cNvGrpSpPr/>
              <p:nvPr/>
            </p:nvGrpSpPr>
            <p:grpSpPr>
              <a:xfrm>
                <a:off x="5435783" y="2894859"/>
                <a:ext cx="491237" cy="647910"/>
                <a:chOff x="5435783" y="2894859"/>
                <a:chExt cx="491237" cy="647910"/>
              </a:xfrm>
            </p:grpSpPr>
            <p:sp>
              <p:nvSpPr>
                <p:cNvPr id="257" name="Freeform 91">
                  <a:extLst>
                    <a:ext uri="{FF2B5EF4-FFF2-40B4-BE49-F238E27FC236}">
                      <a16:creationId xmlns:a16="http://schemas.microsoft.com/office/drawing/2014/main" id="{73D11077-E786-418D-8691-39094A710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4594" y="2894859"/>
                  <a:ext cx="135423" cy="140732"/>
                </a:xfrm>
                <a:custGeom>
                  <a:avLst/>
                  <a:gdLst>
                    <a:gd name="T0" fmla="*/ 353 w 353"/>
                    <a:gd name="T1" fmla="*/ 181 h 374"/>
                    <a:gd name="T2" fmla="*/ 353 w 353"/>
                    <a:gd name="T3" fmla="*/ 181 h 374"/>
                    <a:gd name="T4" fmla="*/ 342 w 353"/>
                    <a:gd name="T5" fmla="*/ 130 h 374"/>
                    <a:gd name="T6" fmla="*/ 130 w 353"/>
                    <a:gd name="T7" fmla="*/ 32 h 374"/>
                    <a:gd name="T8" fmla="*/ 32 w 353"/>
                    <a:gd name="T9" fmla="*/ 244 h 374"/>
                    <a:gd name="T10" fmla="*/ 244 w 353"/>
                    <a:gd name="T11" fmla="*/ 342 h 374"/>
                    <a:gd name="T12" fmla="*/ 283 w 353"/>
                    <a:gd name="T13" fmla="*/ 322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3" h="374">
                      <a:moveTo>
                        <a:pt x="353" y="181"/>
                      </a:moveTo>
                      <a:lnTo>
                        <a:pt x="353" y="181"/>
                      </a:lnTo>
                      <a:cubicBezTo>
                        <a:pt x="352" y="164"/>
                        <a:pt x="349" y="147"/>
                        <a:pt x="342" y="130"/>
                      </a:cubicBezTo>
                      <a:cubicBezTo>
                        <a:pt x="311" y="44"/>
                        <a:pt x="216" y="0"/>
                        <a:pt x="130" y="32"/>
                      </a:cubicBezTo>
                      <a:cubicBezTo>
                        <a:pt x="44" y="63"/>
                        <a:pt x="0" y="158"/>
                        <a:pt x="32" y="244"/>
                      </a:cubicBezTo>
                      <a:cubicBezTo>
                        <a:pt x="63" y="330"/>
                        <a:pt x="158" y="374"/>
                        <a:pt x="244" y="342"/>
                      </a:cubicBezTo>
                      <a:cubicBezTo>
                        <a:pt x="258" y="337"/>
                        <a:pt x="271" y="330"/>
                        <a:pt x="283" y="322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Freeform 92">
                  <a:extLst>
                    <a:ext uri="{FF2B5EF4-FFF2-40B4-BE49-F238E27FC236}">
                      <a16:creationId xmlns:a16="http://schemas.microsoft.com/office/drawing/2014/main" id="{C7AC5D28-0948-4E81-9385-7050FBED5A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4594" y="2894859"/>
                  <a:ext cx="135423" cy="140732"/>
                </a:xfrm>
                <a:custGeom>
                  <a:avLst/>
                  <a:gdLst>
                    <a:gd name="T0" fmla="*/ 353 w 353"/>
                    <a:gd name="T1" fmla="*/ 181 h 374"/>
                    <a:gd name="T2" fmla="*/ 353 w 353"/>
                    <a:gd name="T3" fmla="*/ 181 h 374"/>
                    <a:gd name="T4" fmla="*/ 342 w 353"/>
                    <a:gd name="T5" fmla="*/ 130 h 374"/>
                    <a:gd name="T6" fmla="*/ 130 w 353"/>
                    <a:gd name="T7" fmla="*/ 32 h 374"/>
                    <a:gd name="T8" fmla="*/ 32 w 353"/>
                    <a:gd name="T9" fmla="*/ 244 h 374"/>
                    <a:gd name="T10" fmla="*/ 244 w 353"/>
                    <a:gd name="T11" fmla="*/ 342 h 374"/>
                    <a:gd name="T12" fmla="*/ 283 w 353"/>
                    <a:gd name="T13" fmla="*/ 322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3" h="374">
                      <a:moveTo>
                        <a:pt x="353" y="181"/>
                      </a:moveTo>
                      <a:lnTo>
                        <a:pt x="353" y="181"/>
                      </a:lnTo>
                      <a:cubicBezTo>
                        <a:pt x="352" y="164"/>
                        <a:pt x="349" y="147"/>
                        <a:pt x="342" y="130"/>
                      </a:cubicBezTo>
                      <a:cubicBezTo>
                        <a:pt x="311" y="44"/>
                        <a:pt x="216" y="0"/>
                        <a:pt x="130" y="32"/>
                      </a:cubicBezTo>
                      <a:cubicBezTo>
                        <a:pt x="44" y="63"/>
                        <a:pt x="0" y="158"/>
                        <a:pt x="32" y="244"/>
                      </a:cubicBezTo>
                      <a:cubicBezTo>
                        <a:pt x="63" y="330"/>
                        <a:pt x="158" y="374"/>
                        <a:pt x="244" y="342"/>
                      </a:cubicBezTo>
                      <a:cubicBezTo>
                        <a:pt x="258" y="337"/>
                        <a:pt x="271" y="330"/>
                        <a:pt x="283" y="322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Freeform 93">
                  <a:extLst>
                    <a:ext uri="{FF2B5EF4-FFF2-40B4-BE49-F238E27FC236}">
                      <a16:creationId xmlns:a16="http://schemas.microsoft.com/office/drawing/2014/main" id="{24005CC4-2808-44DB-8E3F-43609F616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0695" y="3035591"/>
                  <a:ext cx="130112" cy="347848"/>
                </a:xfrm>
                <a:custGeom>
                  <a:avLst/>
                  <a:gdLst>
                    <a:gd name="T0" fmla="*/ 344 w 344"/>
                    <a:gd name="T1" fmla="*/ 24 h 915"/>
                    <a:gd name="T2" fmla="*/ 344 w 344"/>
                    <a:gd name="T3" fmla="*/ 24 h 915"/>
                    <a:gd name="T4" fmla="*/ 256 w 344"/>
                    <a:gd name="T5" fmla="*/ 0 h 915"/>
                    <a:gd name="T6" fmla="*/ 256 w 344"/>
                    <a:gd name="T7" fmla="*/ 0 h 915"/>
                    <a:gd name="T8" fmla="*/ 77 w 344"/>
                    <a:gd name="T9" fmla="*/ 178 h 915"/>
                    <a:gd name="T10" fmla="*/ 0 w 344"/>
                    <a:gd name="T11" fmla="*/ 915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4" h="915">
                      <a:moveTo>
                        <a:pt x="344" y="24"/>
                      </a:moveTo>
                      <a:lnTo>
                        <a:pt x="344" y="24"/>
                      </a:lnTo>
                      <a:cubicBezTo>
                        <a:pt x="318" y="9"/>
                        <a:pt x="288" y="0"/>
                        <a:pt x="256" y="0"/>
                      </a:cubicBezTo>
                      <a:lnTo>
                        <a:pt x="256" y="0"/>
                      </a:lnTo>
                      <a:cubicBezTo>
                        <a:pt x="158" y="0"/>
                        <a:pt x="77" y="80"/>
                        <a:pt x="77" y="178"/>
                      </a:cubicBezTo>
                      <a:lnTo>
                        <a:pt x="0" y="915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Freeform 94">
                  <a:extLst>
                    <a:ext uri="{FF2B5EF4-FFF2-40B4-BE49-F238E27FC236}">
                      <a16:creationId xmlns:a16="http://schemas.microsoft.com/office/drawing/2014/main" id="{AEAEE2A9-B369-48D8-B247-91E05B2155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0695" y="3035591"/>
                  <a:ext cx="130112" cy="347848"/>
                </a:xfrm>
                <a:custGeom>
                  <a:avLst/>
                  <a:gdLst>
                    <a:gd name="T0" fmla="*/ 344 w 344"/>
                    <a:gd name="T1" fmla="*/ 24 h 915"/>
                    <a:gd name="T2" fmla="*/ 344 w 344"/>
                    <a:gd name="T3" fmla="*/ 24 h 915"/>
                    <a:gd name="T4" fmla="*/ 256 w 344"/>
                    <a:gd name="T5" fmla="*/ 0 h 915"/>
                    <a:gd name="T6" fmla="*/ 256 w 344"/>
                    <a:gd name="T7" fmla="*/ 0 h 915"/>
                    <a:gd name="T8" fmla="*/ 77 w 344"/>
                    <a:gd name="T9" fmla="*/ 178 h 915"/>
                    <a:gd name="T10" fmla="*/ 0 w 344"/>
                    <a:gd name="T11" fmla="*/ 915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4" h="915">
                      <a:moveTo>
                        <a:pt x="344" y="24"/>
                      </a:moveTo>
                      <a:lnTo>
                        <a:pt x="344" y="24"/>
                      </a:lnTo>
                      <a:cubicBezTo>
                        <a:pt x="318" y="9"/>
                        <a:pt x="288" y="0"/>
                        <a:pt x="256" y="0"/>
                      </a:cubicBezTo>
                      <a:lnTo>
                        <a:pt x="256" y="0"/>
                      </a:lnTo>
                      <a:cubicBezTo>
                        <a:pt x="158" y="0"/>
                        <a:pt x="77" y="80"/>
                        <a:pt x="77" y="178"/>
                      </a:cubicBezTo>
                      <a:lnTo>
                        <a:pt x="0" y="915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Freeform 95">
                  <a:extLst>
                    <a:ext uri="{FF2B5EF4-FFF2-40B4-BE49-F238E27FC236}">
                      <a16:creationId xmlns:a16="http://schemas.microsoft.com/office/drawing/2014/main" id="{B6C8FD56-87B5-4802-A2EA-74242E86A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6285" y="3070110"/>
                  <a:ext cx="69039" cy="379713"/>
                </a:xfrm>
                <a:custGeom>
                  <a:avLst/>
                  <a:gdLst>
                    <a:gd name="T0" fmla="*/ 0 w 178"/>
                    <a:gd name="T1" fmla="*/ 1004 h 1004"/>
                    <a:gd name="T2" fmla="*/ 0 w 178"/>
                    <a:gd name="T3" fmla="*/ 1004 h 1004"/>
                    <a:gd name="T4" fmla="*/ 178 w 178"/>
                    <a:gd name="T5" fmla="*/ 826 h 1004"/>
                    <a:gd name="T6" fmla="*/ 178 w 178"/>
                    <a:gd name="T7" fmla="*/ 89 h 1004"/>
                    <a:gd name="T8" fmla="*/ 154 w 178"/>
                    <a:gd name="T9" fmla="*/ 0 h 1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8" h="1004">
                      <a:moveTo>
                        <a:pt x="0" y="1004"/>
                      </a:moveTo>
                      <a:lnTo>
                        <a:pt x="0" y="1004"/>
                      </a:lnTo>
                      <a:cubicBezTo>
                        <a:pt x="98" y="1004"/>
                        <a:pt x="178" y="924"/>
                        <a:pt x="178" y="826"/>
                      </a:cubicBezTo>
                      <a:lnTo>
                        <a:pt x="178" y="89"/>
                      </a:lnTo>
                      <a:cubicBezTo>
                        <a:pt x="178" y="57"/>
                        <a:pt x="169" y="27"/>
                        <a:pt x="15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Freeform 96">
                  <a:extLst>
                    <a:ext uri="{FF2B5EF4-FFF2-40B4-BE49-F238E27FC236}">
                      <a16:creationId xmlns:a16="http://schemas.microsoft.com/office/drawing/2014/main" id="{EE60B057-C64C-4B16-87B5-184163882A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6285" y="3070110"/>
                  <a:ext cx="69039" cy="379713"/>
                </a:xfrm>
                <a:custGeom>
                  <a:avLst/>
                  <a:gdLst>
                    <a:gd name="T0" fmla="*/ 0 w 178"/>
                    <a:gd name="T1" fmla="*/ 1004 h 1004"/>
                    <a:gd name="T2" fmla="*/ 0 w 178"/>
                    <a:gd name="T3" fmla="*/ 1004 h 1004"/>
                    <a:gd name="T4" fmla="*/ 178 w 178"/>
                    <a:gd name="T5" fmla="*/ 826 h 1004"/>
                    <a:gd name="T6" fmla="*/ 178 w 178"/>
                    <a:gd name="T7" fmla="*/ 89 h 1004"/>
                    <a:gd name="T8" fmla="*/ 154 w 178"/>
                    <a:gd name="T9" fmla="*/ 0 h 1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8" h="1004">
                      <a:moveTo>
                        <a:pt x="0" y="1004"/>
                      </a:moveTo>
                      <a:lnTo>
                        <a:pt x="0" y="1004"/>
                      </a:lnTo>
                      <a:cubicBezTo>
                        <a:pt x="98" y="1004"/>
                        <a:pt x="178" y="924"/>
                        <a:pt x="178" y="826"/>
                      </a:cubicBezTo>
                      <a:lnTo>
                        <a:pt x="178" y="89"/>
                      </a:lnTo>
                      <a:cubicBezTo>
                        <a:pt x="178" y="57"/>
                        <a:pt x="169" y="27"/>
                        <a:pt x="154" y="0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Freeform 97">
                  <a:extLst>
                    <a:ext uri="{FF2B5EF4-FFF2-40B4-BE49-F238E27FC236}">
                      <a16:creationId xmlns:a16="http://schemas.microsoft.com/office/drawing/2014/main" id="{ABD642F0-80CA-48EF-9ECF-85C70E58E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374" y="3319712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5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5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Freeform 98">
                  <a:extLst>
                    <a:ext uri="{FF2B5EF4-FFF2-40B4-BE49-F238E27FC236}">
                      <a16:creationId xmlns:a16="http://schemas.microsoft.com/office/drawing/2014/main" id="{3AAE5A4B-EDE4-4FFA-9872-8545FFB724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374" y="3319712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  <a:gd name="T20" fmla="*/ 837 w 887"/>
                    <a:gd name="T21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5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5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Freeform 99">
                  <a:extLst>
                    <a:ext uri="{FF2B5EF4-FFF2-40B4-BE49-F238E27FC236}">
                      <a16:creationId xmlns:a16="http://schemas.microsoft.com/office/drawing/2014/main" id="{CE46ADFD-AE7E-40AB-8F96-832E658320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374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Freeform 100">
                  <a:extLst>
                    <a:ext uri="{FF2B5EF4-FFF2-40B4-BE49-F238E27FC236}">
                      <a16:creationId xmlns:a16="http://schemas.microsoft.com/office/drawing/2014/main" id="{9A1CD694-2CA1-43DF-BEF6-E379234B98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374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Freeform 101">
                  <a:extLst>
                    <a:ext uri="{FF2B5EF4-FFF2-40B4-BE49-F238E27FC236}">
                      <a16:creationId xmlns:a16="http://schemas.microsoft.com/office/drawing/2014/main" id="{78AECB34-1484-4DF7-A2E0-63D310CAAE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374" y="3388749"/>
                  <a:ext cx="345193" cy="0"/>
                </a:xfrm>
                <a:custGeom>
                  <a:avLst/>
                  <a:gdLst>
                    <a:gd name="T0" fmla="*/ 0 w 910"/>
                    <a:gd name="T1" fmla="*/ 0 w 910"/>
                    <a:gd name="T2" fmla="*/ 910 w 91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Freeform 102">
                  <a:extLst>
                    <a:ext uri="{FF2B5EF4-FFF2-40B4-BE49-F238E27FC236}">
                      <a16:creationId xmlns:a16="http://schemas.microsoft.com/office/drawing/2014/main" id="{2E89C719-50EE-450D-B10D-4F4269FF7D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0976" y="2905480"/>
                  <a:ext cx="146044" cy="419541"/>
                </a:xfrm>
                <a:custGeom>
                  <a:avLst/>
                  <a:gdLst>
                    <a:gd name="T0" fmla="*/ 383 w 386"/>
                    <a:gd name="T1" fmla="*/ 93 h 1105"/>
                    <a:gd name="T2" fmla="*/ 383 w 386"/>
                    <a:gd name="T3" fmla="*/ 93 h 1105"/>
                    <a:gd name="T4" fmla="*/ 289 w 386"/>
                    <a:gd name="T5" fmla="*/ 0 h 1105"/>
                    <a:gd name="T6" fmla="*/ 286 w 386"/>
                    <a:gd name="T7" fmla="*/ 0 h 1105"/>
                    <a:gd name="T8" fmla="*/ 181 w 386"/>
                    <a:gd name="T9" fmla="*/ 86 h 1105"/>
                    <a:gd name="T10" fmla="*/ 181 w 386"/>
                    <a:gd name="T11" fmla="*/ 293 h 1105"/>
                    <a:gd name="T12" fmla="*/ 14 w 386"/>
                    <a:gd name="T13" fmla="*/ 968 h 1105"/>
                    <a:gd name="T14" fmla="*/ 89 w 386"/>
                    <a:gd name="T15" fmla="*/ 1091 h 1105"/>
                    <a:gd name="T16" fmla="*/ 213 w 386"/>
                    <a:gd name="T17" fmla="*/ 1018 h 1105"/>
                    <a:gd name="T18" fmla="*/ 384 w 386"/>
                    <a:gd name="T19" fmla="*/ 333 h 1105"/>
                    <a:gd name="T20" fmla="*/ 383 w 386"/>
                    <a:gd name="T21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6" h="1105">
                      <a:moveTo>
                        <a:pt x="383" y="93"/>
                      </a:moveTo>
                      <a:lnTo>
                        <a:pt x="383" y="93"/>
                      </a:lnTo>
                      <a:cubicBezTo>
                        <a:pt x="383" y="37"/>
                        <a:pt x="345" y="0"/>
                        <a:pt x="289" y="0"/>
                      </a:cubicBezTo>
                      <a:lnTo>
                        <a:pt x="286" y="0"/>
                      </a:lnTo>
                      <a:cubicBezTo>
                        <a:pt x="230" y="0"/>
                        <a:pt x="181" y="31"/>
                        <a:pt x="181" y="86"/>
                      </a:cubicBezTo>
                      <a:lnTo>
                        <a:pt x="181" y="293"/>
                      </a:lnTo>
                      <a:lnTo>
                        <a:pt x="14" y="968"/>
                      </a:lnTo>
                      <a:cubicBezTo>
                        <a:pt x="0" y="1022"/>
                        <a:pt x="35" y="1077"/>
                        <a:pt x="89" y="1091"/>
                      </a:cubicBezTo>
                      <a:cubicBezTo>
                        <a:pt x="143" y="1105"/>
                        <a:pt x="200" y="1072"/>
                        <a:pt x="213" y="1018"/>
                      </a:cubicBezTo>
                      <a:cubicBezTo>
                        <a:pt x="213" y="1018"/>
                        <a:pt x="384" y="334"/>
                        <a:pt x="384" y="333"/>
                      </a:cubicBezTo>
                      <a:cubicBezTo>
                        <a:pt x="386" y="325"/>
                        <a:pt x="383" y="93"/>
                        <a:pt x="383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Freeform 103">
                  <a:extLst>
                    <a:ext uri="{FF2B5EF4-FFF2-40B4-BE49-F238E27FC236}">
                      <a16:creationId xmlns:a16="http://schemas.microsoft.com/office/drawing/2014/main" id="{CD305AF0-0FC7-4354-A256-393475E7D4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0976" y="2905480"/>
                  <a:ext cx="146044" cy="419541"/>
                </a:xfrm>
                <a:custGeom>
                  <a:avLst/>
                  <a:gdLst>
                    <a:gd name="T0" fmla="*/ 383 w 386"/>
                    <a:gd name="T1" fmla="*/ 93 h 1105"/>
                    <a:gd name="T2" fmla="*/ 383 w 386"/>
                    <a:gd name="T3" fmla="*/ 93 h 1105"/>
                    <a:gd name="T4" fmla="*/ 289 w 386"/>
                    <a:gd name="T5" fmla="*/ 0 h 1105"/>
                    <a:gd name="T6" fmla="*/ 286 w 386"/>
                    <a:gd name="T7" fmla="*/ 0 h 1105"/>
                    <a:gd name="T8" fmla="*/ 181 w 386"/>
                    <a:gd name="T9" fmla="*/ 86 h 1105"/>
                    <a:gd name="T10" fmla="*/ 181 w 386"/>
                    <a:gd name="T11" fmla="*/ 293 h 1105"/>
                    <a:gd name="T12" fmla="*/ 14 w 386"/>
                    <a:gd name="T13" fmla="*/ 968 h 1105"/>
                    <a:gd name="T14" fmla="*/ 89 w 386"/>
                    <a:gd name="T15" fmla="*/ 1091 h 1105"/>
                    <a:gd name="T16" fmla="*/ 213 w 386"/>
                    <a:gd name="T17" fmla="*/ 1018 h 1105"/>
                    <a:gd name="T18" fmla="*/ 384 w 386"/>
                    <a:gd name="T19" fmla="*/ 333 h 1105"/>
                    <a:gd name="T20" fmla="*/ 383 w 386"/>
                    <a:gd name="T21" fmla="*/ 93 h 1105"/>
                    <a:gd name="T22" fmla="*/ 383 w 386"/>
                    <a:gd name="T23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6" h="1105">
                      <a:moveTo>
                        <a:pt x="383" y="93"/>
                      </a:moveTo>
                      <a:lnTo>
                        <a:pt x="383" y="93"/>
                      </a:lnTo>
                      <a:cubicBezTo>
                        <a:pt x="383" y="37"/>
                        <a:pt x="345" y="0"/>
                        <a:pt x="289" y="0"/>
                      </a:cubicBezTo>
                      <a:lnTo>
                        <a:pt x="286" y="0"/>
                      </a:lnTo>
                      <a:cubicBezTo>
                        <a:pt x="230" y="0"/>
                        <a:pt x="181" y="31"/>
                        <a:pt x="181" y="86"/>
                      </a:cubicBezTo>
                      <a:lnTo>
                        <a:pt x="181" y="293"/>
                      </a:lnTo>
                      <a:lnTo>
                        <a:pt x="14" y="968"/>
                      </a:lnTo>
                      <a:cubicBezTo>
                        <a:pt x="0" y="1022"/>
                        <a:pt x="35" y="1077"/>
                        <a:pt x="89" y="1091"/>
                      </a:cubicBezTo>
                      <a:cubicBezTo>
                        <a:pt x="143" y="1105"/>
                        <a:pt x="200" y="1072"/>
                        <a:pt x="213" y="1018"/>
                      </a:cubicBezTo>
                      <a:cubicBezTo>
                        <a:pt x="213" y="1018"/>
                        <a:pt x="384" y="334"/>
                        <a:pt x="384" y="333"/>
                      </a:cubicBezTo>
                      <a:cubicBezTo>
                        <a:pt x="386" y="325"/>
                        <a:pt x="383" y="93"/>
                        <a:pt x="383" y="93"/>
                      </a:cubicBezTo>
                      <a:lnTo>
                        <a:pt x="383" y="9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Freeform 104">
                  <a:extLst>
                    <a:ext uri="{FF2B5EF4-FFF2-40B4-BE49-F238E27FC236}">
                      <a16:creationId xmlns:a16="http://schemas.microsoft.com/office/drawing/2014/main" id="{25FC420C-B3A3-4E40-9188-E343E61723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5783" y="3258640"/>
                  <a:ext cx="276154" cy="284121"/>
                </a:xfrm>
                <a:custGeom>
                  <a:avLst/>
                  <a:gdLst>
                    <a:gd name="T0" fmla="*/ 646 w 728"/>
                    <a:gd name="T1" fmla="*/ 4 h 751"/>
                    <a:gd name="T2" fmla="*/ 646 w 728"/>
                    <a:gd name="T3" fmla="*/ 4 h 751"/>
                    <a:gd name="T4" fmla="*/ 334 w 728"/>
                    <a:gd name="T5" fmla="*/ 4 h 751"/>
                    <a:gd name="T6" fmla="*/ 291 w 728"/>
                    <a:gd name="T7" fmla="*/ 7 h 751"/>
                    <a:gd name="T8" fmla="*/ 248 w 728"/>
                    <a:gd name="T9" fmla="*/ 60 h 751"/>
                    <a:gd name="T10" fmla="*/ 125 w 728"/>
                    <a:gd name="T11" fmla="*/ 644 h 751"/>
                    <a:gd name="T12" fmla="*/ 54 w 728"/>
                    <a:gd name="T13" fmla="*/ 644 h 751"/>
                    <a:gd name="T14" fmla="*/ 0 w 728"/>
                    <a:gd name="T15" fmla="*/ 697 h 751"/>
                    <a:gd name="T16" fmla="*/ 54 w 728"/>
                    <a:gd name="T17" fmla="*/ 751 h 751"/>
                    <a:gd name="T18" fmla="*/ 193 w 728"/>
                    <a:gd name="T19" fmla="*/ 751 h 751"/>
                    <a:gd name="T20" fmla="*/ 283 w 728"/>
                    <a:gd name="T21" fmla="*/ 686 h 751"/>
                    <a:gd name="T22" fmla="*/ 395 w 728"/>
                    <a:gd name="T23" fmla="*/ 151 h 751"/>
                    <a:gd name="T24" fmla="*/ 646 w 728"/>
                    <a:gd name="T25" fmla="*/ 151 h 751"/>
                    <a:gd name="T26" fmla="*/ 728 w 728"/>
                    <a:gd name="T27" fmla="*/ 77 h 751"/>
                    <a:gd name="T28" fmla="*/ 646 w 728"/>
                    <a:gd name="T29" fmla="*/ 4 h 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28" h="751">
                      <a:moveTo>
                        <a:pt x="646" y="4"/>
                      </a:moveTo>
                      <a:lnTo>
                        <a:pt x="646" y="4"/>
                      </a:lnTo>
                      <a:lnTo>
                        <a:pt x="334" y="4"/>
                      </a:lnTo>
                      <a:cubicBezTo>
                        <a:pt x="318" y="4"/>
                        <a:pt x="304" y="0"/>
                        <a:pt x="291" y="7"/>
                      </a:cubicBezTo>
                      <a:cubicBezTo>
                        <a:pt x="270" y="18"/>
                        <a:pt x="253" y="35"/>
                        <a:pt x="248" y="60"/>
                      </a:cubicBezTo>
                      <a:lnTo>
                        <a:pt x="125" y="644"/>
                      </a:lnTo>
                      <a:lnTo>
                        <a:pt x="54" y="644"/>
                      </a:lnTo>
                      <a:cubicBezTo>
                        <a:pt x="25" y="644"/>
                        <a:pt x="0" y="668"/>
                        <a:pt x="0" y="697"/>
                      </a:cubicBezTo>
                      <a:cubicBezTo>
                        <a:pt x="0" y="727"/>
                        <a:pt x="25" y="751"/>
                        <a:pt x="54" y="751"/>
                      </a:cubicBezTo>
                      <a:lnTo>
                        <a:pt x="193" y="751"/>
                      </a:lnTo>
                      <a:cubicBezTo>
                        <a:pt x="235" y="751"/>
                        <a:pt x="274" y="727"/>
                        <a:pt x="283" y="686"/>
                      </a:cubicBezTo>
                      <a:lnTo>
                        <a:pt x="395" y="151"/>
                      </a:lnTo>
                      <a:lnTo>
                        <a:pt x="646" y="151"/>
                      </a:lnTo>
                      <a:cubicBezTo>
                        <a:pt x="691" y="151"/>
                        <a:pt x="728" y="122"/>
                        <a:pt x="728" y="77"/>
                      </a:cubicBezTo>
                      <a:cubicBezTo>
                        <a:pt x="728" y="32"/>
                        <a:pt x="691" y="4"/>
                        <a:pt x="646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Freeform 105">
                  <a:extLst>
                    <a:ext uri="{FF2B5EF4-FFF2-40B4-BE49-F238E27FC236}">
                      <a16:creationId xmlns:a16="http://schemas.microsoft.com/office/drawing/2014/main" id="{8C974E14-FE81-4427-8072-2FA56089AD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5783" y="3258648"/>
                  <a:ext cx="276154" cy="284121"/>
                </a:xfrm>
                <a:custGeom>
                  <a:avLst/>
                  <a:gdLst>
                    <a:gd name="T0" fmla="*/ 646 w 728"/>
                    <a:gd name="T1" fmla="*/ 4 h 751"/>
                    <a:gd name="T2" fmla="*/ 646 w 728"/>
                    <a:gd name="T3" fmla="*/ 4 h 751"/>
                    <a:gd name="T4" fmla="*/ 334 w 728"/>
                    <a:gd name="T5" fmla="*/ 4 h 751"/>
                    <a:gd name="T6" fmla="*/ 291 w 728"/>
                    <a:gd name="T7" fmla="*/ 7 h 751"/>
                    <a:gd name="T8" fmla="*/ 248 w 728"/>
                    <a:gd name="T9" fmla="*/ 60 h 751"/>
                    <a:gd name="T10" fmla="*/ 125 w 728"/>
                    <a:gd name="T11" fmla="*/ 644 h 751"/>
                    <a:gd name="T12" fmla="*/ 54 w 728"/>
                    <a:gd name="T13" fmla="*/ 644 h 751"/>
                    <a:gd name="T14" fmla="*/ 0 w 728"/>
                    <a:gd name="T15" fmla="*/ 697 h 751"/>
                    <a:gd name="T16" fmla="*/ 54 w 728"/>
                    <a:gd name="T17" fmla="*/ 751 h 751"/>
                    <a:gd name="T18" fmla="*/ 193 w 728"/>
                    <a:gd name="T19" fmla="*/ 751 h 751"/>
                    <a:gd name="T20" fmla="*/ 283 w 728"/>
                    <a:gd name="T21" fmla="*/ 686 h 751"/>
                    <a:gd name="T22" fmla="*/ 395 w 728"/>
                    <a:gd name="T23" fmla="*/ 151 h 751"/>
                    <a:gd name="T24" fmla="*/ 646 w 728"/>
                    <a:gd name="T25" fmla="*/ 151 h 751"/>
                    <a:gd name="T26" fmla="*/ 728 w 728"/>
                    <a:gd name="T27" fmla="*/ 77 h 751"/>
                    <a:gd name="T28" fmla="*/ 646 w 728"/>
                    <a:gd name="T29" fmla="*/ 4 h 751"/>
                    <a:gd name="T30" fmla="*/ 646 w 728"/>
                    <a:gd name="T31" fmla="*/ 4 h 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28" h="751">
                      <a:moveTo>
                        <a:pt x="646" y="4"/>
                      </a:moveTo>
                      <a:lnTo>
                        <a:pt x="646" y="4"/>
                      </a:lnTo>
                      <a:lnTo>
                        <a:pt x="334" y="4"/>
                      </a:lnTo>
                      <a:cubicBezTo>
                        <a:pt x="318" y="4"/>
                        <a:pt x="304" y="0"/>
                        <a:pt x="291" y="7"/>
                      </a:cubicBezTo>
                      <a:cubicBezTo>
                        <a:pt x="270" y="18"/>
                        <a:pt x="253" y="35"/>
                        <a:pt x="248" y="60"/>
                      </a:cubicBezTo>
                      <a:lnTo>
                        <a:pt x="125" y="644"/>
                      </a:lnTo>
                      <a:lnTo>
                        <a:pt x="54" y="644"/>
                      </a:lnTo>
                      <a:cubicBezTo>
                        <a:pt x="25" y="644"/>
                        <a:pt x="0" y="668"/>
                        <a:pt x="0" y="697"/>
                      </a:cubicBezTo>
                      <a:cubicBezTo>
                        <a:pt x="0" y="727"/>
                        <a:pt x="25" y="751"/>
                        <a:pt x="54" y="751"/>
                      </a:cubicBezTo>
                      <a:lnTo>
                        <a:pt x="193" y="751"/>
                      </a:lnTo>
                      <a:cubicBezTo>
                        <a:pt x="235" y="751"/>
                        <a:pt x="274" y="727"/>
                        <a:pt x="283" y="686"/>
                      </a:cubicBezTo>
                      <a:lnTo>
                        <a:pt x="395" y="151"/>
                      </a:lnTo>
                      <a:lnTo>
                        <a:pt x="646" y="151"/>
                      </a:lnTo>
                      <a:cubicBezTo>
                        <a:pt x="691" y="151"/>
                        <a:pt x="728" y="122"/>
                        <a:pt x="728" y="77"/>
                      </a:cubicBezTo>
                      <a:cubicBezTo>
                        <a:pt x="728" y="32"/>
                        <a:pt x="691" y="4"/>
                        <a:pt x="646" y="4"/>
                      </a:cubicBezTo>
                      <a:lnTo>
                        <a:pt x="646" y="4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Freeform 106">
                  <a:extLst>
                    <a:ext uri="{FF2B5EF4-FFF2-40B4-BE49-F238E27FC236}">
                      <a16:creationId xmlns:a16="http://schemas.microsoft.com/office/drawing/2014/main" id="{D659713A-FC76-4397-AD9A-DBC38C5679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3860" y="3285202"/>
                  <a:ext cx="305363" cy="143388"/>
                </a:xfrm>
                <a:custGeom>
                  <a:avLst/>
                  <a:gdLst>
                    <a:gd name="T0" fmla="*/ 805 w 805"/>
                    <a:gd name="T1" fmla="*/ 0 h 382"/>
                    <a:gd name="T2" fmla="*/ 805 w 805"/>
                    <a:gd name="T3" fmla="*/ 0 h 382"/>
                    <a:gd name="T4" fmla="*/ 805 w 805"/>
                    <a:gd name="T5" fmla="*/ 298 h 382"/>
                    <a:gd name="T6" fmla="*/ 721 w 805"/>
                    <a:gd name="T7" fmla="*/ 382 h 382"/>
                    <a:gd name="T8" fmla="*/ 168 w 805"/>
                    <a:gd name="T9" fmla="*/ 382 h 382"/>
                    <a:gd name="T10" fmla="*/ 84 w 805"/>
                    <a:gd name="T11" fmla="*/ 298 h 382"/>
                    <a:gd name="T12" fmla="*/ 0 w 805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5" h="382">
                      <a:moveTo>
                        <a:pt x="805" y="0"/>
                      </a:moveTo>
                      <a:lnTo>
                        <a:pt x="805" y="0"/>
                      </a:lnTo>
                      <a:lnTo>
                        <a:pt x="805" y="298"/>
                      </a:lnTo>
                      <a:cubicBezTo>
                        <a:pt x="805" y="344"/>
                        <a:pt x="768" y="382"/>
                        <a:pt x="721" y="382"/>
                      </a:cubicBezTo>
                      <a:lnTo>
                        <a:pt x="168" y="382"/>
                      </a:lnTo>
                      <a:cubicBezTo>
                        <a:pt x="122" y="382"/>
                        <a:pt x="97" y="344"/>
                        <a:pt x="84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Freeform 107">
                  <a:extLst>
                    <a:ext uri="{FF2B5EF4-FFF2-40B4-BE49-F238E27FC236}">
                      <a16:creationId xmlns:a16="http://schemas.microsoft.com/office/drawing/2014/main" id="{1A5688B1-01B8-4FAF-83B2-C6618286DE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3860" y="3285202"/>
                  <a:ext cx="305363" cy="143388"/>
                </a:xfrm>
                <a:custGeom>
                  <a:avLst/>
                  <a:gdLst>
                    <a:gd name="T0" fmla="*/ 805 w 805"/>
                    <a:gd name="T1" fmla="*/ 0 h 382"/>
                    <a:gd name="T2" fmla="*/ 805 w 805"/>
                    <a:gd name="T3" fmla="*/ 0 h 382"/>
                    <a:gd name="T4" fmla="*/ 805 w 805"/>
                    <a:gd name="T5" fmla="*/ 298 h 382"/>
                    <a:gd name="T6" fmla="*/ 721 w 805"/>
                    <a:gd name="T7" fmla="*/ 382 h 382"/>
                    <a:gd name="T8" fmla="*/ 168 w 805"/>
                    <a:gd name="T9" fmla="*/ 382 h 382"/>
                    <a:gd name="T10" fmla="*/ 84 w 805"/>
                    <a:gd name="T11" fmla="*/ 298 h 382"/>
                    <a:gd name="T12" fmla="*/ 0 w 805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5" h="382">
                      <a:moveTo>
                        <a:pt x="805" y="0"/>
                      </a:moveTo>
                      <a:lnTo>
                        <a:pt x="805" y="0"/>
                      </a:lnTo>
                      <a:lnTo>
                        <a:pt x="805" y="298"/>
                      </a:lnTo>
                      <a:cubicBezTo>
                        <a:pt x="805" y="344"/>
                        <a:pt x="768" y="382"/>
                        <a:pt x="721" y="382"/>
                      </a:cubicBezTo>
                      <a:lnTo>
                        <a:pt x="168" y="382"/>
                      </a:lnTo>
                      <a:cubicBezTo>
                        <a:pt x="122" y="382"/>
                        <a:pt x="97" y="344"/>
                        <a:pt x="84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Freeform 108">
                  <a:extLst>
                    <a:ext uri="{FF2B5EF4-FFF2-40B4-BE49-F238E27FC236}">
                      <a16:creationId xmlns:a16="http://schemas.microsoft.com/office/drawing/2014/main" id="{DB589A43-0585-4BF3-9BF1-0071B6DA59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0585" y="3245372"/>
                  <a:ext cx="318639" cy="39830"/>
                </a:xfrm>
                <a:custGeom>
                  <a:avLst/>
                  <a:gdLst>
                    <a:gd name="T0" fmla="*/ 5 w 839"/>
                    <a:gd name="T1" fmla="*/ 103 h 103"/>
                    <a:gd name="T2" fmla="*/ 5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5" y="103"/>
                      </a:moveTo>
                      <a:lnTo>
                        <a:pt x="5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Freeform 109">
                  <a:extLst>
                    <a:ext uri="{FF2B5EF4-FFF2-40B4-BE49-F238E27FC236}">
                      <a16:creationId xmlns:a16="http://schemas.microsoft.com/office/drawing/2014/main" id="{01DBFB29-25C6-449A-ACB4-9B03DB90DB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0585" y="3245372"/>
                  <a:ext cx="318639" cy="39830"/>
                </a:xfrm>
                <a:custGeom>
                  <a:avLst/>
                  <a:gdLst>
                    <a:gd name="T0" fmla="*/ 5 w 839"/>
                    <a:gd name="T1" fmla="*/ 103 h 103"/>
                    <a:gd name="T2" fmla="*/ 5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5" y="103"/>
                      </a:moveTo>
                      <a:lnTo>
                        <a:pt x="5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Freeform 110">
                  <a:extLst>
                    <a:ext uri="{FF2B5EF4-FFF2-40B4-BE49-F238E27FC236}">
                      <a16:creationId xmlns:a16="http://schemas.microsoft.com/office/drawing/2014/main" id="{FD72B784-FADB-408F-9F2B-0A0BB2FCCC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0585" y="3285202"/>
                  <a:ext cx="318639" cy="0"/>
                </a:xfrm>
                <a:custGeom>
                  <a:avLst/>
                  <a:gdLst>
                    <a:gd name="T0" fmla="*/ 0 w 840"/>
                    <a:gd name="T1" fmla="*/ 0 w 840"/>
                    <a:gd name="T2" fmla="*/ 840 w 84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Freeform 111">
                  <a:extLst>
                    <a:ext uri="{FF2B5EF4-FFF2-40B4-BE49-F238E27FC236}">
                      <a16:creationId xmlns:a16="http://schemas.microsoft.com/office/drawing/2014/main" id="{CF29720C-AE80-49B3-A051-6AC54C0094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0866" y="3428586"/>
                  <a:ext cx="172598" cy="114179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4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Freeform 112">
                  <a:extLst>
                    <a:ext uri="{FF2B5EF4-FFF2-40B4-BE49-F238E27FC236}">
                      <a16:creationId xmlns:a16="http://schemas.microsoft.com/office/drawing/2014/main" id="{4968B5F5-D7DB-4453-B566-57FAAD23BE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0866" y="3428579"/>
                  <a:ext cx="172598" cy="114179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4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  <a:gd name="T12" fmla="*/ 451 w 451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Freeform 113">
                  <a:extLst>
                    <a:ext uri="{FF2B5EF4-FFF2-40B4-BE49-F238E27FC236}">
                      <a16:creationId xmlns:a16="http://schemas.microsoft.com/office/drawing/2014/main" id="{9B00A8D9-8D38-4CC3-9296-0A0460F894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4481" y="3101973"/>
                  <a:ext cx="220393" cy="161976"/>
                </a:xfrm>
                <a:custGeom>
                  <a:avLst/>
                  <a:gdLst>
                    <a:gd name="T0" fmla="*/ 442 w 579"/>
                    <a:gd name="T1" fmla="*/ 0 h 430"/>
                    <a:gd name="T2" fmla="*/ 442 w 579"/>
                    <a:gd name="T3" fmla="*/ 0 h 430"/>
                    <a:gd name="T4" fmla="*/ 380 w 579"/>
                    <a:gd name="T5" fmla="*/ 310 h 430"/>
                    <a:gd name="T6" fmla="*/ 70 w 579"/>
                    <a:gd name="T7" fmla="*/ 310 h 430"/>
                    <a:gd name="T8" fmla="*/ 0 w 579"/>
                    <a:gd name="T9" fmla="*/ 370 h 430"/>
                    <a:gd name="T10" fmla="*/ 70 w 579"/>
                    <a:gd name="T11" fmla="*/ 430 h 430"/>
                    <a:gd name="T12" fmla="*/ 434 w 579"/>
                    <a:gd name="T13" fmla="*/ 430 h 430"/>
                    <a:gd name="T14" fmla="*/ 485 w 579"/>
                    <a:gd name="T15" fmla="*/ 413 h 430"/>
                    <a:gd name="T16" fmla="*/ 507 w 579"/>
                    <a:gd name="T17" fmla="*/ 377 h 430"/>
                    <a:gd name="T18" fmla="*/ 579 w 579"/>
                    <a:gd name="T19" fmla="*/ 24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9" h="430">
                      <a:moveTo>
                        <a:pt x="442" y="0"/>
                      </a:moveTo>
                      <a:lnTo>
                        <a:pt x="442" y="0"/>
                      </a:lnTo>
                      <a:lnTo>
                        <a:pt x="380" y="310"/>
                      </a:lnTo>
                      <a:lnTo>
                        <a:pt x="70" y="310"/>
                      </a:lnTo>
                      <a:cubicBezTo>
                        <a:pt x="32" y="310"/>
                        <a:pt x="0" y="332"/>
                        <a:pt x="0" y="370"/>
                      </a:cubicBezTo>
                      <a:cubicBezTo>
                        <a:pt x="0" y="409"/>
                        <a:pt x="32" y="430"/>
                        <a:pt x="70" y="430"/>
                      </a:cubicBezTo>
                      <a:lnTo>
                        <a:pt x="434" y="430"/>
                      </a:lnTo>
                      <a:cubicBezTo>
                        <a:pt x="454" y="430"/>
                        <a:pt x="472" y="426"/>
                        <a:pt x="485" y="413"/>
                      </a:cubicBezTo>
                      <a:cubicBezTo>
                        <a:pt x="496" y="403"/>
                        <a:pt x="504" y="392"/>
                        <a:pt x="507" y="377"/>
                      </a:cubicBezTo>
                      <a:lnTo>
                        <a:pt x="579" y="24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Freeform 114">
                  <a:extLst>
                    <a:ext uri="{FF2B5EF4-FFF2-40B4-BE49-F238E27FC236}">
                      <a16:creationId xmlns:a16="http://schemas.microsoft.com/office/drawing/2014/main" id="{0BC3B370-0E5A-4233-9FF6-FFEDCED8B5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4481" y="3101973"/>
                  <a:ext cx="220393" cy="161976"/>
                </a:xfrm>
                <a:custGeom>
                  <a:avLst/>
                  <a:gdLst>
                    <a:gd name="T0" fmla="*/ 442 w 579"/>
                    <a:gd name="T1" fmla="*/ 0 h 430"/>
                    <a:gd name="T2" fmla="*/ 442 w 579"/>
                    <a:gd name="T3" fmla="*/ 0 h 430"/>
                    <a:gd name="T4" fmla="*/ 380 w 579"/>
                    <a:gd name="T5" fmla="*/ 310 h 430"/>
                    <a:gd name="T6" fmla="*/ 70 w 579"/>
                    <a:gd name="T7" fmla="*/ 310 h 430"/>
                    <a:gd name="T8" fmla="*/ 0 w 579"/>
                    <a:gd name="T9" fmla="*/ 370 h 430"/>
                    <a:gd name="T10" fmla="*/ 70 w 579"/>
                    <a:gd name="T11" fmla="*/ 430 h 430"/>
                    <a:gd name="T12" fmla="*/ 434 w 579"/>
                    <a:gd name="T13" fmla="*/ 430 h 430"/>
                    <a:gd name="T14" fmla="*/ 485 w 579"/>
                    <a:gd name="T15" fmla="*/ 413 h 430"/>
                    <a:gd name="T16" fmla="*/ 507 w 579"/>
                    <a:gd name="T17" fmla="*/ 377 h 430"/>
                    <a:gd name="T18" fmla="*/ 579 w 579"/>
                    <a:gd name="T19" fmla="*/ 24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9" h="430">
                      <a:moveTo>
                        <a:pt x="442" y="0"/>
                      </a:moveTo>
                      <a:lnTo>
                        <a:pt x="442" y="0"/>
                      </a:lnTo>
                      <a:lnTo>
                        <a:pt x="380" y="310"/>
                      </a:lnTo>
                      <a:lnTo>
                        <a:pt x="70" y="310"/>
                      </a:lnTo>
                      <a:cubicBezTo>
                        <a:pt x="32" y="310"/>
                        <a:pt x="0" y="332"/>
                        <a:pt x="0" y="370"/>
                      </a:cubicBezTo>
                      <a:cubicBezTo>
                        <a:pt x="0" y="409"/>
                        <a:pt x="32" y="430"/>
                        <a:pt x="70" y="430"/>
                      </a:cubicBezTo>
                      <a:lnTo>
                        <a:pt x="434" y="430"/>
                      </a:lnTo>
                      <a:cubicBezTo>
                        <a:pt x="454" y="430"/>
                        <a:pt x="472" y="426"/>
                        <a:pt x="485" y="413"/>
                      </a:cubicBezTo>
                      <a:cubicBezTo>
                        <a:pt x="496" y="403"/>
                        <a:pt x="504" y="392"/>
                        <a:pt x="507" y="377"/>
                      </a:cubicBezTo>
                      <a:lnTo>
                        <a:pt x="579" y="24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Freeform 115">
                  <a:extLst>
                    <a:ext uri="{FF2B5EF4-FFF2-40B4-BE49-F238E27FC236}">
                      <a16:creationId xmlns:a16="http://schemas.microsoft.com/office/drawing/2014/main" id="{DF9E0323-CFA6-4E62-B395-D89A8237E0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7869" y="2939999"/>
                  <a:ext cx="114179" cy="161976"/>
                </a:xfrm>
                <a:custGeom>
                  <a:avLst/>
                  <a:gdLst>
                    <a:gd name="T0" fmla="*/ 0 w 302"/>
                    <a:gd name="T1" fmla="*/ 0 h 427"/>
                    <a:gd name="T2" fmla="*/ 0 w 302"/>
                    <a:gd name="T3" fmla="*/ 0 h 427"/>
                    <a:gd name="T4" fmla="*/ 183 w 302"/>
                    <a:gd name="T5" fmla="*/ 91 h 427"/>
                    <a:gd name="T6" fmla="*/ 227 w 302"/>
                    <a:gd name="T7" fmla="*/ 367 h 427"/>
                    <a:gd name="T8" fmla="*/ 274 w 302"/>
                    <a:gd name="T9" fmla="*/ 381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2" h="42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0"/>
                        <a:pt x="65" y="70"/>
                        <a:pt x="183" y="91"/>
                      </a:cubicBezTo>
                      <a:cubicBezTo>
                        <a:pt x="302" y="111"/>
                        <a:pt x="227" y="367"/>
                        <a:pt x="227" y="367"/>
                      </a:cubicBezTo>
                      <a:cubicBezTo>
                        <a:pt x="215" y="402"/>
                        <a:pt x="251" y="427"/>
                        <a:pt x="274" y="381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uppieren 103">
                <a:extLst>
                  <a:ext uri="{FF2B5EF4-FFF2-40B4-BE49-F238E27FC236}">
                    <a16:creationId xmlns:a16="http://schemas.microsoft.com/office/drawing/2014/main" id="{6AEB6301-16A1-4B94-92AD-6DB4A95A3140}"/>
                  </a:ext>
                </a:extLst>
              </p:cNvPr>
              <p:cNvGrpSpPr/>
              <p:nvPr/>
            </p:nvGrpSpPr>
            <p:grpSpPr>
              <a:xfrm>
                <a:off x="4825059" y="2905479"/>
                <a:ext cx="573549" cy="637281"/>
                <a:chOff x="4825059" y="2905479"/>
                <a:chExt cx="573549" cy="637281"/>
              </a:xfrm>
            </p:grpSpPr>
            <p:sp>
              <p:nvSpPr>
                <p:cNvPr id="236" name="Freeform 27">
                  <a:extLst>
                    <a:ext uri="{FF2B5EF4-FFF2-40B4-BE49-F238E27FC236}">
                      <a16:creationId xmlns:a16="http://schemas.microsoft.com/office/drawing/2014/main" id="{0963C74C-70D6-4423-A4AD-D2C373C0E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971" y="2905479"/>
                  <a:ext cx="143388" cy="419542"/>
                </a:xfrm>
                <a:custGeom>
                  <a:avLst/>
                  <a:gdLst>
                    <a:gd name="T0" fmla="*/ 373 w 377"/>
                    <a:gd name="T1" fmla="*/ 93 h 1105"/>
                    <a:gd name="T2" fmla="*/ 373 w 377"/>
                    <a:gd name="T3" fmla="*/ 93 h 1105"/>
                    <a:gd name="T4" fmla="*/ 278 w 377"/>
                    <a:gd name="T5" fmla="*/ 0 h 1105"/>
                    <a:gd name="T6" fmla="*/ 276 w 377"/>
                    <a:gd name="T7" fmla="*/ 0 h 1105"/>
                    <a:gd name="T8" fmla="*/ 191 w 377"/>
                    <a:gd name="T9" fmla="*/ 86 h 1105"/>
                    <a:gd name="T10" fmla="*/ 191 w 377"/>
                    <a:gd name="T11" fmla="*/ 293 h 1105"/>
                    <a:gd name="T12" fmla="*/ 14 w 377"/>
                    <a:gd name="T13" fmla="*/ 968 h 1105"/>
                    <a:gd name="T14" fmla="*/ 84 w 377"/>
                    <a:gd name="T15" fmla="*/ 1091 h 1105"/>
                    <a:gd name="T16" fmla="*/ 206 w 377"/>
                    <a:gd name="T17" fmla="*/ 1018 h 1105"/>
                    <a:gd name="T18" fmla="*/ 375 w 377"/>
                    <a:gd name="T19" fmla="*/ 333 h 1105"/>
                    <a:gd name="T20" fmla="*/ 373 w 377"/>
                    <a:gd name="T21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7" h="1105">
                      <a:moveTo>
                        <a:pt x="373" y="93"/>
                      </a:moveTo>
                      <a:lnTo>
                        <a:pt x="373" y="93"/>
                      </a:lnTo>
                      <a:cubicBezTo>
                        <a:pt x="373" y="37"/>
                        <a:pt x="334" y="0"/>
                        <a:pt x="278" y="0"/>
                      </a:cubicBezTo>
                      <a:lnTo>
                        <a:pt x="276" y="0"/>
                      </a:lnTo>
                      <a:cubicBezTo>
                        <a:pt x="220" y="0"/>
                        <a:pt x="191" y="31"/>
                        <a:pt x="191" y="86"/>
                      </a:cubicBezTo>
                      <a:lnTo>
                        <a:pt x="191" y="293"/>
                      </a:lnTo>
                      <a:lnTo>
                        <a:pt x="14" y="968"/>
                      </a:lnTo>
                      <a:cubicBezTo>
                        <a:pt x="0" y="1022"/>
                        <a:pt x="30" y="1077"/>
                        <a:pt x="84" y="1091"/>
                      </a:cubicBezTo>
                      <a:cubicBezTo>
                        <a:pt x="138" y="1105"/>
                        <a:pt x="192" y="1072"/>
                        <a:pt x="206" y="1018"/>
                      </a:cubicBezTo>
                      <a:cubicBezTo>
                        <a:pt x="206" y="1018"/>
                        <a:pt x="375" y="334"/>
                        <a:pt x="375" y="333"/>
                      </a:cubicBezTo>
                      <a:cubicBezTo>
                        <a:pt x="377" y="325"/>
                        <a:pt x="373" y="93"/>
                        <a:pt x="373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 28">
                  <a:extLst>
                    <a:ext uri="{FF2B5EF4-FFF2-40B4-BE49-F238E27FC236}">
                      <a16:creationId xmlns:a16="http://schemas.microsoft.com/office/drawing/2014/main" id="{0823CF4A-1D55-41F7-9A84-A174A3E656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971" y="2905479"/>
                  <a:ext cx="143388" cy="419542"/>
                </a:xfrm>
                <a:custGeom>
                  <a:avLst/>
                  <a:gdLst>
                    <a:gd name="T0" fmla="*/ 373 w 377"/>
                    <a:gd name="T1" fmla="*/ 93 h 1105"/>
                    <a:gd name="T2" fmla="*/ 373 w 377"/>
                    <a:gd name="T3" fmla="*/ 93 h 1105"/>
                    <a:gd name="T4" fmla="*/ 278 w 377"/>
                    <a:gd name="T5" fmla="*/ 0 h 1105"/>
                    <a:gd name="T6" fmla="*/ 276 w 377"/>
                    <a:gd name="T7" fmla="*/ 0 h 1105"/>
                    <a:gd name="T8" fmla="*/ 191 w 377"/>
                    <a:gd name="T9" fmla="*/ 86 h 1105"/>
                    <a:gd name="T10" fmla="*/ 191 w 377"/>
                    <a:gd name="T11" fmla="*/ 293 h 1105"/>
                    <a:gd name="T12" fmla="*/ 14 w 377"/>
                    <a:gd name="T13" fmla="*/ 968 h 1105"/>
                    <a:gd name="T14" fmla="*/ 84 w 377"/>
                    <a:gd name="T15" fmla="*/ 1091 h 1105"/>
                    <a:gd name="T16" fmla="*/ 206 w 377"/>
                    <a:gd name="T17" fmla="*/ 1018 h 1105"/>
                    <a:gd name="T18" fmla="*/ 375 w 377"/>
                    <a:gd name="T19" fmla="*/ 333 h 1105"/>
                    <a:gd name="T20" fmla="*/ 373 w 377"/>
                    <a:gd name="T21" fmla="*/ 93 h 1105"/>
                    <a:gd name="T22" fmla="*/ 373 w 377"/>
                    <a:gd name="T23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7" h="1105">
                      <a:moveTo>
                        <a:pt x="373" y="93"/>
                      </a:moveTo>
                      <a:lnTo>
                        <a:pt x="373" y="93"/>
                      </a:lnTo>
                      <a:cubicBezTo>
                        <a:pt x="373" y="37"/>
                        <a:pt x="334" y="0"/>
                        <a:pt x="278" y="0"/>
                      </a:cubicBezTo>
                      <a:lnTo>
                        <a:pt x="276" y="0"/>
                      </a:lnTo>
                      <a:cubicBezTo>
                        <a:pt x="220" y="0"/>
                        <a:pt x="191" y="31"/>
                        <a:pt x="191" y="86"/>
                      </a:cubicBezTo>
                      <a:lnTo>
                        <a:pt x="191" y="293"/>
                      </a:lnTo>
                      <a:lnTo>
                        <a:pt x="14" y="968"/>
                      </a:lnTo>
                      <a:cubicBezTo>
                        <a:pt x="0" y="1022"/>
                        <a:pt x="30" y="1077"/>
                        <a:pt x="84" y="1091"/>
                      </a:cubicBezTo>
                      <a:cubicBezTo>
                        <a:pt x="138" y="1105"/>
                        <a:pt x="192" y="1072"/>
                        <a:pt x="206" y="1018"/>
                      </a:cubicBezTo>
                      <a:cubicBezTo>
                        <a:pt x="206" y="1018"/>
                        <a:pt x="375" y="334"/>
                        <a:pt x="375" y="333"/>
                      </a:cubicBezTo>
                      <a:cubicBezTo>
                        <a:pt x="377" y="325"/>
                        <a:pt x="373" y="93"/>
                        <a:pt x="373" y="93"/>
                      </a:cubicBezTo>
                      <a:lnTo>
                        <a:pt x="373" y="9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 29">
                  <a:extLst>
                    <a:ext uri="{FF2B5EF4-FFF2-40B4-BE49-F238E27FC236}">
                      <a16:creationId xmlns:a16="http://schemas.microsoft.com/office/drawing/2014/main" id="{534C6208-9BC6-4928-91F4-BA9551AA8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5059" y="3319711"/>
                  <a:ext cx="337228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Freeform 30">
                  <a:extLst>
                    <a:ext uri="{FF2B5EF4-FFF2-40B4-BE49-F238E27FC236}">
                      <a16:creationId xmlns:a16="http://schemas.microsoft.com/office/drawing/2014/main" id="{B608A183-1C09-40BF-8231-69450214A0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5059" y="3319711"/>
                  <a:ext cx="337228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  <a:gd name="T20" fmla="*/ 837 w 887"/>
                    <a:gd name="T21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Freeform 31">
                  <a:extLst>
                    <a:ext uri="{FF2B5EF4-FFF2-40B4-BE49-F238E27FC236}">
                      <a16:creationId xmlns:a16="http://schemas.microsoft.com/office/drawing/2014/main" id="{711164AC-0950-4B07-91FD-D8EC9891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7715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Freeform 32">
                  <a:extLst>
                    <a:ext uri="{FF2B5EF4-FFF2-40B4-BE49-F238E27FC236}">
                      <a16:creationId xmlns:a16="http://schemas.microsoft.com/office/drawing/2014/main" id="{58A8F2AD-1819-4156-869D-463086F7DF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7715" y="3388749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 33">
                  <a:extLst>
                    <a:ext uri="{FF2B5EF4-FFF2-40B4-BE49-F238E27FC236}">
                      <a16:creationId xmlns:a16="http://schemas.microsoft.com/office/drawing/2014/main" id="{7533F1CD-7776-418B-A6FE-88E74B1A16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7715" y="3388749"/>
                  <a:ext cx="345193" cy="0"/>
                </a:xfrm>
                <a:custGeom>
                  <a:avLst/>
                  <a:gdLst>
                    <a:gd name="T0" fmla="*/ 0 w 911"/>
                    <a:gd name="T1" fmla="*/ 0 w 911"/>
                    <a:gd name="T2" fmla="*/ 911 w 9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1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 34">
                  <a:extLst>
                    <a:ext uri="{FF2B5EF4-FFF2-40B4-BE49-F238E27FC236}">
                      <a16:creationId xmlns:a16="http://schemas.microsoft.com/office/drawing/2014/main" id="{22A5F9C8-5A2D-4629-BBCF-8969B38BCE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7543" y="3285193"/>
                  <a:ext cx="305363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 35">
                  <a:extLst>
                    <a:ext uri="{FF2B5EF4-FFF2-40B4-BE49-F238E27FC236}">
                      <a16:creationId xmlns:a16="http://schemas.microsoft.com/office/drawing/2014/main" id="{3E284058-549B-4E95-A08E-FD2A88385B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7543" y="3285193"/>
                  <a:ext cx="305363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 36">
                  <a:extLst>
                    <a:ext uri="{FF2B5EF4-FFF2-40B4-BE49-F238E27FC236}">
                      <a16:creationId xmlns:a16="http://schemas.microsoft.com/office/drawing/2014/main" id="{B3B7C69B-D4F6-48BE-8BFA-C240957428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6920" y="3245362"/>
                  <a:ext cx="315986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 37">
                  <a:extLst>
                    <a:ext uri="{FF2B5EF4-FFF2-40B4-BE49-F238E27FC236}">
                      <a16:creationId xmlns:a16="http://schemas.microsoft.com/office/drawing/2014/main" id="{3AB57880-12BC-45F6-8FF0-696551FF3C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6920" y="3245362"/>
                  <a:ext cx="315986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 38">
                  <a:extLst>
                    <a:ext uri="{FF2B5EF4-FFF2-40B4-BE49-F238E27FC236}">
                      <a16:creationId xmlns:a16="http://schemas.microsoft.com/office/drawing/2014/main" id="{7C0FEECE-38B5-43A5-880C-FF9ED999B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6920" y="3285193"/>
                  <a:ext cx="315986" cy="0"/>
                </a:xfrm>
                <a:custGeom>
                  <a:avLst/>
                  <a:gdLst>
                    <a:gd name="T0" fmla="*/ 0 w 840"/>
                    <a:gd name="T1" fmla="*/ 0 w 840"/>
                    <a:gd name="T2" fmla="*/ 840 w 84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Freeform 39">
                  <a:extLst>
                    <a:ext uri="{FF2B5EF4-FFF2-40B4-BE49-F238E27FC236}">
                      <a16:creationId xmlns:a16="http://schemas.microsoft.com/office/drawing/2014/main" id="{3F264C01-B6E8-4DC6-98DC-2D6CBF301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47203" y="3428581"/>
                  <a:ext cx="169942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Freeform 40">
                  <a:extLst>
                    <a:ext uri="{FF2B5EF4-FFF2-40B4-BE49-F238E27FC236}">
                      <a16:creationId xmlns:a16="http://schemas.microsoft.com/office/drawing/2014/main" id="{6AC216E6-C291-4927-8AD5-CC6F04F19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47203" y="3428581"/>
                  <a:ext cx="169942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  <a:gd name="T12" fmla="*/ 450 w 450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Freeform 87">
                  <a:extLst>
                    <a:ext uri="{FF2B5EF4-FFF2-40B4-BE49-F238E27FC236}">
                      <a16:creationId xmlns:a16="http://schemas.microsoft.com/office/drawing/2014/main" id="{40DBB5C9-BE0C-45D0-8E5B-FAA27431C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871" y="3194911"/>
                  <a:ext cx="217737" cy="0"/>
                </a:xfrm>
                <a:custGeom>
                  <a:avLst/>
                  <a:gdLst>
                    <a:gd name="T0" fmla="*/ 0 w 573"/>
                    <a:gd name="T1" fmla="*/ 0 w 573"/>
                    <a:gd name="T2" fmla="*/ 573 w 57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57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73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Freeform 88">
                  <a:extLst>
                    <a:ext uri="{FF2B5EF4-FFF2-40B4-BE49-F238E27FC236}">
                      <a16:creationId xmlns:a16="http://schemas.microsoft.com/office/drawing/2014/main" id="{1E9A6658-1772-4385-9D17-98AD3986D0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8668" y="3176323"/>
                  <a:ext cx="156665" cy="18588"/>
                </a:xfrm>
                <a:custGeom>
                  <a:avLst/>
                  <a:gdLst>
                    <a:gd name="T0" fmla="*/ 0 w 410"/>
                    <a:gd name="T1" fmla="*/ 47 h 47"/>
                    <a:gd name="T2" fmla="*/ 0 w 410"/>
                    <a:gd name="T3" fmla="*/ 47 h 47"/>
                    <a:gd name="T4" fmla="*/ 0 w 410"/>
                    <a:gd name="T5" fmla="*/ 13 h 47"/>
                    <a:gd name="T6" fmla="*/ 13 w 410"/>
                    <a:gd name="T7" fmla="*/ 0 h 47"/>
                    <a:gd name="T8" fmla="*/ 398 w 410"/>
                    <a:gd name="T9" fmla="*/ 0 h 47"/>
                    <a:gd name="T10" fmla="*/ 410 w 410"/>
                    <a:gd name="T11" fmla="*/ 13 h 47"/>
                    <a:gd name="T12" fmla="*/ 410 w 410"/>
                    <a:gd name="T13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0" h="47">
                      <a:moveTo>
                        <a:pt x="0" y="47"/>
                      </a:moveTo>
                      <a:lnTo>
                        <a:pt x="0" y="47"/>
                      </a:lnTo>
                      <a:lnTo>
                        <a:pt x="0" y="13"/>
                      </a:lnTo>
                      <a:cubicBezTo>
                        <a:pt x="0" y="6"/>
                        <a:pt x="6" y="0"/>
                        <a:pt x="13" y="0"/>
                      </a:cubicBezTo>
                      <a:lnTo>
                        <a:pt x="398" y="0"/>
                      </a:lnTo>
                      <a:cubicBezTo>
                        <a:pt x="405" y="0"/>
                        <a:pt x="410" y="6"/>
                        <a:pt x="410" y="13"/>
                      </a:cubicBezTo>
                      <a:lnTo>
                        <a:pt x="410" y="47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Freeform 89">
                  <a:extLst>
                    <a:ext uri="{FF2B5EF4-FFF2-40B4-BE49-F238E27FC236}">
                      <a16:creationId xmlns:a16="http://schemas.microsoft.com/office/drawing/2014/main" id="{BAA73ED6-EC55-4C19-83AE-5601B2318E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8666" y="3051523"/>
                  <a:ext cx="0" cy="130112"/>
                </a:xfrm>
                <a:custGeom>
                  <a:avLst/>
                  <a:gdLst>
                    <a:gd name="T0" fmla="*/ 338 h 338"/>
                    <a:gd name="T1" fmla="*/ 338 h 338"/>
                    <a:gd name="T2" fmla="*/ 0 h 338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338">
                      <a:moveTo>
                        <a:pt x="0" y="338"/>
                      </a:moveTo>
                      <a:lnTo>
                        <a:pt x="0" y="338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Freeform 251">
                  <a:extLst>
                    <a:ext uri="{FF2B5EF4-FFF2-40B4-BE49-F238E27FC236}">
                      <a16:creationId xmlns:a16="http://schemas.microsoft.com/office/drawing/2014/main" id="{63B101F0-28CE-425E-A5CD-6F236F506C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5220" y="3019654"/>
                  <a:ext cx="122144" cy="122144"/>
                </a:xfrm>
                <a:custGeom>
                  <a:avLst/>
                  <a:gdLst>
                    <a:gd name="T0" fmla="*/ 56 w 319"/>
                    <a:gd name="T1" fmla="*/ 263 h 320"/>
                    <a:gd name="T2" fmla="*/ 56 w 319"/>
                    <a:gd name="T3" fmla="*/ 263 h 320"/>
                    <a:gd name="T4" fmla="*/ 262 w 319"/>
                    <a:gd name="T5" fmla="*/ 263 h 320"/>
                    <a:gd name="T6" fmla="*/ 262 w 319"/>
                    <a:gd name="T7" fmla="*/ 57 h 320"/>
                    <a:gd name="T8" fmla="*/ 56 w 319"/>
                    <a:gd name="T9" fmla="*/ 57 h 320"/>
                    <a:gd name="T10" fmla="*/ 56 w 319"/>
                    <a:gd name="T11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19" h="320">
                      <a:moveTo>
                        <a:pt x="56" y="263"/>
                      </a:moveTo>
                      <a:lnTo>
                        <a:pt x="56" y="263"/>
                      </a:lnTo>
                      <a:cubicBezTo>
                        <a:pt x="113" y="320"/>
                        <a:pt x="206" y="320"/>
                        <a:pt x="262" y="263"/>
                      </a:cubicBezTo>
                      <a:cubicBezTo>
                        <a:pt x="319" y="206"/>
                        <a:pt x="319" y="114"/>
                        <a:pt x="262" y="57"/>
                      </a:cubicBezTo>
                      <a:cubicBezTo>
                        <a:pt x="206" y="0"/>
                        <a:pt x="113" y="0"/>
                        <a:pt x="56" y="57"/>
                      </a:cubicBezTo>
                      <a:cubicBezTo>
                        <a:pt x="0" y="114"/>
                        <a:pt x="0" y="206"/>
                        <a:pt x="56" y="2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 252">
                  <a:extLst>
                    <a:ext uri="{FF2B5EF4-FFF2-40B4-BE49-F238E27FC236}">
                      <a16:creationId xmlns:a16="http://schemas.microsoft.com/office/drawing/2014/main" id="{E6710C77-A083-49D7-A98E-EC8EBE7B10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5222" y="3019641"/>
                  <a:ext cx="122144" cy="122144"/>
                </a:xfrm>
                <a:custGeom>
                  <a:avLst/>
                  <a:gdLst>
                    <a:gd name="T0" fmla="*/ 56 w 319"/>
                    <a:gd name="T1" fmla="*/ 263 h 320"/>
                    <a:gd name="T2" fmla="*/ 56 w 319"/>
                    <a:gd name="T3" fmla="*/ 263 h 320"/>
                    <a:gd name="T4" fmla="*/ 262 w 319"/>
                    <a:gd name="T5" fmla="*/ 263 h 320"/>
                    <a:gd name="T6" fmla="*/ 262 w 319"/>
                    <a:gd name="T7" fmla="*/ 57 h 320"/>
                    <a:gd name="T8" fmla="*/ 56 w 319"/>
                    <a:gd name="T9" fmla="*/ 57 h 320"/>
                    <a:gd name="T10" fmla="*/ 56 w 319"/>
                    <a:gd name="T11" fmla="*/ 263 h 320"/>
                    <a:gd name="T12" fmla="*/ 56 w 319"/>
                    <a:gd name="T13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9" h="320">
                      <a:moveTo>
                        <a:pt x="56" y="263"/>
                      </a:moveTo>
                      <a:lnTo>
                        <a:pt x="56" y="263"/>
                      </a:lnTo>
                      <a:cubicBezTo>
                        <a:pt x="113" y="320"/>
                        <a:pt x="206" y="320"/>
                        <a:pt x="262" y="263"/>
                      </a:cubicBezTo>
                      <a:cubicBezTo>
                        <a:pt x="319" y="206"/>
                        <a:pt x="319" y="114"/>
                        <a:pt x="262" y="57"/>
                      </a:cubicBezTo>
                      <a:cubicBezTo>
                        <a:pt x="206" y="0"/>
                        <a:pt x="113" y="0"/>
                        <a:pt x="56" y="57"/>
                      </a:cubicBezTo>
                      <a:cubicBezTo>
                        <a:pt x="0" y="114"/>
                        <a:pt x="0" y="206"/>
                        <a:pt x="56" y="263"/>
                      </a:cubicBezTo>
                      <a:lnTo>
                        <a:pt x="56" y="26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253">
                  <a:extLst>
                    <a:ext uri="{FF2B5EF4-FFF2-40B4-BE49-F238E27FC236}">
                      <a16:creationId xmlns:a16="http://schemas.microsoft.com/office/drawing/2014/main" id="{BB8BD50F-E7F2-4630-B362-184F04622F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1780" y="3046192"/>
                  <a:ext cx="69039" cy="69039"/>
                </a:xfrm>
                <a:custGeom>
                  <a:avLst/>
                  <a:gdLst>
                    <a:gd name="T0" fmla="*/ 33 w 187"/>
                    <a:gd name="T1" fmla="*/ 153 h 186"/>
                    <a:gd name="T2" fmla="*/ 33 w 187"/>
                    <a:gd name="T3" fmla="*/ 153 h 186"/>
                    <a:gd name="T4" fmla="*/ 153 w 187"/>
                    <a:gd name="T5" fmla="*/ 153 h 186"/>
                    <a:gd name="T6" fmla="*/ 153 w 187"/>
                    <a:gd name="T7" fmla="*/ 33 h 186"/>
                    <a:gd name="T8" fmla="*/ 33 w 187"/>
                    <a:gd name="T9" fmla="*/ 33 h 186"/>
                    <a:gd name="T10" fmla="*/ 33 w 187"/>
                    <a:gd name="T11" fmla="*/ 153 h 186"/>
                    <a:gd name="T12" fmla="*/ 33 w 187"/>
                    <a:gd name="T13" fmla="*/ 153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86">
                      <a:moveTo>
                        <a:pt x="33" y="153"/>
                      </a:moveTo>
                      <a:lnTo>
                        <a:pt x="33" y="153"/>
                      </a:lnTo>
                      <a:cubicBezTo>
                        <a:pt x="67" y="186"/>
                        <a:pt x="120" y="186"/>
                        <a:pt x="153" y="153"/>
                      </a:cubicBezTo>
                      <a:cubicBezTo>
                        <a:pt x="187" y="120"/>
                        <a:pt x="187" y="66"/>
                        <a:pt x="153" y="33"/>
                      </a:cubicBezTo>
                      <a:cubicBezTo>
                        <a:pt x="120" y="0"/>
                        <a:pt x="67" y="0"/>
                        <a:pt x="33" y="33"/>
                      </a:cubicBezTo>
                      <a:cubicBezTo>
                        <a:pt x="0" y="66"/>
                        <a:pt x="0" y="120"/>
                        <a:pt x="33" y="153"/>
                      </a:cubicBezTo>
                      <a:lnTo>
                        <a:pt x="33" y="15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Freeform 254">
                  <a:extLst>
                    <a:ext uri="{FF2B5EF4-FFF2-40B4-BE49-F238E27FC236}">
                      <a16:creationId xmlns:a16="http://schemas.microsoft.com/office/drawing/2014/main" id="{CC75851C-D337-457B-8284-DFB8B60F65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5679" y="3070090"/>
                  <a:ext cx="21242" cy="21242"/>
                </a:xfrm>
                <a:custGeom>
                  <a:avLst/>
                  <a:gdLst>
                    <a:gd name="T0" fmla="*/ 10 w 59"/>
                    <a:gd name="T1" fmla="*/ 49 h 59"/>
                    <a:gd name="T2" fmla="*/ 10 w 59"/>
                    <a:gd name="T3" fmla="*/ 49 h 59"/>
                    <a:gd name="T4" fmla="*/ 48 w 59"/>
                    <a:gd name="T5" fmla="*/ 49 h 59"/>
                    <a:gd name="T6" fmla="*/ 48 w 59"/>
                    <a:gd name="T7" fmla="*/ 11 h 59"/>
                    <a:gd name="T8" fmla="*/ 10 w 59"/>
                    <a:gd name="T9" fmla="*/ 11 h 59"/>
                    <a:gd name="T10" fmla="*/ 10 w 59"/>
                    <a:gd name="T11" fmla="*/ 49 h 59"/>
                    <a:gd name="T12" fmla="*/ 10 w 59"/>
                    <a:gd name="T13" fmla="*/ 4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59">
                      <a:moveTo>
                        <a:pt x="10" y="49"/>
                      </a:moveTo>
                      <a:lnTo>
                        <a:pt x="10" y="49"/>
                      </a:lnTo>
                      <a:cubicBezTo>
                        <a:pt x="21" y="59"/>
                        <a:pt x="38" y="59"/>
                        <a:pt x="48" y="49"/>
                      </a:cubicBezTo>
                      <a:cubicBezTo>
                        <a:pt x="59" y="38"/>
                        <a:pt x="59" y="21"/>
                        <a:pt x="48" y="11"/>
                      </a:cubicBezTo>
                      <a:cubicBezTo>
                        <a:pt x="38" y="0"/>
                        <a:pt x="21" y="0"/>
                        <a:pt x="10" y="11"/>
                      </a:cubicBezTo>
                      <a:cubicBezTo>
                        <a:pt x="0" y="21"/>
                        <a:pt x="0" y="38"/>
                        <a:pt x="10" y="49"/>
                      </a:cubicBezTo>
                      <a:lnTo>
                        <a:pt x="10" y="49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uppieren 104">
                <a:extLst>
                  <a:ext uri="{FF2B5EF4-FFF2-40B4-BE49-F238E27FC236}">
                    <a16:creationId xmlns:a16="http://schemas.microsoft.com/office/drawing/2014/main" id="{BABE1567-284E-43D3-9A69-37CB9CB92642}"/>
                  </a:ext>
                </a:extLst>
              </p:cNvPr>
              <p:cNvGrpSpPr/>
              <p:nvPr/>
            </p:nvGrpSpPr>
            <p:grpSpPr>
              <a:xfrm>
                <a:off x="6067752" y="2831131"/>
                <a:ext cx="557623" cy="711630"/>
                <a:chOff x="6067752" y="2831131"/>
                <a:chExt cx="557623" cy="711630"/>
              </a:xfrm>
            </p:grpSpPr>
            <p:sp>
              <p:nvSpPr>
                <p:cNvPr id="206" name="Freeform 41">
                  <a:extLst>
                    <a:ext uri="{FF2B5EF4-FFF2-40B4-BE49-F238E27FC236}">
                      <a16:creationId xmlns:a16="http://schemas.microsoft.com/office/drawing/2014/main" id="{D09F3526-5803-4404-A991-955E7C37D0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9331" y="2905480"/>
                  <a:ext cx="146044" cy="419542"/>
                </a:xfrm>
                <a:custGeom>
                  <a:avLst/>
                  <a:gdLst>
                    <a:gd name="T0" fmla="*/ 386 w 388"/>
                    <a:gd name="T1" fmla="*/ 93 h 1105"/>
                    <a:gd name="T2" fmla="*/ 386 w 388"/>
                    <a:gd name="T3" fmla="*/ 93 h 1105"/>
                    <a:gd name="T4" fmla="*/ 291 w 388"/>
                    <a:gd name="T5" fmla="*/ 0 h 1105"/>
                    <a:gd name="T6" fmla="*/ 289 w 388"/>
                    <a:gd name="T7" fmla="*/ 0 h 1105"/>
                    <a:gd name="T8" fmla="*/ 178 w 388"/>
                    <a:gd name="T9" fmla="*/ 86 h 1105"/>
                    <a:gd name="T10" fmla="*/ 178 w 388"/>
                    <a:gd name="T11" fmla="*/ 293 h 1105"/>
                    <a:gd name="T12" fmla="*/ 14 w 388"/>
                    <a:gd name="T13" fmla="*/ 968 h 1105"/>
                    <a:gd name="T14" fmla="*/ 91 w 388"/>
                    <a:gd name="T15" fmla="*/ 1091 h 1105"/>
                    <a:gd name="T16" fmla="*/ 215 w 388"/>
                    <a:gd name="T17" fmla="*/ 1018 h 1105"/>
                    <a:gd name="T18" fmla="*/ 386 w 388"/>
                    <a:gd name="T19" fmla="*/ 333 h 1105"/>
                    <a:gd name="T20" fmla="*/ 386 w 388"/>
                    <a:gd name="T21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8" h="1105">
                      <a:moveTo>
                        <a:pt x="386" y="93"/>
                      </a:moveTo>
                      <a:lnTo>
                        <a:pt x="386" y="93"/>
                      </a:lnTo>
                      <a:cubicBezTo>
                        <a:pt x="386" y="37"/>
                        <a:pt x="347" y="0"/>
                        <a:pt x="291" y="0"/>
                      </a:cubicBezTo>
                      <a:lnTo>
                        <a:pt x="289" y="0"/>
                      </a:lnTo>
                      <a:cubicBezTo>
                        <a:pt x="233" y="0"/>
                        <a:pt x="178" y="31"/>
                        <a:pt x="178" y="86"/>
                      </a:cubicBezTo>
                      <a:lnTo>
                        <a:pt x="178" y="293"/>
                      </a:lnTo>
                      <a:lnTo>
                        <a:pt x="14" y="968"/>
                      </a:lnTo>
                      <a:cubicBezTo>
                        <a:pt x="0" y="1022"/>
                        <a:pt x="36" y="1077"/>
                        <a:pt x="91" y="1091"/>
                      </a:cubicBezTo>
                      <a:cubicBezTo>
                        <a:pt x="145" y="1105"/>
                        <a:pt x="202" y="1072"/>
                        <a:pt x="215" y="1018"/>
                      </a:cubicBezTo>
                      <a:cubicBezTo>
                        <a:pt x="215" y="1018"/>
                        <a:pt x="386" y="334"/>
                        <a:pt x="386" y="333"/>
                      </a:cubicBezTo>
                      <a:cubicBezTo>
                        <a:pt x="388" y="325"/>
                        <a:pt x="386" y="93"/>
                        <a:pt x="386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42">
                  <a:extLst>
                    <a:ext uri="{FF2B5EF4-FFF2-40B4-BE49-F238E27FC236}">
                      <a16:creationId xmlns:a16="http://schemas.microsoft.com/office/drawing/2014/main" id="{A79A6BB9-7F2B-41B5-97A4-E6891251C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9331" y="2905480"/>
                  <a:ext cx="146044" cy="419542"/>
                </a:xfrm>
                <a:custGeom>
                  <a:avLst/>
                  <a:gdLst>
                    <a:gd name="T0" fmla="*/ 386 w 388"/>
                    <a:gd name="T1" fmla="*/ 93 h 1105"/>
                    <a:gd name="T2" fmla="*/ 386 w 388"/>
                    <a:gd name="T3" fmla="*/ 93 h 1105"/>
                    <a:gd name="T4" fmla="*/ 291 w 388"/>
                    <a:gd name="T5" fmla="*/ 0 h 1105"/>
                    <a:gd name="T6" fmla="*/ 289 w 388"/>
                    <a:gd name="T7" fmla="*/ 0 h 1105"/>
                    <a:gd name="T8" fmla="*/ 178 w 388"/>
                    <a:gd name="T9" fmla="*/ 86 h 1105"/>
                    <a:gd name="T10" fmla="*/ 178 w 388"/>
                    <a:gd name="T11" fmla="*/ 293 h 1105"/>
                    <a:gd name="T12" fmla="*/ 14 w 388"/>
                    <a:gd name="T13" fmla="*/ 968 h 1105"/>
                    <a:gd name="T14" fmla="*/ 91 w 388"/>
                    <a:gd name="T15" fmla="*/ 1091 h 1105"/>
                    <a:gd name="T16" fmla="*/ 215 w 388"/>
                    <a:gd name="T17" fmla="*/ 1018 h 1105"/>
                    <a:gd name="T18" fmla="*/ 386 w 388"/>
                    <a:gd name="T19" fmla="*/ 333 h 1105"/>
                    <a:gd name="T20" fmla="*/ 386 w 388"/>
                    <a:gd name="T21" fmla="*/ 93 h 1105"/>
                    <a:gd name="T22" fmla="*/ 386 w 388"/>
                    <a:gd name="T23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8" h="1105">
                      <a:moveTo>
                        <a:pt x="386" y="93"/>
                      </a:moveTo>
                      <a:lnTo>
                        <a:pt x="386" y="93"/>
                      </a:lnTo>
                      <a:cubicBezTo>
                        <a:pt x="386" y="37"/>
                        <a:pt x="347" y="0"/>
                        <a:pt x="291" y="0"/>
                      </a:cubicBezTo>
                      <a:lnTo>
                        <a:pt x="289" y="0"/>
                      </a:lnTo>
                      <a:cubicBezTo>
                        <a:pt x="233" y="0"/>
                        <a:pt x="178" y="31"/>
                        <a:pt x="178" y="86"/>
                      </a:cubicBezTo>
                      <a:lnTo>
                        <a:pt x="178" y="293"/>
                      </a:lnTo>
                      <a:lnTo>
                        <a:pt x="14" y="968"/>
                      </a:lnTo>
                      <a:cubicBezTo>
                        <a:pt x="0" y="1022"/>
                        <a:pt x="36" y="1077"/>
                        <a:pt x="91" y="1091"/>
                      </a:cubicBezTo>
                      <a:cubicBezTo>
                        <a:pt x="145" y="1105"/>
                        <a:pt x="202" y="1072"/>
                        <a:pt x="215" y="1018"/>
                      </a:cubicBezTo>
                      <a:cubicBezTo>
                        <a:pt x="215" y="1018"/>
                        <a:pt x="386" y="334"/>
                        <a:pt x="386" y="333"/>
                      </a:cubicBezTo>
                      <a:cubicBezTo>
                        <a:pt x="388" y="325"/>
                        <a:pt x="386" y="93"/>
                        <a:pt x="386" y="93"/>
                      </a:cubicBezTo>
                      <a:lnTo>
                        <a:pt x="386" y="9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43">
                  <a:extLst>
                    <a:ext uri="{FF2B5EF4-FFF2-40B4-BE49-F238E27FC236}">
                      <a16:creationId xmlns:a16="http://schemas.microsoft.com/office/drawing/2014/main" id="{B6807351-30C1-4797-977C-E2E3EF36EC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9729" y="3319712"/>
                  <a:ext cx="337228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44">
                  <a:extLst>
                    <a:ext uri="{FF2B5EF4-FFF2-40B4-BE49-F238E27FC236}">
                      <a16:creationId xmlns:a16="http://schemas.microsoft.com/office/drawing/2014/main" id="{533AAC53-96DA-4B6C-A574-B7F214F676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9729" y="3319712"/>
                  <a:ext cx="337228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  <a:gd name="T20" fmla="*/ 837 w 887"/>
                    <a:gd name="T21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4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4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45">
                  <a:extLst>
                    <a:ext uri="{FF2B5EF4-FFF2-40B4-BE49-F238E27FC236}">
                      <a16:creationId xmlns:a16="http://schemas.microsoft.com/office/drawing/2014/main" id="{1057FC40-03E5-4AAD-B4B9-B40A17B4D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2384" y="3388750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46">
                  <a:extLst>
                    <a:ext uri="{FF2B5EF4-FFF2-40B4-BE49-F238E27FC236}">
                      <a16:creationId xmlns:a16="http://schemas.microsoft.com/office/drawing/2014/main" id="{E03DDD1D-C80F-43C3-BE4E-36F9E351D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2384" y="3388750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47">
                  <a:extLst>
                    <a:ext uri="{FF2B5EF4-FFF2-40B4-BE49-F238E27FC236}">
                      <a16:creationId xmlns:a16="http://schemas.microsoft.com/office/drawing/2014/main" id="{D8F2E593-05C9-4743-87B1-EC331DDD3A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2384" y="3388750"/>
                  <a:ext cx="345193" cy="0"/>
                </a:xfrm>
                <a:custGeom>
                  <a:avLst/>
                  <a:gdLst>
                    <a:gd name="T0" fmla="*/ 0 w 911"/>
                    <a:gd name="T1" fmla="*/ 0 w 911"/>
                    <a:gd name="T2" fmla="*/ 911 w 9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1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48">
                  <a:extLst>
                    <a:ext uri="{FF2B5EF4-FFF2-40B4-BE49-F238E27FC236}">
                      <a16:creationId xmlns:a16="http://schemas.microsoft.com/office/drawing/2014/main" id="{8FBAF814-6542-45F7-A2A3-7AC9A5C58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2215" y="3285194"/>
                  <a:ext cx="305363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49">
                  <a:extLst>
                    <a:ext uri="{FF2B5EF4-FFF2-40B4-BE49-F238E27FC236}">
                      <a16:creationId xmlns:a16="http://schemas.microsoft.com/office/drawing/2014/main" id="{BBAAE77C-6CC8-4B13-B959-FCF9F8F9F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2215" y="3285194"/>
                  <a:ext cx="305363" cy="143388"/>
                </a:xfrm>
                <a:custGeom>
                  <a:avLst/>
                  <a:gdLst>
                    <a:gd name="T0" fmla="*/ 806 w 806"/>
                    <a:gd name="T1" fmla="*/ 0 h 382"/>
                    <a:gd name="T2" fmla="*/ 806 w 806"/>
                    <a:gd name="T3" fmla="*/ 0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0"/>
                      </a:moveTo>
                      <a:lnTo>
                        <a:pt x="806" y="0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50">
                  <a:extLst>
                    <a:ext uri="{FF2B5EF4-FFF2-40B4-BE49-F238E27FC236}">
                      <a16:creationId xmlns:a16="http://schemas.microsoft.com/office/drawing/2014/main" id="{6C0A956D-0D01-459B-A15D-A721829C56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1594" y="3245363"/>
                  <a:ext cx="315986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51">
                  <a:extLst>
                    <a:ext uri="{FF2B5EF4-FFF2-40B4-BE49-F238E27FC236}">
                      <a16:creationId xmlns:a16="http://schemas.microsoft.com/office/drawing/2014/main" id="{47EF43A1-3059-4931-9D8B-C848A71CA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1594" y="3245363"/>
                  <a:ext cx="315986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52">
                  <a:extLst>
                    <a:ext uri="{FF2B5EF4-FFF2-40B4-BE49-F238E27FC236}">
                      <a16:creationId xmlns:a16="http://schemas.microsoft.com/office/drawing/2014/main" id="{475DF0C9-31D5-4FD4-900A-4250C38CC5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1594" y="3285194"/>
                  <a:ext cx="315986" cy="0"/>
                </a:xfrm>
                <a:custGeom>
                  <a:avLst/>
                  <a:gdLst>
                    <a:gd name="T0" fmla="*/ 0 w 840"/>
                    <a:gd name="T1" fmla="*/ 0 w 840"/>
                    <a:gd name="T2" fmla="*/ 840 w 84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53">
                  <a:extLst>
                    <a:ext uri="{FF2B5EF4-FFF2-40B4-BE49-F238E27FC236}">
                      <a16:creationId xmlns:a16="http://schemas.microsoft.com/office/drawing/2014/main" id="{648BD54A-A8EE-48B7-A74F-1F33FF0282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875" y="3428582"/>
                  <a:ext cx="169942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54">
                  <a:extLst>
                    <a:ext uri="{FF2B5EF4-FFF2-40B4-BE49-F238E27FC236}">
                      <a16:creationId xmlns:a16="http://schemas.microsoft.com/office/drawing/2014/main" id="{A738CC06-68CC-44AE-9789-37ECFB068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875" y="3428582"/>
                  <a:ext cx="169942" cy="114179"/>
                </a:xfrm>
                <a:custGeom>
                  <a:avLst/>
                  <a:gdLst>
                    <a:gd name="T0" fmla="*/ 450 w 450"/>
                    <a:gd name="T1" fmla="*/ 296 h 296"/>
                    <a:gd name="T2" fmla="*/ 450 w 450"/>
                    <a:gd name="T3" fmla="*/ 296 h 296"/>
                    <a:gd name="T4" fmla="*/ 94 w 450"/>
                    <a:gd name="T5" fmla="*/ 296 h 296"/>
                    <a:gd name="T6" fmla="*/ 0 w 450"/>
                    <a:gd name="T7" fmla="*/ 0 h 296"/>
                    <a:gd name="T8" fmla="*/ 450 w 450"/>
                    <a:gd name="T9" fmla="*/ 0 h 296"/>
                    <a:gd name="T10" fmla="*/ 450 w 450"/>
                    <a:gd name="T11" fmla="*/ 296 h 296"/>
                    <a:gd name="T12" fmla="*/ 450 w 450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0" h="296">
                      <a:moveTo>
                        <a:pt x="450" y="296"/>
                      </a:moveTo>
                      <a:lnTo>
                        <a:pt x="450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0" y="0"/>
                      </a:lnTo>
                      <a:lnTo>
                        <a:pt x="450" y="296"/>
                      </a:lnTo>
                      <a:lnTo>
                        <a:pt x="450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67">
                  <a:extLst>
                    <a:ext uri="{FF2B5EF4-FFF2-40B4-BE49-F238E27FC236}">
                      <a16:creationId xmlns:a16="http://schemas.microsoft.com/office/drawing/2014/main" id="{48868164-DA65-4868-BB22-26BECE290E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6791" y="2985140"/>
                  <a:ext cx="236326" cy="557619"/>
                </a:xfrm>
                <a:custGeom>
                  <a:avLst/>
                  <a:gdLst>
                    <a:gd name="T0" fmla="*/ 3 w 622"/>
                    <a:gd name="T1" fmla="*/ 16 h 1463"/>
                    <a:gd name="T2" fmla="*/ 3 w 622"/>
                    <a:gd name="T3" fmla="*/ 16 h 1463"/>
                    <a:gd name="T4" fmla="*/ 24 w 622"/>
                    <a:gd name="T5" fmla="*/ 7 h 1463"/>
                    <a:gd name="T6" fmla="*/ 46 w 622"/>
                    <a:gd name="T7" fmla="*/ 2 h 1463"/>
                    <a:gd name="T8" fmla="*/ 60 w 622"/>
                    <a:gd name="T9" fmla="*/ 0 h 1463"/>
                    <a:gd name="T10" fmla="*/ 363 w 622"/>
                    <a:gd name="T11" fmla="*/ 0 h 1463"/>
                    <a:gd name="T12" fmla="*/ 374 w 622"/>
                    <a:gd name="T13" fmla="*/ 1 h 1463"/>
                    <a:gd name="T14" fmla="*/ 441 w 622"/>
                    <a:gd name="T15" fmla="*/ 24 h 1463"/>
                    <a:gd name="T16" fmla="*/ 565 w 622"/>
                    <a:gd name="T17" fmla="*/ 214 h 1463"/>
                    <a:gd name="T18" fmla="*/ 622 w 622"/>
                    <a:gd name="T19" fmla="*/ 717 h 1463"/>
                    <a:gd name="T20" fmla="*/ 560 w 622"/>
                    <a:gd name="T21" fmla="*/ 780 h 1463"/>
                    <a:gd name="T22" fmla="*/ 497 w 622"/>
                    <a:gd name="T23" fmla="*/ 717 h 1463"/>
                    <a:gd name="T24" fmla="*/ 424 w 622"/>
                    <a:gd name="T25" fmla="*/ 197 h 1463"/>
                    <a:gd name="T26" fmla="*/ 424 w 622"/>
                    <a:gd name="T27" fmla="*/ 1366 h 1463"/>
                    <a:gd name="T28" fmla="*/ 327 w 622"/>
                    <a:gd name="T29" fmla="*/ 1463 h 1463"/>
                    <a:gd name="T30" fmla="*/ 230 w 622"/>
                    <a:gd name="T31" fmla="*/ 1366 h 1463"/>
                    <a:gd name="T32" fmla="*/ 230 w 622"/>
                    <a:gd name="T33" fmla="*/ 658 h 1463"/>
                    <a:gd name="T34" fmla="*/ 194 w 622"/>
                    <a:gd name="T35" fmla="*/ 658 h 1463"/>
                    <a:gd name="T36" fmla="*/ 194 w 622"/>
                    <a:gd name="T37" fmla="*/ 1366 h 1463"/>
                    <a:gd name="T38" fmla="*/ 97 w 622"/>
                    <a:gd name="T39" fmla="*/ 1463 h 1463"/>
                    <a:gd name="T40" fmla="*/ 0 w 622"/>
                    <a:gd name="T41" fmla="*/ 1366 h 1463"/>
                    <a:gd name="T42" fmla="*/ 0 w 622"/>
                    <a:gd name="T43" fmla="*/ 406 h 1463"/>
                    <a:gd name="T44" fmla="*/ 0 w 622"/>
                    <a:gd name="T45" fmla="*/ 408 h 1463"/>
                    <a:gd name="T46" fmla="*/ 0 w 622"/>
                    <a:gd name="T47" fmla="*/ 172 h 1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22" h="1463">
                      <a:moveTo>
                        <a:pt x="3" y="16"/>
                      </a:moveTo>
                      <a:lnTo>
                        <a:pt x="3" y="16"/>
                      </a:lnTo>
                      <a:cubicBezTo>
                        <a:pt x="10" y="13"/>
                        <a:pt x="17" y="10"/>
                        <a:pt x="24" y="7"/>
                      </a:cubicBezTo>
                      <a:cubicBezTo>
                        <a:pt x="31" y="5"/>
                        <a:pt x="38" y="3"/>
                        <a:pt x="46" y="2"/>
                      </a:cubicBezTo>
                      <a:cubicBezTo>
                        <a:pt x="51" y="1"/>
                        <a:pt x="55" y="0"/>
                        <a:pt x="60" y="0"/>
                      </a:cubicBezTo>
                      <a:lnTo>
                        <a:pt x="363" y="0"/>
                      </a:lnTo>
                      <a:cubicBezTo>
                        <a:pt x="367" y="0"/>
                        <a:pt x="370" y="0"/>
                        <a:pt x="374" y="1"/>
                      </a:cubicBezTo>
                      <a:cubicBezTo>
                        <a:pt x="390" y="2"/>
                        <a:pt x="415" y="7"/>
                        <a:pt x="441" y="24"/>
                      </a:cubicBezTo>
                      <a:cubicBezTo>
                        <a:pt x="486" y="52"/>
                        <a:pt x="532" y="109"/>
                        <a:pt x="565" y="214"/>
                      </a:cubicBezTo>
                      <a:cubicBezTo>
                        <a:pt x="599" y="319"/>
                        <a:pt x="622" y="476"/>
                        <a:pt x="622" y="717"/>
                      </a:cubicBezTo>
                      <a:cubicBezTo>
                        <a:pt x="622" y="752"/>
                        <a:pt x="594" y="780"/>
                        <a:pt x="560" y="780"/>
                      </a:cubicBezTo>
                      <a:cubicBezTo>
                        <a:pt x="525" y="780"/>
                        <a:pt x="497" y="752"/>
                        <a:pt x="497" y="717"/>
                      </a:cubicBezTo>
                      <a:cubicBezTo>
                        <a:pt x="497" y="426"/>
                        <a:pt x="459" y="271"/>
                        <a:pt x="424" y="197"/>
                      </a:cubicBezTo>
                      <a:lnTo>
                        <a:pt x="424" y="1366"/>
                      </a:lnTo>
                      <a:cubicBezTo>
                        <a:pt x="424" y="1420"/>
                        <a:pt x="381" y="1463"/>
                        <a:pt x="327" y="1463"/>
                      </a:cubicBezTo>
                      <a:cubicBezTo>
                        <a:pt x="274" y="1463"/>
                        <a:pt x="230" y="1420"/>
                        <a:pt x="230" y="1366"/>
                      </a:cubicBezTo>
                      <a:lnTo>
                        <a:pt x="230" y="658"/>
                      </a:lnTo>
                      <a:lnTo>
                        <a:pt x="194" y="658"/>
                      </a:lnTo>
                      <a:lnTo>
                        <a:pt x="194" y="1366"/>
                      </a:lnTo>
                      <a:cubicBezTo>
                        <a:pt x="194" y="1420"/>
                        <a:pt x="150" y="1463"/>
                        <a:pt x="97" y="1463"/>
                      </a:cubicBezTo>
                      <a:cubicBezTo>
                        <a:pt x="43" y="1463"/>
                        <a:pt x="0" y="1420"/>
                        <a:pt x="0" y="1366"/>
                      </a:cubicBezTo>
                      <a:lnTo>
                        <a:pt x="0" y="406"/>
                      </a:lnTo>
                      <a:lnTo>
                        <a:pt x="0" y="408"/>
                      </a:lnTo>
                      <a:lnTo>
                        <a:pt x="0" y="172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 68">
                  <a:extLst>
                    <a:ext uri="{FF2B5EF4-FFF2-40B4-BE49-F238E27FC236}">
                      <a16:creationId xmlns:a16="http://schemas.microsoft.com/office/drawing/2014/main" id="{A9105428-FF8E-404D-A300-7EDEEFC807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6791" y="2985140"/>
                  <a:ext cx="236326" cy="557619"/>
                </a:xfrm>
                <a:custGeom>
                  <a:avLst/>
                  <a:gdLst>
                    <a:gd name="T0" fmla="*/ 3 w 622"/>
                    <a:gd name="T1" fmla="*/ 16 h 1463"/>
                    <a:gd name="T2" fmla="*/ 3 w 622"/>
                    <a:gd name="T3" fmla="*/ 16 h 1463"/>
                    <a:gd name="T4" fmla="*/ 24 w 622"/>
                    <a:gd name="T5" fmla="*/ 7 h 1463"/>
                    <a:gd name="T6" fmla="*/ 46 w 622"/>
                    <a:gd name="T7" fmla="*/ 2 h 1463"/>
                    <a:gd name="T8" fmla="*/ 60 w 622"/>
                    <a:gd name="T9" fmla="*/ 0 h 1463"/>
                    <a:gd name="T10" fmla="*/ 363 w 622"/>
                    <a:gd name="T11" fmla="*/ 0 h 1463"/>
                    <a:gd name="T12" fmla="*/ 374 w 622"/>
                    <a:gd name="T13" fmla="*/ 1 h 1463"/>
                    <a:gd name="T14" fmla="*/ 441 w 622"/>
                    <a:gd name="T15" fmla="*/ 24 h 1463"/>
                    <a:gd name="T16" fmla="*/ 565 w 622"/>
                    <a:gd name="T17" fmla="*/ 214 h 1463"/>
                    <a:gd name="T18" fmla="*/ 622 w 622"/>
                    <a:gd name="T19" fmla="*/ 717 h 1463"/>
                    <a:gd name="T20" fmla="*/ 560 w 622"/>
                    <a:gd name="T21" fmla="*/ 780 h 1463"/>
                    <a:gd name="T22" fmla="*/ 497 w 622"/>
                    <a:gd name="T23" fmla="*/ 717 h 1463"/>
                    <a:gd name="T24" fmla="*/ 424 w 622"/>
                    <a:gd name="T25" fmla="*/ 197 h 1463"/>
                    <a:gd name="T26" fmla="*/ 424 w 622"/>
                    <a:gd name="T27" fmla="*/ 1366 h 1463"/>
                    <a:gd name="T28" fmla="*/ 327 w 622"/>
                    <a:gd name="T29" fmla="*/ 1463 h 1463"/>
                    <a:gd name="T30" fmla="*/ 230 w 622"/>
                    <a:gd name="T31" fmla="*/ 1366 h 1463"/>
                    <a:gd name="T32" fmla="*/ 230 w 622"/>
                    <a:gd name="T33" fmla="*/ 658 h 1463"/>
                    <a:gd name="T34" fmla="*/ 194 w 622"/>
                    <a:gd name="T35" fmla="*/ 658 h 1463"/>
                    <a:gd name="T36" fmla="*/ 194 w 622"/>
                    <a:gd name="T37" fmla="*/ 1366 h 1463"/>
                    <a:gd name="T38" fmla="*/ 97 w 622"/>
                    <a:gd name="T39" fmla="*/ 1463 h 1463"/>
                    <a:gd name="T40" fmla="*/ 0 w 622"/>
                    <a:gd name="T41" fmla="*/ 1366 h 1463"/>
                    <a:gd name="T42" fmla="*/ 0 w 622"/>
                    <a:gd name="T43" fmla="*/ 406 h 1463"/>
                    <a:gd name="T44" fmla="*/ 0 w 622"/>
                    <a:gd name="T45" fmla="*/ 408 h 1463"/>
                    <a:gd name="T46" fmla="*/ 0 w 622"/>
                    <a:gd name="T47" fmla="*/ 172 h 1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22" h="1463">
                      <a:moveTo>
                        <a:pt x="3" y="16"/>
                      </a:moveTo>
                      <a:lnTo>
                        <a:pt x="3" y="16"/>
                      </a:lnTo>
                      <a:cubicBezTo>
                        <a:pt x="10" y="13"/>
                        <a:pt x="17" y="10"/>
                        <a:pt x="24" y="7"/>
                      </a:cubicBezTo>
                      <a:cubicBezTo>
                        <a:pt x="31" y="5"/>
                        <a:pt x="38" y="3"/>
                        <a:pt x="46" y="2"/>
                      </a:cubicBezTo>
                      <a:cubicBezTo>
                        <a:pt x="51" y="1"/>
                        <a:pt x="55" y="0"/>
                        <a:pt x="60" y="0"/>
                      </a:cubicBezTo>
                      <a:lnTo>
                        <a:pt x="363" y="0"/>
                      </a:lnTo>
                      <a:cubicBezTo>
                        <a:pt x="367" y="0"/>
                        <a:pt x="370" y="0"/>
                        <a:pt x="374" y="1"/>
                      </a:cubicBezTo>
                      <a:cubicBezTo>
                        <a:pt x="390" y="2"/>
                        <a:pt x="415" y="7"/>
                        <a:pt x="441" y="24"/>
                      </a:cubicBezTo>
                      <a:cubicBezTo>
                        <a:pt x="486" y="52"/>
                        <a:pt x="532" y="109"/>
                        <a:pt x="565" y="214"/>
                      </a:cubicBezTo>
                      <a:cubicBezTo>
                        <a:pt x="599" y="319"/>
                        <a:pt x="622" y="476"/>
                        <a:pt x="622" y="717"/>
                      </a:cubicBezTo>
                      <a:cubicBezTo>
                        <a:pt x="622" y="752"/>
                        <a:pt x="594" y="780"/>
                        <a:pt x="560" y="780"/>
                      </a:cubicBezTo>
                      <a:cubicBezTo>
                        <a:pt x="525" y="780"/>
                        <a:pt x="497" y="752"/>
                        <a:pt x="497" y="717"/>
                      </a:cubicBezTo>
                      <a:cubicBezTo>
                        <a:pt x="497" y="426"/>
                        <a:pt x="459" y="271"/>
                        <a:pt x="424" y="197"/>
                      </a:cubicBezTo>
                      <a:lnTo>
                        <a:pt x="424" y="1366"/>
                      </a:lnTo>
                      <a:cubicBezTo>
                        <a:pt x="424" y="1420"/>
                        <a:pt x="381" y="1463"/>
                        <a:pt x="327" y="1463"/>
                      </a:cubicBezTo>
                      <a:cubicBezTo>
                        <a:pt x="274" y="1463"/>
                        <a:pt x="230" y="1420"/>
                        <a:pt x="230" y="1366"/>
                      </a:cubicBezTo>
                      <a:lnTo>
                        <a:pt x="230" y="658"/>
                      </a:lnTo>
                      <a:lnTo>
                        <a:pt x="194" y="658"/>
                      </a:lnTo>
                      <a:lnTo>
                        <a:pt x="194" y="1366"/>
                      </a:lnTo>
                      <a:cubicBezTo>
                        <a:pt x="194" y="1420"/>
                        <a:pt x="150" y="1463"/>
                        <a:pt x="97" y="1463"/>
                      </a:cubicBezTo>
                      <a:cubicBezTo>
                        <a:pt x="43" y="1463"/>
                        <a:pt x="0" y="1420"/>
                        <a:pt x="0" y="1366"/>
                      </a:cubicBezTo>
                      <a:lnTo>
                        <a:pt x="0" y="406"/>
                      </a:lnTo>
                      <a:lnTo>
                        <a:pt x="0" y="408"/>
                      </a:lnTo>
                      <a:lnTo>
                        <a:pt x="0" y="172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69">
                  <a:extLst>
                    <a:ext uri="{FF2B5EF4-FFF2-40B4-BE49-F238E27FC236}">
                      <a16:creationId xmlns:a16="http://schemas.microsoft.com/office/drawing/2014/main" id="{90B48344-7790-424B-8D62-16142A478D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50068" y="2831131"/>
                  <a:ext cx="132767" cy="135423"/>
                </a:xfrm>
                <a:custGeom>
                  <a:avLst/>
                  <a:gdLst>
                    <a:gd name="T0" fmla="*/ 177 w 353"/>
                    <a:gd name="T1" fmla="*/ 353 h 353"/>
                    <a:gd name="T2" fmla="*/ 177 w 353"/>
                    <a:gd name="T3" fmla="*/ 353 h 353"/>
                    <a:gd name="T4" fmla="*/ 0 w 353"/>
                    <a:gd name="T5" fmla="*/ 177 h 353"/>
                    <a:gd name="T6" fmla="*/ 177 w 353"/>
                    <a:gd name="T7" fmla="*/ 0 h 353"/>
                    <a:gd name="T8" fmla="*/ 353 w 353"/>
                    <a:gd name="T9" fmla="*/ 177 h 353"/>
                    <a:gd name="T10" fmla="*/ 177 w 353"/>
                    <a:gd name="T11" fmla="*/ 353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3" h="353">
                      <a:moveTo>
                        <a:pt x="177" y="353"/>
                      </a:moveTo>
                      <a:lnTo>
                        <a:pt x="177" y="353"/>
                      </a:lnTo>
                      <a:cubicBezTo>
                        <a:pt x="79" y="353"/>
                        <a:pt x="0" y="274"/>
                        <a:pt x="0" y="177"/>
                      </a:cubicBezTo>
                      <a:cubicBezTo>
                        <a:pt x="0" y="79"/>
                        <a:pt x="79" y="0"/>
                        <a:pt x="177" y="0"/>
                      </a:cubicBezTo>
                      <a:cubicBezTo>
                        <a:pt x="274" y="0"/>
                        <a:pt x="353" y="79"/>
                        <a:pt x="353" y="177"/>
                      </a:cubicBezTo>
                      <a:cubicBezTo>
                        <a:pt x="353" y="274"/>
                        <a:pt x="274" y="353"/>
                        <a:pt x="177" y="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 70">
                  <a:extLst>
                    <a:ext uri="{FF2B5EF4-FFF2-40B4-BE49-F238E27FC236}">
                      <a16:creationId xmlns:a16="http://schemas.microsoft.com/office/drawing/2014/main" id="{35AE0F7C-76B4-4D57-B63D-903833E298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50068" y="2831131"/>
                  <a:ext cx="132767" cy="135423"/>
                </a:xfrm>
                <a:custGeom>
                  <a:avLst/>
                  <a:gdLst>
                    <a:gd name="T0" fmla="*/ 177 w 353"/>
                    <a:gd name="T1" fmla="*/ 353 h 353"/>
                    <a:gd name="T2" fmla="*/ 177 w 353"/>
                    <a:gd name="T3" fmla="*/ 353 h 353"/>
                    <a:gd name="T4" fmla="*/ 0 w 353"/>
                    <a:gd name="T5" fmla="*/ 177 h 353"/>
                    <a:gd name="T6" fmla="*/ 177 w 353"/>
                    <a:gd name="T7" fmla="*/ 0 h 353"/>
                    <a:gd name="T8" fmla="*/ 353 w 353"/>
                    <a:gd name="T9" fmla="*/ 177 h 353"/>
                    <a:gd name="T10" fmla="*/ 177 w 353"/>
                    <a:gd name="T11" fmla="*/ 353 h 353"/>
                    <a:gd name="T12" fmla="*/ 177 w 353"/>
                    <a:gd name="T13" fmla="*/ 353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3" h="353">
                      <a:moveTo>
                        <a:pt x="177" y="353"/>
                      </a:moveTo>
                      <a:lnTo>
                        <a:pt x="177" y="353"/>
                      </a:lnTo>
                      <a:cubicBezTo>
                        <a:pt x="79" y="353"/>
                        <a:pt x="0" y="274"/>
                        <a:pt x="0" y="177"/>
                      </a:cubicBezTo>
                      <a:cubicBezTo>
                        <a:pt x="0" y="79"/>
                        <a:pt x="79" y="0"/>
                        <a:pt x="177" y="0"/>
                      </a:cubicBezTo>
                      <a:cubicBezTo>
                        <a:pt x="274" y="0"/>
                        <a:pt x="353" y="79"/>
                        <a:pt x="353" y="177"/>
                      </a:cubicBezTo>
                      <a:cubicBezTo>
                        <a:pt x="353" y="274"/>
                        <a:pt x="274" y="353"/>
                        <a:pt x="177" y="353"/>
                      </a:cubicBezTo>
                      <a:lnTo>
                        <a:pt x="177" y="35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71">
                  <a:extLst>
                    <a:ext uri="{FF2B5EF4-FFF2-40B4-BE49-F238E27FC236}">
                      <a16:creationId xmlns:a16="http://schemas.microsoft.com/office/drawing/2014/main" id="{F77D54B2-8A8D-47D1-913E-0675BD3F5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50068" y="2870961"/>
                  <a:ext cx="130112" cy="21242"/>
                </a:xfrm>
                <a:custGeom>
                  <a:avLst/>
                  <a:gdLst>
                    <a:gd name="T0" fmla="*/ 0 w 345"/>
                    <a:gd name="T1" fmla="*/ 58 h 59"/>
                    <a:gd name="T2" fmla="*/ 0 w 345"/>
                    <a:gd name="T3" fmla="*/ 58 h 59"/>
                    <a:gd name="T4" fmla="*/ 115 w 345"/>
                    <a:gd name="T5" fmla="*/ 0 h 59"/>
                    <a:gd name="T6" fmla="*/ 246 w 345"/>
                    <a:gd name="T7" fmla="*/ 59 h 59"/>
                    <a:gd name="T8" fmla="*/ 345 w 345"/>
                    <a:gd name="T9" fmla="*/ 2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5" h="59">
                      <a:moveTo>
                        <a:pt x="0" y="58"/>
                      </a:moveTo>
                      <a:lnTo>
                        <a:pt x="0" y="58"/>
                      </a:lnTo>
                      <a:cubicBezTo>
                        <a:pt x="46" y="54"/>
                        <a:pt x="86" y="32"/>
                        <a:pt x="115" y="0"/>
                      </a:cubicBezTo>
                      <a:cubicBezTo>
                        <a:pt x="147" y="36"/>
                        <a:pt x="194" y="59"/>
                        <a:pt x="246" y="59"/>
                      </a:cubicBezTo>
                      <a:cubicBezTo>
                        <a:pt x="283" y="59"/>
                        <a:pt x="317" y="48"/>
                        <a:pt x="345" y="29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72">
                  <a:extLst>
                    <a:ext uri="{FF2B5EF4-FFF2-40B4-BE49-F238E27FC236}">
                      <a16:creationId xmlns:a16="http://schemas.microsoft.com/office/drawing/2014/main" id="{968CBFE6-4A6C-4EF7-AD48-CAADE8C972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50068" y="2870961"/>
                  <a:ext cx="130112" cy="21242"/>
                </a:xfrm>
                <a:custGeom>
                  <a:avLst/>
                  <a:gdLst>
                    <a:gd name="T0" fmla="*/ 0 w 345"/>
                    <a:gd name="T1" fmla="*/ 58 h 59"/>
                    <a:gd name="T2" fmla="*/ 0 w 345"/>
                    <a:gd name="T3" fmla="*/ 58 h 59"/>
                    <a:gd name="T4" fmla="*/ 115 w 345"/>
                    <a:gd name="T5" fmla="*/ 0 h 59"/>
                    <a:gd name="T6" fmla="*/ 246 w 345"/>
                    <a:gd name="T7" fmla="*/ 59 h 59"/>
                    <a:gd name="T8" fmla="*/ 345 w 345"/>
                    <a:gd name="T9" fmla="*/ 2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5" h="59">
                      <a:moveTo>
                        <a:pt x="0" y="58"/>
                      </a:moveTo>
                      <a:lnTo>
                        <a:pt x="0" y="58"/>
                      </a:lnTo>
                      <a:cubicBezTo>
                        <a:pt x="46" y="54"/>
                        <a:pt x="86" y="32"/>
                        <a:pt x="115" y="0"/>
                      </a:cubicBezTo>
                      <a:cubicBezTo>
                        <a:pt x="147" y="36"/>
                        <a:pt x="194" y="59"/>
                        <a:pt x="246" y="59"/>
                      </a:cubicBezTo>
                      <a:cubicBezTo>
                        <a:pt x="283" y="59"/>
                        <a:pt x="317" y="48"/>
                        <a:pt x="345" y="29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 73">
                  <a:extLst>
                    <a:ext uri="{FF2B5EF4-FFF2-40B4-BE49-F238E27FC236}">
                      <a16:creationId xmlns:a16="http://schemas.microsoft.com/office/drawing/2014/main" id="{96495EDC-C0DB-4D17-836D-5CE6C2FF0A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76622" y="3064801"/>
                  <a:ext cx="53107" cy="92937"/>
                </a:xfrm>
                <a:custGeom>
                  <a:avLst/>
                  <a:gdLst>
                    <a:gd name="T0" fmla="*/ 112 w 141"/>
                    <a:gd name="T1" fmla="*/ 245 h 245"/>
                    <a:gd name="T2" fmla="*/ 112 w 141"/>
                    <a:gd name="T3" fmla="*/ 245 h 245"/>
                    <a:gd name="T4" fmla="*/ 28 w 141"/>
                    <a:gd name="T5" fmla="*/ 245 h 245"/>
                    <a:gd name="T6" fmla="*/ 0 w 141"/>
                    <a:gd name="T7" fmla="*/ 216 h 245"/>
                    <a:gd name="T8" fmla="*/ 0 w 141"/>
                    <a:gd name="T9" fmla="*/ 28 h 245"/>
                    <a:gd name="T10" fmla="*/ 28 w 141"/>
                    <a:gd name="T11" fmla="*/ 0 h 245"/>
                    <a:gd name="T12" fmla="*/ 112 w 141"/>
                    <a:gd name="T13" fmla="*/ 0 h 245"/>
                    <a:gd name="T14" fmla="*/ 141 w 141"/>
                    <a:gd name="T15" fmla="*/ 28 h 245"/>
                    <a:gd name="T16" fmla="*/ 141 w 141"/>
                    <a:gd name="T17" fmla="*/ 216 h 245"/>
                    <a:gd name="T18" fmla="*/ 112 w 141"/>
                    <a:gd name="T19" fmla="*/ 245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1" h="245">
                      <a:moveTo>
                        <a:pt x="112" y="245"/>
                      </a:moveTo>
                      <a:lnTo>
                        <a:pt x="112" y="245"/>
                      </a:lnTo>
                      <a:lnTo>
                        <a:pt x="28" y="245"/>
                      </a:lnTo>
                      <a:cubicBezTo>
                        <a:pt x="13" y="245"/>
                        <a:pt x="0" y="232"/>
                        <a:pt x="0" y="216"/>
                      </a:cubicBezTo>
                      <a:lnTo>
                        <a:pt x="0" y="28"/>
                      </a:lnTo>
                      <a:cubicBezTo>
                        <a:pt x="0" y="12"/>
                        <a:pt x="13" y="0"/>
                        <a:pt x="28" y="0"/>
                      </a:cubicBezTo>
                      <a:lnTo>
                        <a:pt x="112" y="0"/>
                      </a:lnTo>
                      <a:cubicBezTo>
                        <a:pt x="128" y="0"/>
                        <a:pt x="141" y="12"/>
                        <a:pt x="141" y="28"/>
                      </a:cubicBezTo>
                      <a:lnTo>
                        <a:pt x="141" y="216"/>
                      </a:lnTo>
                      <a:cubicBezTo>
                        <a:pt x="141" y="232"/>
                        <a:pt x="128" y="245"/>
                        <a:pt x="112" y="24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 74">
                  <a:extLst>
                    <a:ext uri="{FF2B5EF4-FFF2-40B4-BE49-F238E27FC236}">
                      <a16:creationId xmlns:a16="http://schemas.microsoft.com/office/drawing/2014/main" id="{20657867-C34C-442D-B69C-06645FAE2A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76622" y="3064801"/>
                  <a:ext cx="53107" cy="92937"/>
                </a:xfrm>
                <a:custGeom>
                  <a:avLst/>
                  <a:gdLst>
                    <a:gd name="T0" fmla="*/ 112 w 141"/>
                    <a:gd name="T1" fmla="*/ 245 h 245"/>
                    <a:gd name="T2" fmla="*/ 112 w 141"/>
                    <a:gd name="T3" fmla="*/ 245 h 245"/>
                    <a:gd name="T4" fmla="*/ 28 w 141"/>
                    <a:gd name="T5" fmla="*/ 245 h 245"/>
                    <a:gd name="T6" fmla="*/ 0 w 141"/>
                    <a:gd name="T7" fmla="*/ 216 h 245"/>
                    <a:gd name="T8" fmla="*/ 0 w 141"/>
                    <a:gd name="T9" fmla="*/ 28 h 245"/>
                    <a:gd name="T10" fmla="*/ 28 w 141"/>
                    <a:gd name="T11" fmla="*/ 0 h 245"/>
                    <a:gd name="T12" fmla="*/ 112 w 141"/>
                    <a:gd name="T13" fmla="*/ 0 h 245"/>
                    <a:gd name="T14" fmla="*/ 141 w 141"/>
                    <a:gd name="T15" fmla="*/ 28 h 245"/>
                    <a:gd name="T16" fmla="*/ 141 w 141"/>
                    <a:gd name="T17" fmla="*/ 216 h 245"/>
                    <a:gd name="T18" fmla="*/ 112 w 141"/>
                    <a:gd name="T19" fmla="*/ 245 h 245"/>
                    <a:gd name="T20" fmla="*/ 112 w 141"/>
                    <a:gd name="T21" fmla="*/ 245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1" h="245">
                      <a:moveTo>
                        <a:pt x="112" y="245"/>
                      </a:moveTo>
                      <a:lnTo>
                        <a:pt x="112" y="245"/>
                      </a:lnTo>
                      <a:lnTo>
                        <a:pt x="28" y="245"/>
                      </a:lnTo>
                      <a:cubicBezTo>
                        <a:pt x="13" y="245"/>
                        <a:pt x="0" y="232"/>
                        <a:pt x="0" y="216"/>
                      </a:cubicBezTo>
                      <a:lnTo>
                        <a:pt x="0" y="28"/>
                      </a:lnTo>
                      <a:cubicBezTo>
                        <a:pt x="0" y="12"/>
                        <a:pt x="13" y="0"/>
                        <a:pt x="28" y="0"/>
                      </a:cubicBezTo>
                      <a:lnTo>
                        <a:pt x="112" y="0"/>
                      </a:lnTo>
                      <a:cubicBezTo>
                        <a:pt x="128" y="0"/>
                        <a:pt x="141" y="12"/>
                        <a:pt x="141" y="28"/>
                      </a:cubicBezTo>
                      <a:lnTo>
                        <a:pt x="141" y="216"/>
                      </a:lnTo>
                      <a:cubicBezTo>
                        <a:pt x="141" y="232"/>
                        <a:pt x="128" y="245"/>
                        <a:pt x="112" y="245"/>
                      </a:cubicBezTo>
                      <a:lnTo>
                        <a:pt x="112" y="245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75">
                  <a:extLst>
                    <a:ext uri="{FF2B5EF4-FFF2-40B4-BE49-F238E27FC236}">
                      <a16:creationId xmlns:a16="http://schemas.microsoft.com/office/drawing/2014/main" id="{C6F2A61F-8341-4104-B8CE-126588A7BB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84587" y="3072766"/>
                  <a:ext cx="7967" cy="10621"/>
                </a:xfrm>
                <a:custGeom>
                  <a:avLst/>
                  <a:gdLst>
                    <a:gd name="T0" fmla="*/ 23 w 23"/>
                    <a:gd name="T1" fmla="*/ 12 h 23"/>
                    <a:gd name="T2" fmla="*/ 23 w 23"/>
                    <a:gd name="T3" fmla="*/ 12 h 23"/>
                    <a:gd name="T4" fmla="*/ 11 w 23"/>
                    <a:gd name="T5" fmla="*/ 23 h 23"/>
                    <a:gd name="T6" fmla="*/ 0 w 23"/>
                    <a:gd name="T7" fmla="*/ 12 h 23"/>
                    <a:gd name="T8" fmla="*/ 11 w 23"/>
                    <a:gd name="T9" fmla="*/ 0 h 23"/>
                    <a:gd name="T10" fmla="*/ 23 w 23"/>
                    <a:gd name="T11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" h="23">
                      <a:moveTo>
                        <a:pt x="23" y="12"/>
                      </a:moveTo>
                      <a:lnTo>
                        <a:pt x="23" y="12"/>
                      </a:lnTo>
                      <a:cubicBezTo>
                        <a:pt x="23" y="18"/>
                        <a:pt x="17" y="23"/>
                        <a:pt x="11" y="23"/>
                      </a:cubicBezTo>
                      <a:cubicBezTo>
                        <a:pt x="5" y="23"/>
                        <a:pt x="0" y="18"/>
                        <a:pt x="0" y="12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17" y="0"/>
                        <a:pt x="23" y="5"/>
                        <a:pt x="23" y="1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 76">
                  <a:extLst>
                    <a:ext uri="{FF2B5EF4-FFF2-40B4-BE49-F238E27FC236}">
                      <a16:creationId xmlns:a16="http://schemas.microsoft.com/office/drawing/2014/main" id="{B7F0A833-1BA1-422F-AB32-3C1D4794F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84587" y="3072766"/>
                  <a:ext cx="7967" cy="10621"/>
                </a:xfrm>
                <a:custGeom>
                  <a:avLst/>
                  <a:gdLst>
                    <a:gd name="T0" fmla="*/ 23 w 23"/>
                    <a:gd name="T1" fmla="*/ 12 h 23"/>
                    <a:gd name="T2" fmla="*/ 23 w 23"/>
                    <a:gd name="T3" fmla="*/ 12 h 23"/>
                    <a:gd name="T4" fmla="*/ 11 w 23"/>
                    <a:gd name="T5" fmla="*/ 23 h 23"/>
                    <a:gd name="T6" fmla="*/ 0 w 23"/>
                    <a:gd name="T7" fmla="*/ 12 h 23"/>
                    <a:gd name="T8" fmla="*/ 11 w 23"/>
                    <a:gd name="T9" fmla="*/ 0 h 23"/>
                    <a:gd name="T10" fmla="*/ 23 w 23"/>
                    <a:gd name="T11" fmla="*/ 12 h 23"/>
                    <a:gd name="T12" fmla="*/ 23 w 23"/>
                    <a:gd name="T13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" h="23">
                      <a:moveTo>
                        <a:pt x="23" y="12"/>
                      </a:moveTo>
                      <a:lnTo>
                        <a:pt x="23" y="12"/>
                      </a:lnTo>
                      <a:cubicBezTo>
                        <a:pt x="23" y="18"/>
                        <a:pt x="17" y="23"/>
                        <a:pt x="11" y="23"/>
                      </a:cubicBezTo>
                      <a:cubicBezTo>
                        <a:pt x="5" y="23"/>
                        <a:pt x="0" y="18"/>
                        <a:pt x="0" y="12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17" y="0"/>
                        <a:pt x="23" y="5"/>
                        <a:pt x="23" y="12"/>
                      </a:cubicBezTo>
                      <a:lnTo>
                        <a:pt x="23" y="12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 77">
                  <a:extLst>
                    <a:ext uri="{FF2B5EF4-FFF2-40B4-BE49-F238E27FC236}">
                      <a16:creationId xmlns:a16="http://schemas.microsoft.com/office/drawing/2014/main" id="{1B81B0ED-CEF9-4515-A850-0F3B736124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7752" y="2993108"/>
                  <a:ext cx="140733" cy="151356"/>
                </a:xfrm>
                <a:custGeom>
                  <a:avLst/>
                  <a:gdLst>
                    <a:gd name="T0" fmla="*/ 180 w 370"/>
                    <a:gd name="T1" fmla="*/ 156 h 404"/>
                    <a:gd name="T2" fmla="*/ 180 w 370"/>
                    <a:gd name="T3" fmla="*/ 156 h 404"/>
                    <a:gd name="T4" fmla="*/ 150 w 370"/>
                    <a:gd name="T5" fmla="*/ 188 h 404"/>
                    <a:gd name="T6" fmla="*/ 126 w 370"/>
                    <a:gd name="T7" fmla="*/ 233 h 404"/>
                    <a:gd name="T8" fmla="*/ 126 w 370"/>
                    <a:gd name="T9" fmla="*/ 236 h 404"/>
                    <a:gd name="T10" fmla="*/ 127 w 370"/>
                    <a:gd name="T11" fmla="*/ 240 h 404"/>
                    <a:gd name="T12" fmla="*/ 167 w 370"/>
                    <a:gd name="T13" fmla="*/ 261 h 404"/>
                    <a:gd name="T14" fmla="*/ 308 w 370"/>
                    <a:gd name="T15" fmla="*/ 279 h 404"/>
                    <a:gd name="T16" fmla="*/ 369 w 370"/>
                    <a:gd name="T17" fmla="*/ 343 h 404"/>
                    <a:gd name="T18" fmla="*/ 306 w 370"/>
                    <a:gd name="T19" fmla="*/ 404 h 404"/>
                    <a:gd name="T20" fmla="*/ 305 w 370"/>
                    <a:gd name="T21" fmla="*/ 404 h 404"/>
                    <a:gd name="T22" fmla="*/ 87 w 370"/>
                    <a:gd name="T23" fmla="*/ 364 h 404"/>
                    <a:gd name="T24" fmla="*/ 24 w 370"/>
                    <a:gd name="T25" fmla="*/ 311 h 404"/>
                    <a:gd name="T26" fmla="*/ 1 w 370"/>
                    <a:gd name="T27" fmla="*/ 236 h 404"/>
                    <a:gd name="T28" fmla="*/ 1 w 370"/>
                    <a:gd name="T29" fmla="*/ 236 h 404"/>
                    <a:gd name="T30" fmla="*/ 32 w 370"/>
                    <a:gd name="T31" fmla="*/ 139 h 404"/>
                    <a:gd name="T32" fmla="*/ 126 w 370"/>
                    <a:gd name="T33" fmla="*/ 37 h 404"/>
                    <a:gd name="T34" fmla="*/ 172 w 370"/>
                    <a:gd name="T35" fmla="*/ 6 h 404"/>
                    <a:gd name="T36" fmla="*/ 185 w 370"/>
                    <a:gd name="T37" fmla="*/ 0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0" h="404">
                      <a:moveTo>
                        <a:pt x="180" y="156"/>
                      </a:moveTo>
                      <a:lnTo>
                        <a:pt x="180" y="156"/>
                      </a:lnTo>
                      <a:cubicBezTo>
                        <a:pt x="171" y="165"/>
                        <a:pt x="158" y="178"/>
                        <a:pt x="150" y="188"/>
                      </a:cubicBezTo>
                      <a:cubicBezTo>
                        <a:pt x="135" y="207"/>
                        <a:pt x="127" y="225"/>
                        <a:pt x="126" y="233"/>
                      </a:cubicBezTo>
                      <a:cubicBezTo>
                        <a:pt x="126" y="234"/>
                        <a:pt x="126" y="235"/>
                        <a:pt x="126" y="236"/>
                      </a:cubicBezTo>
                      <a:cubicBezTo>
                        <a:pt x="126" y="239"/>
                        <a:pt x="126" y="238"/>
                        <a:pt x="127" y="240"/>
                      </a:cubicBezTo>
                      <a:cubicBezTo>
                        <a:pt x="128" y="242"/>
                        <a:pt x="138" y="252"/>
                        <a:pt x="167" y="261"/>
                      </a:cubicBezTo>
                      <a:cubicBezTo>
                        <a:pt x="196" y="270"/>
                        <a:pt x="242" y="278"/>
                        <a:pt x="308" y="279"/>
                      </a:cubicBezTo>
                      <a:cubicBezTo>
                        <a:pt x="342" y="280"/>
                        <a:pt x="370" y="308"/>
                        <a:pt x="369" y="343"/>
                      </a:cubicBezTo>
                      <a:cubicBezTo>
                        <a:pt x="368" y="377"/>
                        <a:pt x="340" y="404"/>
                        <a:pt x="306" y="404"/>
                      </a:cubicBezTo>
                      <a:cubicBezTo>
                        <a:pt x="306" y="404"/>
                        <a:pt x="305" y="404"/>
                        <a:pt x="305" y="404"/>
                      </a:cubicBezTo>
                      <a:cubicBezTo>
                        <a:pt x="208" y="402"/>
                        <a:pt x="139" y="390"/>
                        <a:pt x="87" y="364"/>
                      </a:cubicBezTo>
                      <a:cubicBezTo>
                        <a:pt x="62" y="351"/>
                        <a:pt x="39" y="334"/>
                        <a:pt x="24" y="311"/>
                      </a:cubicBezTo>
                      <a:cubicBezTo>
                        <a:pt x="8" y="288"/>
                        <a:pt x="0" y="261"/>
                        <a:pt x="1" y="236"/>
                      </a:cubicBezTo>
                      <a:cubicBezTo>
                        <a:pt x="1" y="236"/>
                        <a:pt x="1" y="236"/>
                        <a:pt x="1" y="236"/>
                      </a:cubicBezTo>
                      <a:cubicBezTo>
                        <a:pt x="1" y="198"/>
                        <a:pt x="15" y="166"/>
                        <a:pt x="32" y="139"/>
                      </a:cubicBezTo>
                      <a:cubicBezTo>
                        <a:pt x="58" y="97"/>
                        <a:pt x="92" y="63"/>
                        <a:pt x="126" y="37"/>
                      </a:cubicBezTo>
                      <a:cubicBezTo>
                        <a:pt x="142" y="25"/>
                        <a:pt x="157" y="15"/>
                        <a:pt x="172" y="6"/>
                      </a:cubicBezTo>
                      <a:lnTo>
                        <a:pt x="185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reeform 78">
                  <a:extLst>
                    <a:ext uri="{FF2B5EF4-FFF2-40B4-BE49-F238E27FC236}">
                      <a16:creationId xmlns:a16="http://schemas.microsoft.com/office/drawing/2014/main" id="{DD8D7847-AE73-47AE-B152-DB1D5BAE17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7752" y="2993108"/>
                  <a:ext cx="140733" cy="151356"/>
                </a:xfrm>
                <a:custGeom>
                  <a:avLst/>
                  <a:gdLst>
                    <a:gd name="T0" fmla="*/ 180 w 370"/>
                    <a:gd name="T1" fmla="*/ 156 h 404"/>
                    <a:gd name="T2" fmla="*/ 180 w 370"/>
                    <a:gd name="T3" fmla="*/ 156 h 404"/>
                    <a:gd name="T4" fmla="*/ 150 w 370"/>
                    <a:gd name="T5" fmla="*/ 188 h 404"/>
                    <a:gd name="T6" fmla="*/ 126 w 370"/>
                    <a:gd name="T7" fmla="*/ 233 h 404"/>
                    <a:gd name="T8" fmla="*/ 126 w 370"/>
                    <a:gd name="T9" fmla="*/ 236 h 404"/>
                    <a:gd name="T10" fmla="*/ 127 w 370"/>
                    <a:gd name="T11" fmla="*/ 240 h 404"/>
                    <a:gd name="T12" fmla="*/ 167 w 370"/>
                    <a:gd name="T13" fmla="*/ 261 h 404"/>
                    <a:gd name="T14" fmla="*/ 308 w 370"/>
                    <a:gd name="T15" fmla="*/ 279 h 404"/>
                    <a:gd name="T16" fmla="*/ 369 w 370"/>
                    <a:gd name="T17" fmla="*/ 343 h 404"/>
                    <a:gd name="T18" fmla="*/ 306 w 370"/>
                    <a:gd name="T19" fmla="*/ 404 h 404"/>
                    <a:gd name="T20" fmla="*/ 305 w 370"/>
                    <a:gd name="T21" fmla="*/ 404 h 404"/>
                    <a:gd name="T22" fmla="*/ 87 w 370"/>
                    <a:gd name="T23" fmla="*/ 364 h 404"/>
                    <a:gd name="T24" fmla="*/ 24 w 370"/>
                    <a:gd name="T25" fmla="*/ 311 h 404"/>
                    <a:gd name="T26" fmla="*/ 1 w 370"/>
                    <a:gd name="T27" fmla="*/ 236 h 404"/>
                    <a:gd name="T28" fmla="*/ 1 w 370"/>
                    <a:gd name="T29" fmla="*/ 236 h 404"/>
                    <a:gd name="T30" fmla="*/ 32 w 370"/>
                    <a:gd name="T31" fmla="*/ 139 h 404"/>
                    <a:gd name="T32" fmla="*/ 126 w 370"/>
                    <a:gd name="T33" fmla="*/ 37 h 404"/>
                    <a:gd name="T34" fmla="*/ 172 w 370"/>
                    <a:gd name="T35" fmla="*/ 6 h 404"/>
                    <a:gd name="T36" fmla="*/ 185 w 370"/>
                    <a:gd name="T37" fmla="*/ 0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0" h="404">
                      <a:moveTo>
                        <a:pt x="180" y="156"/>
                      </a:moveTo>
                      <a:lnTo>
                        <a:pt x="180" y="156"/>
                      </a:lnTo>
                      <a:cubicBezTo>
                        <a:pt x="171" y="165"/>
                        <a:pt x="158" y="178"/>
                        <a:pt x="150" y="188"/>
                      </a:cubicBezTo>
                      <a:cubicBezTo>
                        <a:pt x="135" y="207"/>
                        <a:pt x="127" y="225"/>
                        <a:pt x="126" y="233"/>
                      </a:cubicBezTo>
                      <a:cubicBezTo>
                        <a:pt x="126" y="234"/>
                        <a:pt x="126" y="235"/>
                        <a:pt x="126" y="236"/>
                      </a:cubicBezTo>
                      <a:cubicBezTo>
                        <a:pt x="126" y="239"/>
                        <a:pt x="126" y="238"/>
                        <a:pt x="127" y="240"/>
                      </a:cubicBezTo>
                      <a:cubicBezTo>
                        <a:pt x="128" y="242"/>
                        <a:pt x="138" y="252"/>
                        <a:pt x="167" y="261"/>
                      </a:cubicBezTo>
                      <a:cubicBezTo>
                        <a:pt x="196" y="270"/>
                        <a:pt x="242" y="278"/>
                        <a:pt x="308" y="279"/>
                      </a:cubicBezTo>
                      <a:cubicBezTo>
                        <a:pt x="342" y="280"/>
                        <a:pt x="370" y="308"/>
                        <a:pt x="369" y="343"/>
                      </a:cubicBezTo>
                      <a:cubicBezTo>
                        <a:pt x="368" y="377"/>
                        <a:pt x="340" y="404"/>
                        <a:pt x="306" y="404"/>
                      </a:cubicBezTo>
                      <a:cubicBezTo>
                        <a:pt x="306" y="404"/>
                        <a:pt x="305" y="404"/>
                        <a:pt x="305" y="404"/>
                      </a:cubicBezTo>
                      <a:cubicBezTo>
                        <a:pt x="208" y="402"/>
                        <a:pt x="139" y="390"/>
                        <a:pt x="87" y="364"/>
                      </a:cubicBezTo>
                      <a:cubicBezTo>
                        <a:pt x="62" y="351"/>
                        <a:pt x="39" y="334"/>
                        <a:pt x="24" y="311"/>
                      </a:cubicBezTo>
                      <a:cubicBezTo>
                        <a:pt x="8" y="288"/>
                        <a:pt x="0" y="261"/>
                        <a:pt x="1" y="236"/>
                      </a:cubicBezTo>
                      <a:cubicBezTo>
                        <a:pt x="1" y="236"/>
                        <a:pt x="1" y="236"/>
                        <a:pt x="1" y="236"/>
                      </a:cubicBezTo>
                      <a:cubicBezTo>
                        <a:pt x="1" y="198"/>
                        <a:pt x="15" y="166"/>
                        <a:pt x="32" y="139"/>
                      </a:cubicBezTo>
                      <a:cubicBezTo>
                        <a:pt x="58" y="97"/>
                        <a:pt x="92" y="63"/>
                        <a:pt x="126" y="37"/>
                      </a:cubicBezTo>
                      <a:cubicBezTo>
                        <a:pt x="142" y="25"/>
                        <a:pt x="157" y="15"/>
                        <a:pt x="172" y="6"/>
                      </a:cubicBezTo>
                      <a:lnTo>
                        <a:pt x="185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 255">
                  <a:extLst>
                    <a:ext uri="{FF2B5EF4-FFF2-40B4-BE49-F238E27FC236}">
                      <a16:creationId xmlns:a16="http://schemas.microsoft.com/office/drawing/2014/main" id="{31E8BF36-72B5-4C10-AC9F-CF78A91DD1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3175" y="2995763"/>
                  <a:ext cx="119491" cy="119491"/>
                </a:xfrm>
                <a:custGeom>
                  <a:avLst/>
                  <a:gdLst>
                    <a:gd name="T0" fmla="*/ 57 w 320"/>
                    <a:gd name="T1" fmla="*/ 263 h 320"/>
                    <a:gd name="T2" fmla="*/ 57 w 320"/>
                    <a:gd name="T3" fmla="*/ 263 h 320"/>
                    <a:gd name="T4" fmla="*/ 263 w 320"/>
                    <a:gd name="T5" fmla="*/ 263 h 320"/>
                    <a:gd name="T6" fmla="*/ 263 w 320"/>
                    <a:gd name="T7" fmla="*/ 57 h 320"/>
                    <a:gd name="T8" fmla="*/ 57 w 320"/>
                    <a:gd name="T9" fmla="*/ 57 h 320"/>
                    <a:gd name="T10" fmla="*/ 57 w 320"/>
                    <a:gd name="T11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0" h="320">
                      <a:moveTo>
                        <a:pt x="57" y="263"/>
                      </a:moveTo>
                      <a:lnTo>
                        <a:pt x="57" y="263"/>
                      </a:lnTo>
                      <a:cubicBezTo>
                        <a:pt x="114" y="320"/>
                        <a:pt x="206" y="320"/>
                        <a:pt x="263" y="263"/>
                      </a:cubicBezTo>
                      <a:cubicBezTo>
                        <a:pt x="320" y="206"/>
                        <a:pt x="320" y="114"/>
                        <a:pt x="263" y="57"/>
                      </a:cubicBezTo>
                      <a:cubicBezTo>
                        <a:pt x="206" y="0"/>
                        <a:pt x="114" y="0"/>
                        <a:pt x="57" y="57"/>
                      </a:cubicBezTo>
                      <a:cubicBezTo>
                        <a:pt x="0" y="114"/>
                        <a:pt x="0" y="206"/>
                        <a:pt x="57" y="2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Freeform 256">
                  <a:extLst>
                    <a:ext uri="{FF2B5EF4-FFF2-40B4-BE49-F238E27FC236}">
                      <a16:creationId xmlns:a16="http://schemas.microsoft.com/office/drawing/2014/main" id="{983660A9-E78B-4696-AE76-0DA8A52866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3184" y="2995759"/>
                  <a:ext cx="119491" cy="119491"/>
                </a:xfrm>
                <a:custGeom>
                  <a:avLst/>
                  <a:gdLst>
                    <a:gd name="T0" fmla="*/ 57 w 320"/>
                    <a:gd name="T1" fmla="*/ 263 h 320"/>
                    <a:gd name="T2" fmla="*/ 57 w 320"/>
                    <a:gd name="T3" fmla="*/ 263 h 320"/>
                    <a:gd name="T4" fmla="*/ 263 w 320"/>
                    <a:gd name="T5" fmla="*/ 263 h 320"/>
                    <a:gd name="T6" fmla="*/ 263 w 320"/>
                    <a:gd name="T7" fmla="*/ 57 h 320"/>
                    <a:gd name="T8" fmla="*/ 57 w 320"/>
                    <a:gd name="T9" fmla="*/ 57 h 320"/>
                    <a:gd name="T10" fmla="*/ 57 w 320"/>
                    <a:gd name="T11" fmla="*/ 263 h 320"/>
                    <a:gd name="T12" fmla="*/ 57 w 320"/>
                    <a:gd name="T13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0" h="320">
                      <a:moveTo>
                        <a:pt x="57" y="263"/>
                      </a:moveTo>
                      <a:lnTo>
                        <a:pt x="57" y="263"/>
                      </a:lnTo>
                      <a:cubicBezTo>
                        <a:pt x="114" y="320"/>
                        <a:pt x="206" y="320"/>
                        <a:pt x="263" y="263"/>
                      </a:cubicBezTo>
                      <a:cubicBezTo>
                        <a:pt x="320" y="206"/>
                        <a:pt x="320" y="114"/>
                        <a:pt x="263" y="57"/>
                      </a:cubicBezTo>
                      <a:cubicBezTo>
                        <a:pt x="206" y="0"/>
                        <a:pt x="114" y="0"/>
                        <a:pt x="57" y="57"/>
                      </a:cubicBezTo>
                      <a:cubicBezTo>
                        <a:pt x="0" y="114"/>
                        <a:pt x="0" y="206"/>
                        <a:pt x="57" y="263"/>
                      </a:cubicBezTo>
                      <a:lnTo>
                        <a:pt x="57" y="26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 257">
                  <a:extLst>
                    <a:ext uri="{FF2B5EF4-FFF2-40B4-BE49-F238E27FC236}">
                      <a16:creationId xmlns:a16="http://schemas.microsoft.com/office/drawing/2014/main" id="{941110F1-8765-43DB-85A1-CB99A3049B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7075" y="3019659"/>
                  <a:ext cx="71695" cy="71695"/>
                </a:xfrm>
                <a:custGeom>
                  <a:avLst/>
                  <a:gdLst>
                    <a:gd name="T0" fmla="*/ 33 w 187"/>
                    <a:gd name="T1" fmla="*/ 153 h 186"/>
                    <a:gd name="T2" fmla="*/ 33 w 187"/>
                    <a:gd name="T3" fmla="*/ 153 h 186"/>
                    <a:gd name="T4" fmla="*/ 153 w 187"/>
                    <a:gd name="T5" fmla="*/ 153 h 186"/>
                    <a:gd name="T6" fmla="*/ 153 w 187"/>
                    <a:gd name="T7" fmla="*/ 33 h 186"/>
                    <a:gd name="T8" fmla="*/ 33 w 187"/>
                    <a:gd name="T9" fmla="*/ 33 h 186"/>
                    <a:gd name="T10" fmla="*/ 33 w 187"/>
                    <a:gd name="T11" fmla="*/ 153 h 186"/>
                    <a:gd name="T12" fmla="*/ 33 w 187"/>
                    <a:gd name="T13" fmla="*/ 153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86">
                      <a:moveTo>
                        <a:pt x="33" y="153"/>
                      </a:moveTo>
                      <a:lnTo>
                        <a:pt x="33" y="153"/>
                      </a:lnTo>
                      <a:cubicBezTo>
                        <a:pt x="66" y="186"/>
                        <a:pt x="120" y="186"/>
                        <a:pt x="153" y="153"/>
                      </a:cubicBezTo>
                      <a:cubicBezTo>
                        <a:pt x="187" y="120"/>
                        <a:pt x="187" y="66"/>
                        <a:pt x="153" y="33"/>
                      </a:cubicBezTo>
                      <a:cubicBezTo>
                        <a:pt x="120" y="0"/>
                        <a:pt x="66" y="0"/>
                        <a:pt x="33" y="33"/>
                      </a:cubicBezTo>
                      <a:cubicBezTo>
                        <a:pt x="0" y="66"/>
                        <a:pt x="0" y="120"/>
                        <a:pt x="33" y="153"/>
                      </a:cubicBezTo>
                      <a:lnTo>
                        <a:pt x="33" y="15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 258">
                  <a:extLst>
                    <a:ext uri="{FF2B5EF4-FFF2-40B4-BE49-F238E27FC236}">
                      <a16:creationId xmlns:a16="http://schemas.microsoft.com/office/drawing/2014/main" id="{7D52C9A5-B449-4B8E-95FB-7CD15ADD4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0979" y="3043555"/>
                  <a:ext cx="23900" cy="23900"/>
                </a:xfrm>
                <a:custGeom>
                  <a:avLst/>
                  <a:gdLst>
                    <a:gd name="T0" fmla="*/ 10 w 59"/>
                    <a:gd name="T1" fmla="*/ 48 h 58"/>
                    <a:gd name="T2" fmla="*/ 10 w 59"/>
                    <a:gd name="T3" fmla="*/ 48 h 58"/>
                    <a:gd name="T4" fmla="*/ 48 w 59"/>
                    <a:gd name="T5" fmla="*/ 48 h 58"/>
                    <a:gd name="T6" fmla="*/ 48 w 59"/>
                    <a:gd name="T7" fmla="*/ 10 h 58"/>
                    <a:gd name="T8" fmla="*/ 10 w 59"/>
                    <a:gd name="T9" fmla="*/ 10 h 58"/>
                    <a:gd name="T10" fmla="*/ 10 w 59"/>
                    <a:gd name="T11" fmla="*/ 48 h 58"/>
                    <a:gd name="T12" fmla="*/ 10 w 59"/>
                    <a:gd name="T13" fmla="*/ 4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58">
                      <a:moveTo>
                        <a:pt x="10" y="48"/>
                      </a:moveTo>
                      <a:lnTo>
                        <a:pt x="10" y="48"/>
                      </a:lnTo>
                      <a:cubicBezTo>
                        <a:pt x="21" y="58"/>
                        <a:pt x="38" y="58"/>
                        <a:pt x="48" y="48"/>
                      </a:cubicBezTo>
                      <a:cubicBezTo>
                        <a:pt x="59" y="38"/>
                        <a:pt x="59" y="21"/>
                        <a:pt x="48" y="10"/>
                      </a:cubicBezTo>
                      <a:cubicBezTo>
                        <a:pt x="38" y="0"/>
                        <a:pt x="21" y="0"/>
                        <a:pt x="10" y="10"/>
                      </a:cubicBezTo>
                      <a:cubicBezTo>
                        <a:pt x="0" y="21"/>
                        <a:pt x="0" y="38"/>
                        <a:pt x="10" y="48"/>
                      </a:cubicBezTo>
                      <a:lnTo>
                        <a:pt x="10" y="48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4" name="Gruppieren 105">
                <a:extLst>
                  <a:ext uri="{FF2B5EF4-FFF2-40B4-BE49-F238E27FC236}">
                    <a16:creationId xmlns:a16="http://schemas.microsoft.com/office/drawing/2014/main" id="{4FF4F2CD-B1E6-42CD-8F15-DDE877FACF39}"/>
                  </a:ext>
                </a:extLst>
              </p:cNvPr>
              <p:cNvGrpSpPr/>
              <p:nvPr/>
            </p:nvGrpSpPr>
            <p:grpSpPr>
              <a:xfrm>
                <a:off x="6840452" y="2894856"/>
                <a:ext cx="488581" cy="642591"/>
                <a:chOff x="6840452" y="2894856"/>
                <a:chExt cx="488581" cy="642591"/>
              </a:xfrm>
            </p:grpSpPr>
            <p:sp>
              <p:nvSpPr>
                <p:cNvPr id="171" name="Freeform 116">
                  <a:extLst>
                    <a:ext uri="{FF2B5EF4-FFF2-40B4-BE49-F238E27FC236}">
                      <a16:creationId xmlns:a16="http://schemas.microsoft.com/office/drawing/2014/main" id="{E01E84DD-86E2-4819-9F46-734A86536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4912" y="3099317"/>
                  <a:ext cx="26553" cy="122144"/>
                </a:xfrm>
                <a:custGeom>
                  <a:avLst/>
                  <a:gdLst>
                    <a:gd name="T0" fmla="*/ 74 w 74"/>
                    <a:gd name="T1" fmla="*/ 323 h 325"/>
                    <a:gd name="T2" fmla="*/ 74 w 74"/>
                    <a:gd name="T3" fmla="*/ 323 h 325"/>
                    <a:gd name="T4" fmla="*/ 74 w 74"/>
                    <a:gd name="T5" fmla="*/ 323 h 325"/>
                    <a:gd name="T6" fmla="*/ 43 w 74"/>
                    <a:gd name="T7" fmla="*/ 300 h 325"/>
                    <a:gd name="T8" fmla="*/ 3 w 74"/>
                    <a:gd name="T9" fmla="*/ 31 h 325"/>
                    <a:gd name="T10" fmla="*/ 25 w 74"/>
                    <a:gd name="T11" fmla="*/ 0 h 325"/>
                    <a:gd name="T12" fmla="*/ 74 w 74"/>
                    <a:gd name="T13" fmla="*/ 323 h 3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" h="325">
                      <a:moveTo>
                        <a:pt x="74" y="323"/>
                      </a:moveTo>
                      <a:lnTo>
                        <a:pt x="74" y="323"/>
                      </a:lnTo>
                      <a:lnTo>
                        <a:pt x="74" y="323"/>
                      </a:lnTo>
                      <a:cubicBezTo>
                        <a:pt x="59" y="325"/>
                        <a:pt x="45" y="315"/>
                        <a:pt x="43" y="300"/>
                      </a:cubicBezTo>
                      <a:lnTo>
                        <a:pt x="3" y="31"/>
                      </a:lnTo>
                      <a:cubicBezTo>
                        <a:pt x="0" y="16"/>
                        <a:pt x="11" y="2"/>
                        <a:pt x="25" y="0"/>
                      </a:cubicBezTo>
                      <a:cubicBezTo>
                        <a:pt x="26" y="1"/>
                        <a:pt x="71" y="325"/>
                        <a:pt x="74" y="3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17">
                  <a:extLst>
                    <a:ext uri="{FF2B5EF4-FFF2-40B4-BE49-F238E27FC236}">
                      <a16:creationId xmlns:a16="http://schemas.microsoft.com/office/drawing/2014/main" id="{70A3138C-D033-4879-A162-2ADDB74781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4912" y="3099317"/>
                  <a:ext cx="26553" cy="122144"/>
                </a:xfrm>
                <a:custGeom>
                  <a:avLst/>
                  <a:gdLst>
                    <a:gd name="T0" fmla="*/ 74 w 74"/>
                    <a:gd name="T1" fmla="*/ 323 h 325"/>
                    <a:gd name="T2" fmla="*/ 74 w 74"/>
                    <a:gd name="T3" fmla="*/ 323 h 325"/>
                    <a:gd name="T4" fmla="*/ 74 w 74"/>
                    <a:gd name="T5" fmla="*/ 323 h 325"/>
                    <a:gd name="T6" fmla="*/ 43 w 74"/>
                    <a:gd name="T7" fmla="*/ 300 h 325"/>
                    <a:gd name="T8" fmla="*/ 3 w 74"/>
                    <a:gd name="T9" fmla="*/ 31 h 325"/>
                    <a:gd name="T10" fmla="*/ 25 w 74"/>
                    <a:gd name="T11" fmla="*/ 0 h 325"/>
                    <a:gd name="T12" fmla="*/ 74 w 74"/>
                    <a:gd name="T13" fmla="*/ 323 h 325"/>
                    <a:gd name="T14" fmla="*/ 74 w 74"/>
                    <a:gd name="T15" fmla="*/ 323 h 3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4" h="325">
                      <a:moveTo>
                        <a:pt x="74" y="323"/>
                      </a:moveTo>
                      <a:lnTo>
                        <a:pt x="74" y="323"/>
                      </a:lnTo>
                      <a:lnTo>
                        <a:pt x="74" y="323"/>
                      </a:lnTo>
                      <a:cubicBezTo>
                        <a:pt x="59" y="325"/>
                        <a:pt x="45" y="315"/>
                        <a:pt x="43" y="300"/>
                      </a:cubicBezTo>
                      <a:lnTo>
                        <a:pt x="3" y="31"/>
                      </a:lnTo>
                      <a:cubicBezTo>
                        <a:pt x="0" y="16"/>
                        <a:pt x="11" y="2"/>
                        <a:pt x="25" y="0"/>
                      </a:cubicBezTo>
                      <a:cubicBezTo>
                        <a:pt x="26" y="1"/>
                        <a:pt x="71" y="325"/>
                        <a:pt x="74" y="323"/>
                      </a:cubicBezTo>
                      <a:lnTo>
                        <a:pt x="74" y="32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118">
                  <a:extLst>
                    <a:ext uri="{FF2B5EF4-FFF2-40B4-BE49-F238E27FC236}">
                      <a16:creationId xmlns:a16="http://schemas.microsoft.com/office/drawing/2014/main" id="{5F9A8227-ABB5-4EB0-B46B-B12CCFB6F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0733" y="3314398"/>
                  <a:ext cx="337228" cy="74349"/>
                </a:xfrm>
                <a:custGeom>
                  <a:avLst/>
                  <a:gdLst>
                    <a:gd name="T0" fmla="*/ 837 w 886"/>
                    <a:gd name="T1" fmla="*/ 0 h 191"/>
                    <a:gd name="T2" fmla="*/ 837 w 886"/>
                    <a:gd name="T3" fmla="*/ 0 h 191"/>
                    <a:gd name="T4" fmla="*/ 50 w 886"/>
                    <a:gd name="T5" fmla="*/ 0 h 191"/>
                    <a:gd name="T6" fmla="*/ 0 w 886"/>
                    <a:gd name="T7" fmla="*/ 50 h 191"/>
                    <a:gd name="T8" fmla="*/ 0 w 886"/>
                    <a:gd name="T9" fmla="*/ 141 h 191"/>
                    <a:gd name="T10" fmla="*/ 50 w 886"/>
                    <a:gd name="T11" fmla="*/ 191 h 191"/>
                    <a:gd name="T12" fmla="*/ 837 w 886"/>
                    <a:gd name="T13" fmla="*/ 191 h 191"/>
                    <a:gd name="T14" fmla="*/ 886 w 886"/>
                    <a:gd name="T15" fmla="*/ 141 h 191"/>
                    <a:gd name="T16" fmla="*/ 886 w 886"/>
                    <a:gd name="T17" fmla="*/ 50 h 191"/>
                    <a:gd name="T18" fmla="*/ 837 w 886"/>
                    <a:gd name="T19" fmla="*/ 0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6" h="191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2" y="0"/>
                        <a:pt x="0" y="23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2" y="191"/>
                        <a:pt x="50" y="191"/>
                      </a:cubicBezTo>
                      <a:lnTo>
                        <a:pt x="837" y="191"/>
                      </a:lnTo>
                      <a:cubicBezTo>
                        <a:pt x="864" y="191"/>
                        <a:pt x="886" y="168"/>
                        <a:pt x="886" y="141"/>
                      </a:cubicBezTo>
                      <a:lnTo>
                        <a:pt x="886" y="50"/>
                      </a:lnTo>
                      <a:cubicBezTo>
                        <a:pt x="886" y="23"/>
                        <a:pt x="864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119">
                  <a:extLst>
                    <a:ext uri="{FF2B5EF4-FFF2-40B4-BE49-F238E27FC236}">
                      <a16:creationId xmlns:a16="http://schemas.microsoft.com/office/drawing/2014/main" id="{11A9A865-3209-4A19-BDCB-2089D0985D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0733" y="3314398"/>
                  <a:ext cx="337228" cy="74349"/>
                </a:xfrm>
                <a:custGeom>
                  <a:avLst/>
                  <a:gdLst>
                    <a:gd name="T0" fmla="*/ 837 w 886"/>
                    <a:gd name="T1" fmla="*/ 0 h 191"/>
                    <a:gd name="T2" fmla="*/ 837 w 886"/>
                    <a:gd name="T3" fmla="*/ 0 h 191"/>
                    <a:gd name="T4" fmla="*/ 50 w 886"/>
                    <a:gd name="T5" fmla="*/ 0 h 191"/>
                    <a:gd name="T6" fmla="*/ 0 w 886"/>
                    <a:gd name="T7" fmla="*/ 50 h 191"/>
                    <a:gd name="T8" fmla="*/ 0 w 886"/>
                    <a:gd name="T9" fmla="*/ 141 h 191"/>
                    <a:gd name="T10" fmla="*/ 50 w 886"/>
                    <a:gd name="T11" fmla="*/ 191 h 191"/>
                    <a:gd name="T12" fmla="*/ 837 w 886"/>
                    <a:gd name="T13" fmla="*/ 191 h 191"/>
                    <a:gd name="T14" fmla="*/ 886 w 886"/>
                    <a:gd name="T15" fmla="*/ 141 h 191"/>
                    <a:gd name="T16" fmla="*/ 886 w 886"/>
                    <a:gd name="T17" fmla="*/ 50 h 191"/>
                    <a:gd name="T18" fmla="*/ 837 w 886"/>
                    <a:gd name="T19" fmla="*/ 0 h 191"/>
                    <a:gd name="T20" fmla="*/ 837 w 886"/>
                    <a:gd name="T21" fmla="*/ 0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6" h="191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2" y="0"/>
                        <a:pt x="0" y="23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2" y="191"/>
                        <a:pt x="50" y="191"/>
                      </a:cubicBezTo>
                      <a:lnTo>
                        <a:pt x="837" y="191"/>
                      </a:lnTo>
                      <a:cubicBezTo>
                        <a:pt x="864" y="191"/>
                        <a:pt x="886" y="168"/>
                        <a:pt x="886" y="141"/>
                      </a:cubicBezTo>
                      <a:lnTo>
                        <a:pt x="886" y="50"/>
                      </a:lnTo>
                      <a:cubicBezTo>
                        <a:pt x="886" y="23"/>
                        <a:pt x="864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120">
                  <a:extLst>
                    <a:ext uri="{FF2B5EF4-FFF2-40B4-BE49-F238E27FC236}">
                      <a16:creationId xmlns:a16="http://schemas.microsoft.com/office/drawing/2014/main" id="{0EDCFEBB-6835-4669-BC1B-5CE4E7B7D4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3389" y="3386093"/>
                  <a:ext cx="345193" cy="39830"/>
                </a:xfrm>
                <a:custGeom>
                  <a:avLst/>
                  <a:gdLst>
                    <a:gd name="T0" fmla="*/ 5 w 910"/>
                    <a:gd name="T1" fmla="*/ 0 h 103"/>
                    <a:gd name="T2" fmla="*/ 5 w 910"/>
                    <a:gd name="T3" fmla="*/ 0 h 103"/>
                    <a:gd name="T4" fmla="*/ 0 w 910"/>
                    <a:gd name="T5" fmla="*/ 16 h 103"/>
                    <a:gd name="T6" fmla="*/ 88 w 910"/>
                    <a:gd name="T7" fmla="*/ 103 h 103"/>
                    <a:gd name="T8" fmla="*/ 823 w 910"/>
                    <a:gd name="T9" fmla="*/ 103 h 103"/>
                    <a:gd name="T10" fmla="*/ 910 w 910"/>
                    <a:gd name="T11" fmla="*/ 16 h 103"/>
                    <a:gd name="T12" fmla="*/ 910 w 910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10" h="103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16"/>
                      </a:lnTo>
                      <a:cubicBezTo>
                        <a:pt x="0" y="64"/>
                        <a:pt x="40" y="103"/>
                        <a:pt x="88" y="103"/>
                      </a:cubicBezTo>
                      <a:lnTo>
                        <a:pt x="823" y="103"/>
                      </a:lnTo>
                      <a:cubicBezTo>
                        <a:pt x="871" y="103"/>
                        <a:pt x="910" y="64"/>
                        <a:pt x="910" y="16"/>
                      </a:cubicBezTo>
                      <a:lnTo>
                        <a:pt x="91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121">
                  <a:extLst>
                    <a:ext uri="{FF2B5EF4-FFF2-40B4-BE49-F238E27FC236}">
                      <a16:creationId xmlns:a16="http://schemas.microsoft.com/office/drawing/2014/main" id="{D2D13D0C-30F5-4EA1-B736-AAE566128E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3389" y="3386093"/>
                  <a:ext cx="345193" cy="39830"/>
                </a:xfrm>
                <a:custGeom>
                  <a:avLst/>
                  <a:gdLst>
                    <a:gd name="T0" fmla="*/ 5 w 910"/>
                    <a:gd name="T1" fmla="*/ 0 h 103"/>
                    <a:gd name="T2" fmla="*/ 5 w 910"/>
                    <a:gd name="T3" fmla="*/ 0 h 103"/>
                    <a:gd name="T4" fmla="*/ 0 w 910"/>
                    <a:gd name="T5" fmla="*/ 16 h 103"/>
                    <a:gd name="T6" fmla="*/ 88 w 910"/>
                    <a:gd name="T7" fmla="*/ 103 h 103"/>
                    <a:gd name="T8" fmla="*/ 823 w 910"/>
                    <a:gd name="T9" fmla="*/ 103 h 103"/>
                    <a:gd name="T10" fmla="*/ 910 w 910"/>
                    <a:gd name="T11" fmla="*/ 16 h 103"/>
                    <a:gd name="T12" fmla="*/ 910 w 910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10" h="103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16"/>
                      </a:lnTo>
                      <a:cubicBezTo>
                        <a:pt x="0" y="64"/>
                        <a:pt x="40" y="103"/>
                        <a:pt x="88" y="103"/>
                      </a:cubicBezTo>
                      <a:lnTo>
                        <a:pt x="823" y="103"/>
                      </a:lnTo>
                      <a:cubicBezTo>
                        <a:pt x="871" y="103"/>
                        <a:pt x="910" y="64"/>
                        <a:pt x="910" y="16"/>
                      </a:cubicBezTo>
                      <a:lnTo>
                        <a:pt x="91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22">
                  <a:extLst>
                    <a:ext uri="{FF2B5EF4-FFF2-40B4-BE49-F238E27FC236}">
                      <a16:creationId xmlns:a16="http://schemas.microsoft.com/office/drawing/2014/main" id="{0BDB0095-584C-4E8D-B03D-70B003D408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3389" y="3386093"/>
                  <a:ext cx="345193" cy="0"/>
                </a:xfrm>
                <a:custGeom>
                  <a:avLst/>
                  <a:gdLst>
                    <a:gd name="T0" fmla="*/ 0 w 911"/>
                    <a:gd name="T1" fmla="*/ 0 w 911"/>
                    <a:gd name="T2" fmla="*/ 911 w 9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1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23">
                  <a:extLst>
                    <a:ext uri="{FF2B5EF4-FFF2-40B4-BE49-F238E27FC236}">
                      <a16:creationId xmlns:a16="http://schemas.microsoft.com/office/drawing/2014/main" id="{399A5A41-D2EE-476B-BF56-689986EDC8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0452" y="3245361"/>
                  <a:ext cx="257567" cy="209772"/>
                </a:xfrm>
                <a:custGeom>
                  <a:avLst/>
                  <a:gdLst>
                    <a:gd name="T0" fmla="*/ 627 w 681"/>
                    <a:gd name="T1" fmla="*/ 65 h 554"/>
                    <a:gd name="T2" fmla="*/ 627 w 681"/>
                    <a:gd name="T3" fmla="*/ 65 h 554"/>
                    <a:gd name="T4" fmla="*/ 394 w 681"/>
                    <a:gd name="T5" fmla="*/ 4 h 554"/>
                    <a:gd name="T6" fmla="*/ 360 w 681"/>
                    <a:gd name="T7" fmla="*/ 4 h 554"/>
                    <a:gd name="T8" fmla="*/ 315 w 681"/>
                    <a:gd name="T9" fmla="*/ 41 h 554"/>
                    <a:gd name="T10" fmla="*/ 108 w 681"/>
                    <a:gd name="T11" fmla="*/ 458 h 554"/>
                    <a:gd name="T12" fmla="*/ 56 w 681"/>
                    <a:gd name="T13" fmla="*/ 444 h 554"/>
                    <a:gd name="T14" fmla="*/ 6 w 681"/>
                    <a:gd name="T15" fmla="*/ 471 h 554"/>
                    <a:gd name="T16" fmla="*/ 36 w 681"/>
                    <a:gd name="T17" fmla="*/ 519 h 554"/>
                    <a:gd name="T18" fmla="*/ 140 w 681"/>
                    <a:gd name="T19" fmla="*/ 546 h 554"/>
                    <a:gd name="T20" fmla="*/ 220 w 681"/>
                    <a:gd name="T21" fmla="*/ 514 h 554"/>
                    <a:gd name="T22" fmla="*/ 408 w 681"/>
                    <a:gd name="T23" fmla="*/ 136 h 554"/>
                    <a:gd name="T24" fmla="*/ 595 w 681"/>
                    <a:gd name="T25" fmla="*/ 185 h 554"/>
                    <a:gd name="T26" fmla="*/ 672 w 681"/>
                    <a:gd name="T27" fmla="*/ 141 h 554"/>
                    <a:gd name="T28" fmla="*/ 627 w 681"/>
                    <a:gd name="T29" fmla="*/ 65 h 5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81" h="554">
                      <a:moveTo>
                        <a:pt x="627" y="65"/>
                      </a:moveTo>
                      <a:lnTo>
                        <a:pt x="627" y="65"/>
                      </a:lnTo>
                      <a:lnTo>
                        <a:pt x="394" y="4"/>
                      </a:lnTo>
                      <a:cubicBezTo>
                        <a:pt x="382" y="1"/>
                        <a:pt x="371" y="0"/>
                        <a:pt x="360" y="4"/>
                      </a:cubicBezTo>
                      <a:cubicBezTo>
                        <a:pt x="342" y="8"/>
                        <a:pt x="324" y="23"/>
                        <a:pt x="315" y="41"/>
                      </a:cubicBezTo>
                      <a:lnTo>
                        <a:pt x="108" y="458"/>
                      </a:lnTo>
                      <a:lnTo>
                        <a:pt x="56" y="444"/>
                      </a:lnTo>
                      <a:cubicBezTo>
                        <a:pt x="34" y="438"/>
                        <a:pt x="12" y="449"/>
                        <a:pt x="6" y="471"/>
                      </a:cubicBezTo>
                      <a:cubicBezTo>
                        <a:pt x="0" y="493"/>
                        <a:pt x="14" y="513"/>
                        <a:pt x="36" y="519"/>
                      </a:cubicBezTo>
                      <a:lnTo>
                        <a:pt x="140" y="546"/>
                      </a:lnTo>
                      <a:cubicBezTo>
                        <a:pt x="171" y="554"/>
                        <a:pt x="205" y="544"/>
                        <a:pt x="220" y="514"/>
                      </a:cubicBezTo>
                      <a:lnTo>
                        <a:pt x="408" y="136"/>
                      </a:lnTo>
                      <a:lnTo>
                        <a:pt x="595" y="185"/>
                      </a:lnTo>
                      <a:cubicBezTo>
                        <a:pt x="629" y="193"/>
                        <a:pt x="663" y="174"/>
                        <a:pt x="672" y="141"/>
                      </a:cubicBezTo>
                      <a:cubicBezTo>
                        <a:pt x="681" y="107"/>
                        <a:pt x="660" y="73"/>
                        <a:pt x="627" y="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24">
                  <a:extLst>
                    <a:ext uri="{FF2B5EF4-FFF2-40B4-BE49-F238E27FC236}">
                      <a16:creationId xmlns:a16="http://schemas.microsoft.com/office/drawing/2014/main" id="{58F15183-42A1-49DD-8583-87C8D6BFBA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0452" y="3245361"/>
                  <a:ext cx="257567" cy="209772"/>
                </a:xfrm>
                <a:custGeom>
                  <a:avLst/>
                  <a:gdLst>
                    <a:gd name="T0" fmla="*/ 627 w 681"/>
                    <a:gd name="T1" fmla="*/ 65 h 554"/>
                    <a:gd name="T2" fmla="*/ 627 w 681"/>
                    <a:gd name="T3" fmla="*/ 65 h 554"/>
                    <a:gd name="T4" fmla="*/ 394 w 681"/>
                    <a:gd name="T5" fmla="*/ 4 h 554"/>
                    <a:gd name="T6" fmla="*/ 360 w 681"/>
                    <a:gd name="T7" fmla="*/ 4 h 554"/>
                    <a:gd name="T8" fmla="*/ 315 w 681"/>
                    <a:gd name="T9" fmla="*/ 41 h 554"/>
                    <a:gd name="T10" fmla="*/ 108 w 681"/>
                    <a:gd name="T11" fmla="*/ 458 h 554"/>
                    <a:gd name="T12" fmla="*/ 56 w 681"/>
                    <a:gd name="T13" fmla="*/ 444 h 554"/>
                    <a:gd name="T14" fmla="*/ 6 w 681"/>
                    <a:gd name="T15" fmla="*/ 471 h 554"/>
                    <a:gd name="T16" fmla="*/ 36 w 681"/>
                    <a:gd name="T17" fmla="*/ 519 h 554"/>
                    <a:gd name="T18" fmla="*/ 140 w 681"/>
                    <a:gd name="T19" fmla="*/ 546 h 554"/>
                    <a:gd name="T20" fmla="*/ 220 w 681"/>
                    <a:gd name="T21" fmla="*/ 514 h 554"/>
                    <a:gd name="T22" fmla="*/ 408 w 681"/>
                    <a:gd name="T23" fmla="*/ 136 h 554"/>
                    <a:gd name="T24" fmla="*/ 595 w 681"/>
                    <a:gd name="T25" fmla="*/ 185 h 554"/>
                    <a:gd name="T26" fmla="*/ 672 w 681"/>
                    <a:gd name="T27" fmla="*/ 141 h 554"/>
                    <a:gd name="T28" fmla="*/ 627 w 681"/>
                    <a:gd name="T29" fmla="*/ 65 h 554"/>
                    <a:gd name="T30" fmla="*/ 627 w 681"/>
                    <a:gd name="T31" fmla="*/ 65 h 5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81" h="554">
                      <a:moveTo>
                        <a:pt x="627" y="65"/>
                      </a:moveTo>
                      <a:lnTo>
                        <a:pt x="627" y="65"/>
                      </a:lnTo>
                      <a:lnTo>
                        <a:pt x="394" y="4"/>
                      </a:lnTo>
                      <a:cubicBezTo>
                        <a:pt x="382" y="1"/>
                        <a:pt x="371" y="0"/>
                        <a:pt x="360" y="4"/>
                      </a:cubicBezTo>
                      <a:cubicBezTo>
                        <a:pt x="342" y="8"/>
                        <a:pt x="324" y="23"/>
                        <a:pt x="315" y="41"/>
                      </a:cubicBezTo>
                      <a:lnTo>
                        <a:pt x="108" y="458"/>
                      </a:lnTo>
                      <a:lnTo>
                        <a:pt x="56" y="444"/>
                      </a:lnTo>
                      <a:cubicBezTo>
                        <a:pt x="34" y="438"/>
                        <a:pt x="12" y="449"/>
                        <a:pt x="6" y="471"/>
                      </a:cubicBezTo>
                      <a:cubicBezTo>
                        <a:pt x="0" y="493"/>
                        <a:pt x="14" y="513"/>
                        <a:pt x="36" y="519"/>
                      </a:cubicBezTo>
                      <a:lnTo>
                        <a:pt x="140" y="546"/>
                      </a:lnTo>
                      <a:cubicBezTo>
                        <a:pt x="171" y="554"/>
                        <a:pt x="205" y="544"/>
                        <a:pt x="220" y="514"/>
                      </a:cubicBezTo>
                      <a:lnTo>
                        <a:pt x="408" y="136"/>
                      </a:lnTo>
                      <a:lnTo>
                        <a:pt x="595" y="185"/>
                      </a:lnTo>
                      <a:cubicBezTo>
                        <a:pt x="629" y="193"/>
                        <a:pt x="663" y="174"/>
                        <a:pt x="672" y="141"/>
                      </a:cubicBezTo>
                      <a:cubicBezTo>
                        <a:pt x="681" y="107"/>
                        <a:pt x="660" y="73"/>
                        <a:pt x="627" y="65"/>
                      </a:cubicBezTo>
                      <a:lnTo>
                        <a:pt x="627" y="65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25">
                  <a:extLst>
                    <a:ext uri="{FF2B5EF4-FFF2-40B4-BE49-F238E27FC236}">
                      <a16:creationId xmlns:a16="http://schemas.microsoft.com/office/drawing/2014/main" id="{7FA38748-7771-4A39-AAF4-3CB60DE7F0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0503" y="2963896"/>
                  <a:ext cx="111523" cy="111523"/>
                </a:xfrm>
                <a:custGeom>
                  <a:avLst/>
                  <a:gdLst>
                    <a:gd name="T0" fmla="*/ 101 w 292"/>
                    <a:gd name="T1" fmla="*/ 24 h 291"/>
                    <a:gd name="T2" fmla="*/ 101 w 292"/>
                    <a:gd name="T3" fmla="*/ 24 h 291"/>
                    <a:gd name="T4" fmla="*/ 25 w 292"/>
                    <a:gd name="T5" fmla="*/ 190 h 291"/>
                    <a:gd name="T6" fmla="*/ 191 w 292"/>
                    <a:gd name="T7" fmla="*/ 267 h 291"/>
                    <a:gd name="T8" fmla="*/ 267 w 292"/>
                    <a:gd name="T9" fmla="*/ 101 h 291"/>
                    <a:gd name="T10" fmla="*/ 101 w 292"/>
                    <a:gd name="T11" fmla="*/ 24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2" h="291">
                      <a:moveTo>
                        <a:pt x="101" y="24"/>
                      </a:moveTo>
                      <a:lnTo>
                        <a:pt x="101" y="24"/>
                      </a:lnTo>
                      <a:cubicBezTo>
                        <a:pt x="34" y="49"/>
                        <a:pt x="0" y="123"/>
                        <a:pt x="25" y="190"/>
                      </a:cubicBezTo>
                      <a:cubicBezTo>
                        <a:pt x="49" y="257"/>
                        <a:pt x="124" y="291"/>
                        <a:pt x="191" y="267"/>
                      </a:cubicBezTo>
                      <a:cubicBezTo>
                        <a:pt x="258" y="242"/>
                        <a:pt x="292" y="168"/>
                        <a:pt x="267" y="101"/>
                      </a:cubicBezTo>
                      <a:cubicBezTo>
                        <a:pt x="243" y="34"/>
                        <a:pt x="168" y="0"/>
                        <a:pt x="101" y="2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26">
                  <a:extLst>
                    <a:ext uri="{FF2B5EF4-FFF2-40B4-BE49-F238E27FC236}">
                      <a16:creationId xmlns:a16="http://schemas.microsoft.com/office/drawing/2014/main" id="{8F9D1CDC-5FBC-4A5F-A8BB-CFB640DB3F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0503" y="2963896"/>
                  <a:ext cx="111523" cy="111523"/>
                </a:xfrm>
                <a:custGeom>
                  <a:avLst/>
                  <a:gdLst>
                    <a:gd name="T0" fmla="*/ 101 w 292"/>
                    <a:gd name="T1" fmla="*/ 24 h 291"/>
                    <a:gd name="T2" fmla="*/ 101 w 292"/>
                    <a:gd name="T3" fmla="*/ 24 h 291"/>
                    <a:gd name="T4" fmla="*/ 25 w 292"/>
                    <a:gd name="T5" fmla="*/ 190 h 291"/>
                    <a:gd name="T6" fmla="*/ 191 w 292"/>
                    <a:gd name="T7" fmla="*/ 267 h 291"/>
                    <a:gd name="T8" fmla="*/ 267 w 292"/>
                    <a:gd name="T9" fmla="*/ 101 h 291"/>
                    <a:gd name="T10" fmla="*/ 101 w 292"/>
                    <a:gd name="T11" fmla="*/ 24 h 291"/>
                    <a:gd name="T12" fmla="*/ 101 w 292"/>
                    <a:gd name="T13" fmla="*/ 24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2" h="291">
                      <a:moveTo>
                        <a:pt x="101" y="24"/>
                      </a:moveTo>
                      <a:lnTo>
                        <a:pt x="101" y="24"/>
                      </a:lnTo>
                      <a:cubicBezTo>
                        <a:pt x="34" y="49"/>
                        <a:pt x="0" y="123"/>
                        <a:pt x="25" y="190"/>
                      </a:cubicBezTo>
                      <a:cubicBezTo>
                        <a:pt x="49" y="257"/>
                        <a:pt x="124" y="291"/>
                        <a:pt x="191" y="267"/>
                      </a:cubicBezTo>
                      <a:cubicBezTo>
                        <a:pt x="258" y="242"/>
                        <a:pt x="292" y="168"/>
                        <a:pt x="267" y="101"/>
                      </a:cubicBezTo>
                      <a:cubicBezTo>
                        <a:pt x="243" y="34"/>
                        <a:pt x="168" y="0"/>
                        <a:pt x="101" y="24"/>
                      </a:cubicBezTo>
                      <a:lnTo>
                        <a:pt x="101" y="24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27">
                  <a:extLst>
                    <a:ext uri="{FF2B5EF4-FFF2-40B4-BE49-F238E27FC236}">
                      <a16:creationId xmlns:a16="http://schemas.microsoft.com/office/drawing/2014/main" id="{98E19CCD-05A5-4E6A-B1C4-4A7FFED737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1917" y="3072763"/>
                  <a:ext cx="127456" cy="323951"/>
                </a:xfrm>
                <a:custGeom>
                  <a:avLst/>
                  <a:gdLst>
                    <a:gd name="T0" fmla="*/ 200 w 339"/>
                    <a:gd name="T1" fmla="*/ 852 h 852"/>
                    <a:gd name="T2" fmla="*/ 200 w 339"/>
                    <a:gd name="T3" fmla="*/ 852 h 852"/>
                    <a:gd name="T4" fmla="*/ 339 w 339"/>
                    <a:gd name="T5" fmla="*/ 713 h 852"/>
                    <a:gd name="T6" fmla="*/ 339 w 339"/>
                    <a:gd name="T7" fmla="*/ 139 h 852"/>
                    <a:gd name="T8" fmla="*/ 200 w 339"/>
                    <a:gd name="T9" fmla="*/ 0 h 852"/>
                    <a:gd name="T10" fmla="*/ 61 w 339"/>
                    <a:gd name="T11" fmla="*/ 139 h 852"/>
                    <a:gd name="T12" fmla="*/ 0 w 339"/>
                    <a:gd name="T13" fmla="*/ 713 h 8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9" h="852">
                      <a:moveTo>
                        <a:pt x="200" y="852"/>
                      </a:moveTo>
                      <a:lnTo>
                        <a:pt x="200" y="852"/>
                      </a:lnTo>
                      <a:cubicBezTo>
                        <a:pt x="276" y="852"/>
                        <a:pt x="339" y="790"/>
                        <a:pt x="339" y="713"/>
                      </a:cubicBezTo>
                      <a:lnTo>
                        <a:pt x="339" y="139"/>
                      </a:lnTo>
                      <a:cubicBezTo>
                        <a:pt x="339" y="63"/>
                        <a:pt x="276" y="0"/>
                        <a:pt x="200" y="0"/>
                      </a:cubicBezTo>
                      <a:cubicBezTo>
                        <a:pt x="123" y="0"/>
                        <a:pt x="61" y="63"/>
                        <a:pt x="61" y="139"/>
                      </a:cubicBezTo>
                      <a:lnTo>
                        <a:pt x="0" y="71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28">
                  <a:extLst>
                    <a:ext uri="{FF2B5EF4-FFF2-40B4-BE49-F238E27FC236}">
                      <a16:creationId xmlns:a16="http://schemas.microsoft.com/office/drawing/2014/main" id="{44708C8B-558C-4D1B-B6EC-7D4D80E055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1917" y="3072763"/>
                  <a:ext cx="127456" cy="323951"/>
                </a:xfrm>
                <a:custGeom>
                  <a:avLst/>
                  <a:gdLst>
                    <a:gd name="T0" fmla="*/ 200 w 339"/>
                    <a:gd name="T1" fmla="*/ 852 h 852"/>
                    <a:gd name="T2" fmla="*/ 200 w 339"/>
                    <a:gd name="T3" fmla="*/ 852 h 852"/>
                    <a:gd name="T4" fmla="*/ 339 w 339"/>
                    <a:gd name="T5" fmla="*/ 713 h 852"/>
                    <a:gd name="T6" fmla="*/ 339 w 339"/>
                    <a:gd name="T7" fmla="*/ 139 h 852"/>
                    <a:gd name="T8" fmla="*/ 200 w 339"/>
                    <a:gd name="T9" fmla="*/ 0 h 852"/>
                    <a:gd name="T10" fmla="*/ 61 w 339"/>
                    <a:gd name="T11" fmla="*/ 139 h 852"/>
                    <a:gd name="T12" fmla="*/ 0 w 339"/>
                    <a:gd name="T13" fmla="*/ 713 h 8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9" h="852">
                      <a:moveTo>
                        <a:pt x="200" y="852"/>
                      </a:moveTo>
                      <a:lnTo>
                        <a:pt x="200" y="852"/>
                      </a:lnTo>
                      <a:cubicBezTo>
                        <a:pt x="276" y="852"/>
                        <a:pt x="339" y="790"/>
                        <a:pt x="339" y="713"/>
                      </a:cubicBezTo>
                      <a:lnTo>
                        <a:pt x="339" y="139"/>
                      </a:lnTo>
                      <a:cubicBezTo>
                        <a:pt x="339" y="63"/>
                        <a:pt x="276" y="0"/>
                        <a:pt x="200" y="0"/>
                      </a:cubicBezTo>
                      <a:cubicBezTo>
                        <a:pt x="123" y="0"/>
                        <a:pt x="61" y="63"/>
                        <a:pt x="61" y="139"/>
                      </a:cubicBezTo>
                      <a:lnTo>
                        <a:pt x="0" y="71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129">
                  <a:extLst>
                    <a:ext uri="{FF2B5EF4-FFF2-40B4-BE49-F238E27FC236}">
                      <a16:creationId xmlns:a16="http://schemas.microsoft.com/office/drawing/2014/main" id="{788995C7-12F2-409B-870F-73ACBB646E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2989" y="2894856"/>
                  <a:ext cx="146044" cy="427509"/>
                </a:xfrm>
                <a:custGeom>
                  <a:avLst/>
                  <a:gdLst>
                    <a:gd name="T0" fmla="*/ 385 w 387"/>
                    <a:gd name="T1" fmla="*/ 102 h 1124"/>
                    <a:gd name="T2" fmla="*/ 385 w 387"/>
                    <a:gd name="T3" fmla="*/ 102 h 1124"/>
                    <a:gd name="T4" fmla="*/ 290 w 387"/>
                    <a:gd name="T5" fmla="*/ 0 h 1124"/>
                    <a:gd name="T6" fmla="*/ 288 w 387"/>
                    <a:gd name="T7" fmla="*/ 0 h 1124"/>
                    <a:gd name="T8" fmla="*/ 179 w 387"/>
                    <a:gd name="T9" fmla="*/ 106 h 1124"/>
                    <a:gd name="T10" fmla="*/ 179 w 387"/>
                    <a:gd name="T11" fmla="*/ 312 h 1124"/>
                    <a:gd name="T12" fmla="*/ 13 w 387"/>
                    <a:gd name="T13" fmla="*/ 987 h 1124"/>
                    <a:gd name="T14" fmla="*/ 90 w 387"/>
                    <a:gd name="T15" fmla="*/ 1110 h 1124"/>
                    <a:gd name="T16" fmla="*/ 214 w 387"/>
                    <a:gd name="T17" fmla="*/ 1037 h 1124"/>
                    <a:gd name="T18" fmla="*/ 385 w 387"/>
                    <a:gd name="T19" fmla="*/ 348 h 1124"/>
                    <a:gd name="T20" fmla="*/ 385 w 387"/>
                    <a:gd name="T21" fmla="*/ 102 h 1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7" h="1124">
                      <a:moveTo>
                        <a:pt x="385" y="102"/>
                      </a:moveTo>
                      <a:lnTo>
                        <a:pt x="385" y="102"/>
                      </a:lnTo>
                      <a:cubicBezTo>
                        <a:pt x="385" y="47"/>
                        <a:pt x="346" y="0"/>
                        <a:pt x="290" y="0"/>
                      </a:cubicBezTo>
                      <a:lnTo>
                        <a:pt x="288" y="0"/>
                      </a:lnTo>
                      <a:cubicBezTo>
                        <a:pt x="232" y="0"/>
                        <a:pt x="179" y="50"/>
                        <a:pt x="179" y="106"/>
                      </a:cubicBezTo>
                      <a:lnTo>
                        <a:pt x="179" y="312"/>
                      </a:lnTo>
                      <a:lnTo>
                        <a:pt x="13" y="987"/>
                      </a:lnTo>
                      <a:cubicBezTo>
                        <a:pt x="0" y="1041"/>
                        <a:pt x="36" y="1097"/>
                        <a:pt x="90" y="1110"/>
                      </a:cubicBezTo>
                      <a:cubicBezTo>
                        <a:pt x="144" y="1124"/>
                        <a:pt x="201" y="1091"/>
                        <a:pt x="214" y="1037"/>
                      </a:cubicBezTo>
                      <a:cubicBezTo>
                        <a:pt x="214" y="1037"/>
                        <a:pt x="385" y="349"/>
                        <a:pt x="385" y="348"/>
                      </a:cubicBezTo>
                      <a:cubicBezTo>
                        <a:pt x="387" y="340"/>
                        <a:pt x="385" y="102"/>
                        <a:pt x="385" y="10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130">
                  <a:extLst>
                    <a:ext uri="{FF2B5EF4-FFF2-40B4-BE49-F238E27FC236}">
                      <a16:creationId xmlns:a16="http://schemas.microsoft.com/office/drawing/2014/main" id="{467A003E-4D8B-4DFB-8A2D-416C09D392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2989" y="2894856"/>
                  <a:ext cx="146044" cy="427509"/>
                </a:xfrm>
                <a:custGeom>
                  <a:avLst/>
                  <a:gdLst>
                    <a:gd name="T0" fmla="*/ 385 w 387"/>
                    <a:gd name="T1" fmla="*/ 102 h 1124"/>
                    <a:gd name="T2" fmla="*/ 385 w 387"/>
                    <a:gd name="T3" fmla="*/ 102 h 1124"/>
                    <a:gd name="T4" fmla="*/ 290 w 387"/>
                    <a:gd name="T5" fmla="*/ 0 h 1124"/>
                    <a:gd name="T6" fmla="*/ 288 w 387"/>
                    <a:gd name="T7" fmla="*/ 0 h 1124"/>
                    <a:gd name="T8" fmla="*/ 179 w 387"/>
                    <a:gd name="T9" fmla="*/ 106 h 1124"/>
                    <a:gd name="T10" fmla="*/ 179 w 387"/>
                    <a:gd name="T11" fmla="*/ 312 h 1124"/>
                    <a:gd name="T12" fmla="*/ 13 w 387"/>
                    <a:gd name="T13" fmla="*/ 987 h 1124"/>
                    <a:gd name="T14" fmla="*/ 90 w 387"/>
                    <a:gd name="T15" fmla="*/ 1110 h 1124"/>
                    <a:gd name="T16" fmla="*/ 214 w 387"/>
                    <a:gd name="T17" fmla="*/ 1037 h 1124"/>
                    <a:gd name="T18" fmla="*/ 385 w 387"/>
                    <a:gd name="T19" fmla="*/ 348 h 1124"/>
                    <a:gd name="T20" fmla="*/ 385 w 387"/>
                    <a:gd name="T21" fmla="*/ 102 h 1124"/>
                    <a:gd name="T22" fmla="*/ 385 w 387"/>
                    <a:gd name="T23" fmla="*/ 102 h 1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7" h="1124">
                      <a:moveTo>
                        <a:pt x="385" y="102"/>
                      </a:moveTo>
                      <a:lnTo>
                        <a:pt x="385" y="102"/>
                      </a:lnTo>
                      <a:cubicBezTo>
                        <a:pt x="385" y="47"/>
                        <a:pt x="346" y="0"/>
                        <a:pt x="290" y="0"/>
                      </a:cubicBezTo>
                      <a:lnTo>
                        <a:pt x="288" y="0"/>
                      </a:lnTo>
                      <a:cubicBezTo>
                        <a:pt x="232" y="0"/>
                        <a:pt x="179" y="50"/>
                        <a:pt x="179" y="106"/>
                      </a:cubicBezTo>
                      <a:lnTo>
                        <a:pt x="179" y="312"/>
                      </a:lnTo>
                      <a:lnTo>
                        <a:pt x="13" y="987"/>
                      </a:lnTo>
                      <a:cubicBezTo>
                        <a:pt x="0" y="1041"/>
                        <a:pt x="36" y="1097"/>
                        <a:pt x="90" y="1110"/>
                      </a:cubicBezTo>
                      <a:cubicBezTo>
                        <a:pt x="144" y="1124"/>
                        <a:pt x="201" y="1091"/>
                        <a:pt x="214" y="1037"/>
                      </a:cubicBezTo>
                      <a:cubicBezTo>
                        <a:pt x="214" y="1037"/>
                        <a:pt x="385" y="349"/>
                        <a:pt x="385" y="348"/>
                      </a:cubicBezTo>
                      <a:cubicBezTo>
                        <a:pt x="387" y="340"/>
                        <a:pt x="385" y="102"/>
                        <a:pt x="385" y="102"/>
                      </a:cubicBezTo>
                      <a:lnTo>
                        <a:pt x="385" y="102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131">
                  <a:extLst>
                    <a:ext uri="{FF2B5EF4-FFF2-40B4-BE49-F238E27FC236}">
                      <a16:creationId xmlns:a16="http://schemas.microsoft.com/office/drawing/2014/main" id="{CE9B62E6-78FE-4B0B-A168-5CA1C5A154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8249" y="3253326"/>
                  <a:ext cx="212426" cy="225704"/>
                </a:xfrm>
                <a:custGeom>
                  <a:avLst/>
                  <a:gdLst>
                    <a:gd name="T0" fmla="*/ 498 w 561"/>
                    <a:gd name="T1" fmla="*/ 3 h 589"/>
                    <a:gd name="T2" fmla="*/ 498 w 561"/>
                    <a:gd name="T3" fmla="*/ 3 h 589"/>
                    <a:gd name="T4" fmla="*/ 258 w 561"/>
                    <a:gd name="T5" fmla="*/ 3 h 589"/>
                    <a:gd name="T6" fmla="*/ 225 w 561"/>
                    <a:gd name="T7" fmla="*/ 6 h 589"/>
                    <a:gd name="T8" fmla="*/ 191 w 561"/>
                    <a:gd name="T9" fmla="*/ 53 h 589"/>
                    <a:gd name="T10" fmla="*/ 96 w 561"/>
                    <a:gd name="T11" fmla="*/ 509 h 589"/>
                    <a:gd name="T12" fmla="*/ 42 w 561"/>
                    <a:gd name="T13" fmla="*/ 509 h 589"/>
                    <a:gd name="T14" fmla="*/ 0 w 561"/>
                    <a:gd name="T15" fmla="*/ 549 h 589"/>
                    <a:gd name="T16" fmla="*/ 42 w 561"/>
                    <a:gd name="T17" fmla="*/ 589 h 589"/>
                    <a:gd name="T18" fmla="*/ 149 w 561"/>
                    <a:gd name="T19" fmla="*/ 589 h 589"/>
                    <a:gd name="T20" fmla="*/ 218 w 561"/>
                    <a:gd name="T21" fmla="*/ 537 h 589"/>
                    <a:gd name="T22" fmla="*/ 305 w 561"/>
                    <a:gd name="T23" fmla="*/ 123 h 589"/>
                    <a:gd name="T24" fmla="*/ 498 w 561"/>
                    <a:gd name="T25" fmla="*/ 123 h 589"/>
                    <a:gd name="T26" fmla="*/ 561 w 561"/>
                    <a:gd name="T27" fmla="*/ 63 h 589"/>
                    <a:gd name="T28" fmla="*/ 498 w 561"/>
                    <a:gd name="T29" fmla="*/ 3 h 5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61" h="589">
                      <a:moveTo>
                        <a:pt x="498" y="3"/>
                      </a:moveTo>
                      <a:lnTo>
                        <a:pt x="498" y="3"/>
                      </a:lnTo>
                      <a:lnTo>
                        <a:pt x="258" y="3"/>
                      </a:lnTo>
                      <a:cubicBezTo>
                        <a:pt x="246" y="3"/>
                        <a:pt x="234" y="0"/>
                        <a:pt x="225" y="6"/>
                      </a:cubicBezTo>
                      <a:cubicBezTo>
                        <a:pt x="208" y="14"/>
                        <a:pt x="195" y="34"/>
                        <a:pt x="191" y="53"/>
                      </a:cubicBezTo>
                      <a:lnTo>
                        <a:pt x="96" y="509"/>
                      </a:lnTo>
                      <a:lnTo>
                        <a:pt x="42" y="509"/>
                      </a:lnTo>
                      <a:cubicBezTo>
                        <a:pt x="19" y="509"/>
                        <a:pt x="0" y="526"/>
                        <a:pt x="0" y="549"/>
                      </a:cubicBezTo>
                      <a:cubicBezTo>
                        <a:pt x="0" y="572"/>
                        <a:pt x="19" y="589"/>
                        <a:pt x="42" y="589"/>
                      </a:cubicBezTo>
                      <a:lnTo>
                        <a:pt x="149" y="589"/>
                      </a:lnTo>
                      <a:cubicBezTo>
                        <a:pt x="181" y="589"/>
                        <a:pt x="211" y="569"/>
                        <a:pt x="218" y="537"/>
                      </a:cubicBezTo>
                      <a:lnTo>
                        <a:pt x="305" y="123"/>
                      </a:lnTo>
                      <a:lnTo>
                        <a:pt x="498" y="123"/>
                      </a:lnTo>
                      <a:cubicBezTo>
                        <a:pt x="533" y="123"/>
                        <a:pt x="561" y="97"/>
                        <a:pt x="561" y="63"/>
                      </a:cubicBezTo>
                      <a:cubicBezTo>
                        <a:pt x="561" y="28"/>
                        <a:pt x="533" y="3"/>
                        <a:pt x="498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132">
                  <a:extLst>
                    <a:ext uri="{FF2B5EF4-FFF2-40B4-BE49-F238E27FC236}">
                      <a16:creationId xmlns:a16="http://schemas.microsoft.com/office/drawing/2014/main" id="{7791DDA1-D505-4565-918A-92E64DD7C3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8249" y="3253326"/>
                  <a:ext cx="212426" cy="225704"/>
                </a:xfrm>
                <a:custGeom>
                  <a:avLst/>
                  <a:gdLst>
                    <a:gd name="T0" fmla="*/ 498 w 561"/>
                    <a:gd name="T1" fmla="*/ 3 h 589"/>
                    <a:gd name="T2" fmla="*/ 498 w 561"/>
                    <a:gd name="T3" fmla="*/ 3 h 589"/>
                    <a:gd name="T4" fmla="*/ 258 w 561"/>
                    <a:gd name="T5" fmla="*/ 3 h 589"/>
                    <a:gd name="T6" fmla="*/ 225 w 561"/>
                    <a:gd name="T7" fmla="*/ 6 h 589"/>
                    <a:gd name="T8" fmla="*/ 191 w 561"/>
                    <a:gd name="T9" fmla="*/ 53 h 589"/>
                    <a:gd name="T10" fmla="*/ 96 w 561"/>
                    <a:gd name="T11" fmla="*/ 509 h 589"/>
                    <a:gd name="T12" fmla="*/ 42 w 561"/>
                    <a:gd name="T13" fmla="*/ 509 h 589"/>
                    <a:gd name="T14" fmla="*/ 0 w 561"/>
                    <a:gd name="T15" fmla="*/ 549 h 589"/>
                    <a:gd name="T16" fmla="*/ 42 w 561"/>
                    <a:gd name="T17" fmla="*/ 589 h 589"/>
                    <a:gd name="T18" fmla="*/ 149 w 561"/>
                    <a:gd name="T19" fmla="*/ 589 h 589"/>
                    <a:gd name="T20" fmla="*/ 218 w 561"/>
                    <a:gd name="T21" fmla="*/ 537 h 589"/>
                    <a:gd name="T22" fmla="*/ 305 w 561"/>
                    <a:gd name="T23" fmla="*/ 123 h 589"/>
                    <a:gd name="T24" fmla="*/ 498 w 561"/>
                    <a:gd name="T25" fmla="*/ 123 h 589"/>
                    <a:gd name="T26" fmla="*/ 561 w 561"/>
                    <a:gd name="T27" fmla="*/ 63 h 589"/>
                    <a:gd name="T28" fmla="*/ 498 w 561"/>
                    <a:gd name="T29" fmla="*/ 3 h 589"/>
                    <a:gd name="T30" fmla="*/ 498 w 561"/>
                    <a:gd name="T31" fmla="*/ 3 h 5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61" h="589">
                      <a:moveTo>
                        <a:pt x="498" y="3"/>
                      </a:moveTo>
                      <a:lnTo>
                        <a:pt x="498" y="3"/>
                      </a:lnTo>
                      <a:lnTo>
                        <a:pt x="258" y="3"/>
                      </a:lnTo>
                      <a:cubicBezTo>
                        <a:pt x="246" y="3"/>
                        <a:pt x="234" y="0"/>
                        <a:pt x="225" y="6"/>
                      </a:cubicBezTo>
                      <a:cubicBezTo>
                        <a:pt x="208" y="14"/>
                        <a:pt x="195" y="34"/>
                        <a:pt x="191" y="53"/>
                      </a:cubicBezTo>
                      <a:lnTo>
                        <a:pt x="96" y="509"/>
                      </a:lnTo>
                      <a:lnTo>
                        <a:pt x="42" y="509"/>
                      </a:lnTo>
                      <a:cubicBezTo>
                        <a:pt x="19" y="509"/>
                        <a:pt x="0" y="526"/>
                        <a:pt x="0" y="549"/>
                      </a:cubicBezTo>
                      <a:cubicBezTo>
                        <a:pt x="0" y="572"/>
                        <a:pt x="19" y="589"/>
                        <a:pt x="42" y="589"/>
                      </a:cubicBezTo>
                      <a:lnTo>
                        <a:pt x="149" y="589"/>
                      </a:lnTo>
                      <a:cubicBezTo>
                        <a:pt x="181" y="589"/>
                        <a:pt x="211" y="569"/>
                        <a:pt x="218" y="537"/>
                      </a:cubicBezTo>
                      <a:lnTo>
                        <a:pt x="305" y="123"/>
                      </a:lnTo>
                      <a:lnTo>
                        <a:pt x="498" y="123"/>
                      </a:lnTo>
                      <a:cubicBezTo>
                        <a:pt x="533" y="123"/>
                        <a:pt x="561" y="97"/>
                        <a:pt x="561" y="63"/>
                      </a:cubicBezTo>
                      <a:cubicBezTo>
                        <a:pt x="561" y="28"/>
                        <a:pt x="533" y="3"/>
                        <a:pt x="498" y="3"/>
                      </a:cubicBezTo>
                      <a:lnTo>
                        <a:pt x="498" y="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133">
                  <a:extLst>
                    <a:ext uri="{FF2B5EF4-FFF2-40B4-BE49-F238E27FC236}">
                      <a16:creationId xmlns:a16="http://schemas.microsoft.com/office/drawing/2014/main" id="{9639A95B-4749-4F82-9E63-EB03302BD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5873" y="3279880"/>
                  <a:ext cx="305363" cy="146044"/>
                </a:xfrm>
                <a:custGeom>
                  <a:avLst/>
                  <a:gdLst>
                    <a:gd name="T0" fmla="*/ 806 w 806"/>
                    <a:gd name="T1" fmla="*/ 1 h 382"/>
                    <a:gd name="T2" fmla="*/ 806 w 806"/>
                    <a:gd name="T3" fmla="*/ 1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1"/>
                      </a:moveTo>
                      <a:lnTo>
                        <a:pt x="806" y="1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34">
                  <a:extLst>
                    <a:ext uri="{FF2B5EF4-FFF2-40B4-BE49-F238E27FC236}">
                      <a16:creationId xmlns:a16="http://schemas.microsoft.com/office/drawing/2014/main" id="{F9FB7D36-91F7-4BE3-B1A5-3EFF156AA0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5873" y="3279880"/>
                  <a:ext cx="305363" cy="146044"/>
                </a:xfrm>
                <a:custGeom>
                  <a:avLst/>
                  <a:gdLst>
                    <a:gd name="T0" fmla="*/ 806 w 806"/>
                    <a:gd name="T1" fmla="*/ 1 h 382"/>
                    <a:gd name="T2" fmla="*/ 806 w 806"/>
                    <a:gd name="T3" fmla="*/ 1 h 382"/>
                    <a:gd name="T4" fmla="*/ 806 w 806"/>
                    <a:gd name="T5" fmla="*/ 298 h 382"/>
                    <a:gd name="T6" fmla="*/ 722 w 806"/>
                    <a:gd name="T7" fmla="*/ 382 h 382"/>
                    <a:gd name="T8" fmla="*/ 169 w 806"/>
                    <a:gd name="T9" fmla="*/ 382 h 382"/>
                    <a:gd name="T10" fmla="*/ 85 w 806"/>
                    <a:gd name="T11" fmla="*/ 298 h 382"/>
                    <a:gd name="T12" fmla="*/ 0 w 806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6" h="382">
                      <a:moveTo>
                        <a:pt x="806" y="1"/>
                      </a:moveTo>
                      <a:lnTo>
                        <a:pt x="806" y="1"/>
                      </a:lnTo>
                      <a:lnTo>
                        <a:pt x="806" y="298"/>
                      </a:lnTo>
                      <a:cubicBezTo>
                        <a:pt x="806" y="344"/>
                        <a:pt x="768" y="382"/>
                        <a:pt x="722" y="382"/>
                      </a:cubicBezTo>
                      <a:lnTo>
                        <a:pt x="169" y="382"/>
                      </a:lnTo>
                      <a:cubicBezTo>
                        <a:pt x="123" y="382"/>
                        <a:pt x="98" y="344"/>
                        <a:pt x="85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35">
                  <a:extLst>
                    <a:ext uri="{FF2B5EF4-FFF2-40B4-BE49-F238E27FC236}">
                      <a16:creationId xmlns:a16="http://schemas.microsoft.com/office/drawing/2014/main" id="{39868E4B-2434-418D-A897-D8F3E0BDDB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2605" y="3242705"/>
                  <a:ext cx="318639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36">
                  <a:extLst>
                    <a:ext uri="{FF2B5EF4-FFF2-40B4-BE49-F238E27FC236}">
                      <a16:creationId xmlns:a16="http://schemas.microsoft.com/office/drawing/2014/main" id="{8D73C338-F64F-4F00-B554-F2981E2170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2600" y="3242705"/>
                  <a:ext cx="318639" cy="39830"/>
                </a:xfrm>
                <a:custGeom>
                  <a:avLst/>
                  <a:gdLst>
                    <a:gd name="T0" fmla="*/ 4 w 839"/>
                    <a:gd name="T1" fmla="*/ 103 h 103"/>
                    <a:gd name="T2" fmla="*/ 4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4" y="103"/>
                      </a:moveTo>
                      <a:lnTo>
                        <a:pt x="4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137">
                  <a:extLst>
                    <a:ext uri="{FF2B5EF4-FFF2-40B4-BE49-F238E27FC236}">
                      <a16:creationId xmlns:a16="http://schemas.microsoft.com/office/drawing/2014/main" id="{03F008EF-1E2D-458B-B44E-42AD7425C1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2596" y="3282535"/>
                  <a:ext cx="318639" cy="0"/>
                </a:xfrm>
                <a:custGeom>
                  <a:avLst/>
                  <a:gdLst>
                    <a:gd name="T0" fmla="*/ 0 w 841"/>
                    <a:gd name="T1" fmla="*/ 0 w 841"/>
                    <a:gd name="T2" fmla="*/ 841 w 84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1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38">
                  <a:extLst>
                    <a:ext uri="{FF2B5EF4-FFF2-40B4-BE49-F238E27FC236}">
                      <a16:creationId xmlns:a16="http://schemas.microsoft.com/office/drawing/2014/main" id="{5F7ABF5D-6CF8-41B8-AC9D-275D6101B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2875" y="3425924"/>
                  <a:ext cx="172597" cy="111523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5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5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39">
                  <a:extLst>
                    <a:ext uri="{FF2B5EF4-FFF2-40B4-BE49-F238E27FC236}">
                      <a16:creationId xmlns:a16="http://schemas.microsoft.com/office/drawing/2014/main" id="{04D65B00-920A-4D16-ACD2-46A4C2605E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2875" y="3425915"/>
                  <a:ext cx="172597" cy="111523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5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  <a:gd name="T12" fmla="*/ 451 w 451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5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0">
                  <a:extLst>
                    <a:ext uri="{FF2B5EF4-FFF2-40B4-BE49-F238E27FC236}">
                      <a16:creationId xmlns:a16="http://schemas.microsoft.com/office/drawing/2014/main" id="{1FE8B9A2-C892-4FEA-A0BD-46354A4261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39599" y="3125864"/>
                  <a:ext cx="172597" cy="130112"/>
                </a:xfrm>
                <a:custGeom>
                  <a:avLst/>
                  <a:gdLst>
                    <a:gd name="T0" fmla="*/ 344 w 451"/>
                    <a:gd name="T1" fmla="*/ 0 h 349"/>
                    <a:gd name="T2" fmla="*/ 344 w 451"/>
                    <a:gd name="T3" fmla="*/ 0 h 349"/>
                    <a:gd name="T4" fmla="*/ 296 w 451"/>
                    <a:gd name="T5" fmla="*/ 241 h 349"/>
                    <a:gd name="T6" fmla="*/ 54 w 451"/>
                    <a:gd name="T7" fmla="*/ 186 h 349"/>
                    <a:gd name="T8" fmla="*/ 0 w 451"/>
                    <a:gd name="T9" fmla="*/ 241 h 349"/>
                    <a:gd name="T10" fmla="*/ 54 w 451"/>
                    <a:gd name="T11" fmla="*/ 295 h 349"/>
                    <a:gd name="T12" fmla="*/ 338 w 451"/>
                    <a:gd name="T13" fmla="*/ 349 h 349"/>
                    <a:gd name="T14" fmla="*/ 377 w 451"/>
                    <a:gd name="T15" fmla="*/ 330 h 349"/>
                    <a:gd name="T16" fmla="*/ 395 w 451"/>
                    <a:gd name="T17" fmla="*/ 299 h 349"/>
                    <a:gd name="T18" fmla="*/ 451 w 451"/>
                    <a:gd name="T19" fmla="*/ 21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51" h="349">
                      <a:moveTo>
                        <a:pt x="344" y="0"/>
                      </a:moveTo>
                      <a:lnTo>
                        <a:pt x="344" y="0"/>
                      </a:lnTo>
                      <a:lnTo>
                        <a:pt x="296" y="241"/>
                      </a:lnTo>
                      <a:lnTo>
                        <a:pt x="54" y="186"/>
                      </a:lnTo>
                      <a:cubicBezTo>
                        <a:pt x="24" y="186"/>
                        <a:pt x="0" y="211"/>
                        <a:pt x="0" y="241"/>
                      </a:cubicBezTo>
                      <a:cubicBezTo>
                        <a:pt x="0" y="271"/>
                        <a:pt x="24" y="295"/>
                        <a:pt x="54" y="295"/>
                      </a:cubicBezTo>
                      <a:lnTo>
                        <a:pt x="338" y="349"/>
                      </a:lnTo>
                      <a:cubicBezTo>
                        <a:pt x="354" y="349"/>
                        <a:pt x="368" y="340"/>
                        <a:pt x="377" y="330"/>
                      </a:cubicBezTo>
                      <a:cubicBezTo>
                        <a:pt x="386" y="322"/>
                        <a:pt x="392" y="311"/>
                        <a:pt x="395" y="299"/>
                      </a:cubicBezTo>
                      <a:lnTo>
                        <a:pt x="451" y="21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1">
                  <a:extLst>
                    <a:ext uri="{FF2B5EF4-FFF2-40B4-BE49-F238E27FC236}">
                      <a16:creationId xmlns:a16="http://schemas.microsoft.com/office/drawing/2014/main" id="{17CD6419-F7D9-4D3D-B083-77ACA67727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39599" y="3125881"/>
                  <a:ext cx="172597" cy="130112"/>
                </a:xfrm>
                <a:custGeom>
                  <a:avLst/>
                  <a:gdLst>
                    <a:gd name="T0" fmla="*/ 344 w 451"/>
                    <a:gd name="T1" fmla="*/ 0 h 349"/>
                    <a:gd name="T2" fmla="*/ 344 w 451"/>
                    <a:gd name="T3" fmla="*/ 0 h 349"/>
                    <a:gd name="T4" fmla="*/ 296 w 451"/>
                    <a:gd name="T5" fmla="*/ 241 h 349"/>
                    <a:gd name="T6" fmla="*/ 54 w 451"/>
                    <a:gd name="T7" fmla="*/ 186 h 349"/>
                    <a:gd name="T8" fmla="*/ 0 w 451"/>
                    <a:gd name="T9" fmla="*/ 241 h 349"/>
                    <a:gd name="T10" fmla="*/ 54 w 451"/>
                    <a:gd name="T11" fmla="*/ 295 h 349"/>
                    <a:gd name="T12" fmla="*/ 338 w 451"/>
                    <a:gd name="T13" fmla="*/ 349 h 349"/>
                    <a:gd name="T14" fmla="*/ 377 w 451"/>
                    <a:gd name="T15" fmla="*/ 330 h 349"/>
                    <a:gd name="T16" fmla="*/ 395 w 451"/>
                    <a:gd name="T17" fmla="*/ 299 h 349"/>
                    <a:gd name="T18" fmla="*/ 451 w 451"/>
                    <a:gd name="T19" fmla="*/ 21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51" h="349">
                      <a:moveTo>
                        <a:pt x="344" y="0"/>
                      </a:moveTo>
                      <a:lnTo>
                        <a:pt x="344" y="0"/>
                      </a:lnTo>
                      <a:lnTo>
                        <a:pt x="296" y="241"/>
                      </a:lnTo>
                      <a:lnTo>
                        <a:pt x="54" y="186"/>
                      </a:lnTo>
                      <a:cubicBezTo>
                        <a:pt x="24" y="186"/>
                        <a:pt x="0" y="211"/>
                        <a:pt x="0" y="241"/>
                      </a:cubicBezTo>
                      <a:cubicBezTo>
                        <a:pt x="0" y="271"/>
                        <a:pt x="24" y="295"/>
                        <a:pt x="54" y="295"/>
                      </a:cubicBezTo>
                      <a:lnTo>
                        <a:pt x="338" y="349"/>
                      </a:lnTo>
                      <a:cubicBezTo>
                        <a:pt x="354" y="349"/>
                        <a:pt x="368" y="340"/>
                        <a:pt x="377" y="330"/>
                      </a:cubicBezTo>
                      <a:cubicBezTo>
                        <a:pt x="386" y="322"/>
                        <a:pt x="392" y="311"/>
                        <a:pt x="395" y="299"/>
                      </a:cubicBezTo>
                      <a:lnTo>
                        <a:pt x="451" y="21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42">
                  <a:extLst>
                    <a:ext uri="{FF2B5EF4-FFF2-40B4-BE49-F238E27FC236}">
                      <a16:creationId xmlns:a16="http://schemas.microsoft.com/office/drawing/2014/main" id="{151214AD-2832-4ED5-BF56-DE8C9F876A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9880" y="2966562"/>
                  <a:ext cx="108870" cy="77005"/>
                </a:xfrm>
                <a:custGeom>
                  <a:avLst/>
                  <a:gdLst>
                    <a:gd name="T0" fmla="*/ 0 w 284"/>
                    <a:gd name="T1" fmla="*/ 0 h 201"/>
                    <a:gd name="T2" fmla="*/ 0 w 284"/>
                    <a:gd name="T3" fmla="*/ 0 h 201"/>
                    <a:gd name="T4" fmla="*/ 284 w 284"/>
                    <a:gd name="T5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4" h="20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84" y="201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143">
                  <a:extLst>
                    <a:ext uri="{FF2B5EF4-FFF2-40B4-BE49-F238E27FC236}">
                      <a16:creationId xmlns:a16="http://schemas.microsoft.com/office/drawing/2014/main" id="{50893E61-77D1-4F55-B0F6-7AF671D0A3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7675" y="3001081"/>
                  <a:ext cx="39830" cy="39830"/>
                </a:xfrm>
                <a:custGeom>
                  <a:avLst/>
                  <a:gdLst>
                    <a:gd name="T0" fmla="*/ 104 w 104"/>
                    <a:gd name="T1" fmla="*/ 52 h 104"/>
                    <a:gd name="T2" fmla="*/ 104 w 104"/>
                    <a:gd name="T3" fmla="*/ 52 h 104"/>
                    <a:gd name="T4" fmla="*/ 52 w 104"/>
                    <a:gd name="T5" fmla="*/ 104 h 104"/>
                    <a:gd name="T6" fmla="*/ 0 w 104"/>
                    <a:gd name="T7" fmla="*/ 52 h 104"/>
                    <a:gd name="T8" fmla="*/ 52 w 104"/>
                    <a:gd name="T9" fmla="*/ 0 h 104"/>
                    <a:gd name="T10" fmla="*/ 104 w 104"/>
                    <a:gd name="T11" fmla="*/ 52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4" h="104">
                      <a:moveTo>
                        <a:pt x="104" y="52"/>
                      </a:moveTo>
                      <a:lnTo>
                        <a:pt x="104" y="52"/>
                      </a:lnTo>
                      <a:cubicBezTo>
                        <a:pt x="104" y="81"/>
                        <a:pt x="80" y="104"/>
                        <a:pt x="52" y="104"/>
                      </a:cubicBezTo>
                      <a:cubicBezTo>
                        <a:pt x="23" y="104"/>
                        <a:pt x="0" y="81"/>
                        <a:pt x="0" y="52"/>
                      </a:cubicBezTo>
                      <a:cubicBezTo>
                        <a:pt x="0" y="24"/>
                        <a:pt x="23" y="0"/>
                        <a:pt x="52" y="0"/>
                      </a:cubicBezTo>
                      <a:cubicBezTo>
                        <a:pt x="80" y="0"/>
                        <a:pt x="104" y="24"/>
                        <a:pt x="104" y="5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144">
                  <a:extLst>
                    <a:ext uri="{FF2B5EF4-FFF2-40B4-BE49-F238E27FC236}">
                      <a16:creationId xmlns:a16="http://schemas.microsoft.com/office/drawing/2014/main" id="{BD550D2C-848E-4556-9A28-86CE11ADE7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7675" y="3001081"/>
                  <a:ext cx="39830" cy="39830"/>
                </a:xfrm>
                <a:custGeom>
                  <a:avLst/>
                  <a:gdLst>
                    <a:gd name="T0" fmla="*/ 104 w 104"/>
                    <a:gd name="T1" fmla="*/ 52 h 104"/>
                    <a:gd name="T2" fmla="*/ 104 w 104"/>
                    <a:gd name="T3" fmla="*/ 52 h 104"/>
                    <a:gd name="T4" fmla="*/ 52 w 104"/>
                    <a:gd name="T5" fmla="*/ 104 h 104"/>
                    <a:gd name="T6" fmla="*/ 0 w 104"/>
                    <a:gd name="T7" fmla="*/ 52 h 104"/>
                    <a:gd name="T8" fmla="*/ 52 w 104"/>
                    <a:gd name="T9" fmla="*/ 0 h 104"/>
                    <a:gd name="T10" fmla="*/ 104 w 104"/>
                    <a:gd name="T11" fmla="*/ 52 h 104"/>
                    <a:gd name="T12" fmla="*/ 104 w 104"/>
                    <a:gd name="T13" fmla="*/ 52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104">
                      <a:moveTo>
                        <a:pt x="104" y="52"/>
                      </a:moveTo>
                      <a:lnTo>
                        <a:pt x="104" y="52"/>
                      </a:lnTo>
                      <a:cubicBezTo>
                        <a:pt x="104" y="81"/>
                        <a:pt x="80" y="104"/>
                        <a:pt x="52" y="104"/>
                      </a:cubicBezTo>
                      <a:cubicBezTo>
                        <a:pt x="23" y="104"/>
                        <a:pt x="0" y="81"/>
                        <a:pt x="0" y="52"/>
                      </a:cubicBezTo>
                      <a:cubicBezTo>
                        <a:pt x="0" y="24"/>
                        <a:pt x="23" y="0"/>
                        <a:pt x="52" y="0"/>
                      </a:cubicBezTo>
                      <a:cubicBezTo>
                        <a:pt x="80" y="0"/>
                        <a:pt x="104" y="24"/>
                        <a:pt x="104" y="52"/>
                      </a:cubicBezTo>
                      <a:lnTo>
                        <a:pt x="104" y="52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45">
                  <a:extLst>
                    <a:ext uri="{FF2B5EF4-FFF2-40B4-BE49-F238E27FC236}">
                      <a16:creationId xmlns:a16="http://schemas.microsoft.com/office/drawing/2014/main" id="{D20B773A-D74F-4DD8-9031-0AAAD6EFB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90952" y="2961251"/>
                  <a:ext cx="45142" cy="63728"/>
                </a:xfrm>
                <a:custGeom>
                  <a:avLst/>
                  <a:gdLst>
                    <a:gd name="T0" fmla="*/ 16 w 116"/>
                    <a:gd name="T1" fmla="*/ 166 h 170"/>
                    <a:gd name="T2" fmla="*/ 16 w 116"/>
                    <a:gd name="T3" fmla="*/ 166 h 170"/>
                    <a:gd name="T4" fmla="*/ 8 w 116"/>
                    <a:gd name="T5" fmla="*/ 162 h 170"/>
                    <a:gd name="T6" fmla="*/ 4 w 116"/>
                    <a:gd name="T7" fmla="*/ 145 h 170"/>
                    <a:gd name="T8" fmla="*/ 83 w 116"/>
                    <a:gd name="T9" fmla="*/ 7 h 170"/>
                    <a:gd name="T10" fmla="*/ 100 w 116"/>
                    <a:gd name="T11" fmla="*/ 3 h 170"/>
                    <a:gd name="T12" fmla="*/ 108 w 116"/>
                    <a:gd name="T13" fmla="*/ 8 h 170"/>
                    <a:gd name="T14" fmla="*/ 112 w 116"/>
                    <a:gd name="T15" fmla="*/ 24 h 170"/>
                    <a:gd name="T16" fmla="*/ 33 w 116"/>
                    <a:gd name="T17" fmla="*/ 162 h 170"/>
                    <a:gd name="T18" fmla="*/ 16 w 116"/>
                    <a:gd name="T19" fmla="*/ 166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6" h="170">
                      <a:moveTo>
                        <a:pt x="16" y="166"/>
                      </a:moveTo>
                      <a:lnTo>
                        <a:pt x="16" y="166"/>
                      </a:lnTo>
                      <a:lnTo>
                        <a:pt x="8" y="162"/>
                      </a:lnTo>
                      <a:cubicBezTo>
                        <a:pt x="2" y="159"/>
                        <a:pt x="0" y="151"/>
                        <a:pt x="4" y="145"/>
                      </a:cubicBezTo>
                      <a:lnTo>
                        <a:pt x="83" y="7"/>
                      </a:lnTo>
                      <a:cubicBezTo>
                        <a:pt x="87" y="2"/>
                        <a:pt x="94" y="0"/>
                        <a:pt x="100" y="3"/>
                      </a:cubicBezTo>
                      <a:lnTo>
                        <a:pt x="108" y="8"/>
                      </a:lnTo>
                      <a:cubicBezTo>
                        <a:pt x="114" y="11"/>
                        <a:pt x="116" y="18"/>
                        <a:pt x="112" y="24"/>
                      </a:cubicBezTo>
                      <a:lnTo>
                        <a:pt x="33" y="162"/>
                      </a:lnTo>
                      <a:cubicBezTo>
                        <a:pt x="29" y="168"/>
                        <a:pt x="22" y="170"/>
                        <a:pt x="16" y="1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146">
                  <a:extLst>
                    <a:ext uri="{FF2B5EF4-FFF2-40B4-BE49-F238E27FC236}">
                      <a16:creationId xmlns:a16="http://schemas.microsoft.com/office/drawing/2014/main" id="{862BDD44-EC85-4F66-AF71-E142C9BD6E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90952" y="2961251"/>
                  <a:ext cx="45142" cy="63728"/>
                </a:xfrm>
                <a:custGeom>
                  <a:avLst/>
                  <a:gdLst>
                    <a:gd name="T0" fmla="*/ 16 w 116"/>
                    <a:gd name="T1" fmla="*/ 166 h 170"/>
                    <a:gd name="T2" fmla="*/ 16 w 116"/>
                    <a:gd name="T3" fmla="*/ 166 h 170"/>
                    <a:gd name="T4" fmla="*/ 8 w 116"/>
                    <a:gd name="T5" fmla="*/ 162 h 170"/>
                    <a:gd name="T6" fmla="*/ 4 w 116"/>
                    <a:gd name="T7" fmla="*/ 145 h 170"/>
                    <a:gd name="T8" fmla="*/ 83 w 116"/>
                    <a:gd name="T9" fmla="*/ 7 h 170"/>
                    <a:gd name="T10" fmla="*/ 100 w 116"/>
                    <a:gd name="T11" fmla="*/ 3 h 170"/>
                    <a:gd name="T12" fmla="*/ 108 w 116"/>
                    <a:gd name="T13" fmla="*/ 8 h 170"/>
                    <a:gd name="T14" fmla="*/ 112 w 116"/>
                    <a:gd name="T15" fmla="*/ 24 h 170"/>
                    <a:gd name="T16" fmla="*/ 33 w 116"/>
                    <a:gd name="T17" fmla="*/ 162 h 170"/>
                    <a:gd name="T18" fmla="*/ 16 w 116"/>
                    <a:gd name="T19" fmla="*/ 166 h 170"/>
                    <a:gd name="T20" fmla="*/ 16 w 116"/>
                    <a:gd name="T21" fmla="*/ 166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6" h="170">
                      <a:moveTo>
                        <a:pt x="16" y="166"/>
                      </a:moveTo>
                      <a:lnTo>
                        <a:pt x="16" y="166"/>
                      </a:lnTo>
                      <a:lnTo>
                        <a:pt x="8" y="162"/>
                      </a:lnTo>
                      <a:cubicBezTo>
                        <a:pt x="2" y="159"/>
                        <a:pt x="0" y="151"/>
                        <a:pt x="4" y="145"/>
                      </a:cubicBezTo>
                      <a:lnTo>
                        <a:pt x="83" y="7"/>
                      </a:lnTo>
                      <a:cubicBezTo>
                        <a:pt x="87" y="2"/>
                        <a:pt x="94" y="0"/>
                        <a:pt x="100" y="3"/>
                      </a:cubicBezTo>
                      <a:lnTo>
                        <a:pt x="108" y="8"/>
                      </a:lnTo>
                      <a:cubicBezTo>
                        <a:pt x="114" y="11"/>
                        <a:pt x="116" y="18"/>
                        <a:pt x="112" y="24"/>
                      </a:cubicBezTo>
                      <a:lnTo>
                        <a:pt x="33" y="162"/>
                      </a:lnTo>
                      <a:cubicBezTo>
                        <a:pt x="29" y="168"/>
                        <a:pt x="22" y="170"/>
                        <a:pt x="16" y="166"/>
                      </a:cubicBezTo>
                      <a:lnTo>
                        <a:pt x="16" y="16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259">
                  <a:extLst>
                    <a:ext uri="{FF2B5EF4-FFF2-40B4-BE49-F238E27FC236}">
                      <a16:creationId xmlns:a16="http://schemas.microsoft.com/office/drawing/2014/main" id="{1D650948-8883-48A4-A246-C16885BFB8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5460" y="2979835"/>
                  <a:ext cx="122146" cy="122144"/>
                </a:xfrm>
                <a:custGeom>
                  <a:avLst/>
                  <a:gdLst>
                    <a:gd name="T0" fmla="*/ 57 w 320"/>
                    <a:gd name="T1" fmla="*/ 263 h 320"/>
                    <a:gd name="T2" fmla="*/ 57 w 320"/>
                    <a:gd name="T3" fmla="*/ 263 h 320"/>
                    <a:gd name="T4" fmla="*/ 263 w 320"/>
                    <a:gd name="T5" fmla="*/ 263 h 320"/>
                    <a:gd name="T6" fmla="*/ 263 w 320"/>
                    <a:gd name="T7" fmla="*/ 57 h 320"/>
                    <a:gd name="T8" fmla="*/ 57 w 320"/>
                    <a:gd name="T9" fmla="*/ 57 h 320"/>
                    <a:gd name="T10" fmla="*/ 57 w 320"/>
                    <a:gd name="T11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0" h="320">
                      <a:moveTo>
                        <a:pt x="57" y="263"/>
                      </a:moveTo>
                      <a:lnTo>
                        <a:pt x="57" y="263"/>
                      </a:lnTo>
                      <a:cubicBezTo>
                        <a:pt x="114" y="320"/>
                        <a:pt x="206" y="320"/>
                        <a:pt x="263" y="263"/>
                      </a:cubicBezTo>
                      <a:cubicBezTo>
                        <a:pt x="320" y="206"/>
                        <a:pt x="320" y="114"/>
                        <a:pt x="263" y="57"/>
                      </a:cubicBezTo>
                      <a:cubicBezTo>
                        <a:pt x="206" y="0"/>
                        <a:pt x="114" y="0"/>
                        <a:pt x="57" y="57"/>
                      </a:cubicBezTo>
                      <a:cubicBezTo>
                        <a:pt x="0" y="114"/>
                        <a:pt x="0" y="206"/>
                        <a:pt x="57" y="2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260">
                  <a:extLst>
                    <a:ext uri="{FF2B5EF4-FFF2-40B4-BE49-F238E27FC236}">
                      <a16:creationId xmlns:a16="http://schemas.microsoft.com/office/drawing/2014/main" id="{A1D7C5DE-F37A-4E75-BC7E-3758036375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5477" y="2979809"/>
                  <a:ext cx="122146" cy="122144"/>
                </a:xfrm>
                <a:custGeom>
                  <a:avLst/>
                  <a:gdLst>
                    <a:gd name="T0" fmla="*/ 57 w 320"/>
                    <a:gd name="T1" fmla="*/ 263 h 320"/>
                    <a:gd name="T2" fmla="*/ 57 w 320"/>
                    <a:gd name="T3" fmla="*/ 263 h 320"/>
                    <a:gd name="T4" fmla="*/ 263 w 320"/>
                    <a:gd name="T5" fmla="*/ 263 h 320"/>
                    <a:gd name="T6" fmla="*/ 263 w 320"/>
                    <a:gd name="T7" fmla="*/ 57 h 320"/>
                    <a:gd name="T8" fmla="*/ 57 w 320"/>
                    <a:gd name="T9" fmla="*/ 57 h 320"/>
                    <a:gd name="T10" fmla="*/ 57 w 320"/>
                    <a:gd name="T11" fmla="*/ 263 h 320"/>
                    <a:gd name="T12" fmla="*/ 57 w 320"/>
                    <a:gd name="T13" fmla="*/ 263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0" h="320">
                      <a:moveTo>
                        <a:pt x="57" y="263"/>
                      </a:moveTo>
                      <a:lnTo>
                        <a:pt x="57" y="263"/>
                      </a:lnTo>
                      <a:cubicBezTo>
                        <a:pt x="114" y="320"/>
                        <a:pt x="206" y="320"/>
                        <a:pt x="263" y="263"/>
                      </a:cubicBezTo>
                      <a:cubicBezTo>
                        <a:pt x="320" y="206"/>
                        <a:pt x="320" y="114"/>
                        <a:pt x="263" y="57"/>
                      </a:cubicBezTo>
                      <a:cubicBezTo>
                        <a:pt x="206" y="0"/>
                        <a:pt x="114" y="0"/>
                        <a:pt x="57" y="57"/>
                      </a:cubicBezTo>
                      <a:cubicBezTo>
                        <a:pt x="0" y="114"/>
                        <a:pt x="0" y="206"/>
                        <a:pt x="57" y="263"/>
                      </a:cubicBezTo>
                      <a:lnTo>
                        <a:pt x="57" y="26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261">
                  <a:extLst>
                    <a:ext uri="{FF2B5EF4-FFF2-40B4-BE49-F238E27FC236}">
                      <a16:creationId xmlns:a16="http://schemas.microsoft.com/office/drawing/2014/main" id="{58DB6B12-2E71-47CE-90E9-9E9EE7609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52003" y="3006384"/>
                  <a:ext cx="69039" cy="69039"/>
                </a:xfrm>
                <a:custGeom>
                  <a:avLst/>
                  <a:gdLst>
                    <a:gd name="T0" fmla="*/ 34 w 187"/>
                    <a:gd name="T1" fmla="*/ 153 h 186"/>
                    <a:gd name="T2" fmla="*/ 34 w 187"/>
                    <a:gd name="T3" fmla="*/ 153 h 186"/>
                    <a:gd name="T4" fmla="*/ 154 w 187"/>
                    <a:gd name="T5" fmla="*/ 153 h 186"/>
                    <a:gd name="T6" fmla="*/ 154 w 187"/>
                    <a:gd name="T7" fmla="*/ 33 h 186"/>
                    <a:gd name="T8" fmla="*/ 34 w 187"/>
                    <a:gd name="T9" fmla="*/ 33 h 186"/>
                    <a:gd name="T10" fmla="*/ 34 w 187"/>
                    <a:gd name="T11" fmla="*/ 153 h 186"/>
                    <a:gd name="T12" fmla="*/ 34 w 187"/>
                    <a:gd name="T13" fmla="*/ 153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86">
                      <a:moveTo>
                        <a:pt x="34" y="153"/>
                      </a:moveTo>
                      <a:lnTo>
                        <a:pt x="34" y="153"/>
                      </a:lnTo>
                      <a:cubicBezTo>
                        <a:pt x="67" y="186"/>
                        <a:pt x="121" y="186"/>
                        <a:pt x="154" y="153"/>
                      </a:cubicBezTo>
                      <a:cubicBezTo>
                        <a:pt x="187" y="120"/>
                        <a:pt x="187" y="66"/>
                        <a:pt x="154" y="33"/>
                      </a:cubicBezTo>
                      <a:cubicBezTo>
                        <a:pt x="121" y="0"/>
                        <a:pt x="67" y="0"/>
                        <a:pt x="34" y="33"/>
                      </a:cubicBezTo>
                      <a:cubicBezTo>
                        <a:pt x="0" y="66"/>
                        <a:pt x="0" y="120"/>
                        <a:pt x="34" y="153"/>
                      </a:cubicBezTo>
                      <a:lnTo>
                        <a:pt x="34" y="15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262">
                  <a:extLst>
                    <a:ext uri="{FF2B5EF4-FFF2-40B4-BE49-F238E27FC236}">
                      <a16:creationId xmlns:a16="http://schemas.microsoft.com/office/drawing/2014/main" id="{FA41DB44-04BE-4095-9FF5-03648DF47D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5881" y="3030269"/>
                  <a:ext cx="21242" cy="21242"/>
                </a:xfrm>
                <a:custGeom>
                  <a:avLst/>
                  <a:gdLst>
                    <a:gd name="T0" fmla="*/ 11 w 59"/>
                    <a:gd name="T1" fmla="*/ 48 h 58"/>
                    <a:gd name="T2" fmla="*/ 11 w 59"/>
                    <a:gd name="T3" fmla="*/ 48 h 58"/>
                    <a:gd name="T4" fmla="*/ 49 w 59"/>
                    <a:gd name="T5" fmla="*/ 48 h 58"/>
                    <a:gd name="T6" fmla="*/ 49 w 59"/>
                    <a:gd name="T7" fmla="*/ 10 h 58"/>
                    <a:gd name="T8" fmla="*/ 11 w 59"/>
                    <a:gd name="T9" fmla="*/ 10 h 58"/>
                    <a:gd name="T10" fmla="*/ 11 w 59"/>
                    <a:gd name="T11" fmla="*/ 48 h 58"/>
                    <a:gd name="T12" fmla="*/ 11 w 59"/>
                    <a:gd name="T13" fmla="*/ 4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58">
                      <a:moveTo>
                        <a:pt x="11" y="48"/>
                      </a:moveTo>
                      <a:lnTo>
                        <a:pt x="11" y="48"/>
                      </a:lnTo>
                      <a:cubicBezTo>
                        <a:pt x="21" y="58"/>
                        <a:pt x="38" y="58"/>
                        <a:pt x="49" y="48"/>
                      </a:cubicBezTo>
                      <a:cubicBezTo>
                        <a:pt x="59" y="37"/>
                        <a:pt x="59" y="20"/>
                        <a:pt x="49" y="10"/>
                      </a:cubicBezTo>
                      <a:cubicBezTo>
                        <a:pt x="38" y="0"/>
                        <a:pt x="21" y="0"/>
                        <a:pt x="11" y="10"/>
                      </a:cubicBezTo>
                      <a:cubicBezTo>
                        <a:pt x="0" y="20"/>
                        <a:pt x="0" y="37"/>
                        <a:pt x="11" y="48"/>
                      </a:cubicBezTo>
                      <a:lnTo>
                        <a:pt x="11" y="48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C9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5" name="Gruppieren 106">
                <a:extLst>
                  <a:ext uri="{FF2B5EF4-FFF2-40B4-BE49-F238E27FC236}">
                    <a16:creationId xmlns:a16="http://schemas.microsoft.com/office/drawing/2014/main" id="{ABDB47FF-330C-48C1-A3C7-8AD6F94B14ED}"/>
                  </a:ext>
                </a:extLst>
              </p:cNvPr>
              <p:cNvGrpSpPr/>
              <p:nvPr/>
            </p:nvGrpSpPr>
            <p:grpSpPr>
              <a:xfrm>
                <a:off x="7553325" y="2879695"/>
                <a:ext cx="491237" cy="647910"/>
                <a:chOff x="7579956" y="2879695"/>
                <a:chExt cx="491237" cy="647910"/>
              </a:xfrm>
            </p:grpSpPr>
            <p:sp>
              <p:nvSpPr>
                <p:cNvPr id="146" name="Freeform 91">
                  <a:extLst>
                    <a:ext uri="{FF2B5EF4-FFF2-40B4-BE49-F238E27FC236}">
                      <a16:creationId xmlns:a16="http://schemas.microsoft.com/office/drawing/2014/main" id="{50B15233-9BBE-42E8-94C3-930E27E806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8767" y="2879695"/>
                  <a:ext cx="135423" cy="140732"/>
                </a:xfrm>
                <a:custGeom>
                  <a:avLst/>
                  <a:gdLst>
                    <a:gd name="T0" fmla="*/ 353 w 353"/>
                    <a:gd name="T1" fmla="*/ 181 h 374"/>
                    <a:gd name="T2" fmla="*/ 353 w 353"/>
                    <a:gd name="T3" fmla="*/ 181 h 374"/>
                    <a:gd name="T4" fmla="*/ 342 w 353"/>
                    <a:gd name="T5" fmla="*/ 130 h 374"/>
                    <a:gd name="T6" fmla="*/ 130 w 353"/>
                    <a:gd name="T7" fmla="*/ 32 h 374"/>
                    <a:gd name="T8" fmla="*/ 32 w 353"/>
                    <a:gd name="T9" fmla="*/ 244 h 374"/>
                    <a:gd name="T10" fmla="*/ 244 w 353"/>
                    <a:gd name="T11" fmla="*/ 342 h 374"/>
                    <a:gd name="T12" fmla="*/ 283 w 353"/>
                    <a:gd name="T13" fmla="*/ 322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3" h="374">
                      <a:moveTo>
                        <a:pt x="353" y="181"/>
                      </a:moveTo>
                      <a:lnTo>
                        <a:pt x="353" y="181"/>
                      </a:lnTo>
                      <a:cubicBezTo>
                        <a:pt x="352" y="164"/>
                        <a:pt x="349" y="147"/>
                        <a:pt x="342" y="130"/>
                      </a:cubicBezTo>
                      <a:cubicBezTo>
                        <a:pt x="311" y="44"/>
                        <a:pt x="216" y="0"/>
                        <a:pt x="130" y="32"/>
                      </a:cubicBezTo>
                      <a:cubicBezTo>
                        <a:pt x="44" y="63"/>
                        <a:pt x="0" y="158"/>
                        <a:pt x="32" y="244"/>
                      </a:cubicBezTo>
                      <a:cubicBezTo>
                        <a:pt x="63" y="330"/>
                        <a:pt x="158" y="374"/>
                        <a:pt x="244" y="342"/>
                      </a:cubicBezTo>
                      <a:cubicBezTo>
                        <a:pt x="258" y="337"/>
                        <a:pt x="271" y="330"/>
                        <a:pt x="283" y="322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92">
                  <a:extLst>
                    <a:ext uri="{FF2B5EF4-FFF2-40B4-BE49-F238E27FC236}">
                      <a16:creationId xmlns:a16="http://schemas.microsoft.com/office/drawing/2014/main" id="{B67A6918-0C24-4F60-BDB7-45CB554864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8767" y="2879695"/>
                  <a:ext cx="135423" cy="140732"/>
                </a:xfrm>
                <a:custGeom>
                  <a:avLst/>
                  <a:gdLst>
                    <a:gd name="T0" fmla="*/ 353 w 353"/>
                    <a:gd name="T1" fmla="*/ 181 h 374"/>
                    <a:gd name="T2" fmla="*/ 353 w 353"/>
                    <a:gd name="T3" fmla="*/ 181 h 374"/>
                    <a:gd name="T4" fmla="*/ 342 w 353"/>
                    <a:gd name="T5" fmla="*/ 130 h 374"/>
                    <a:gd name="T6" fmla="*/ 130 w 353"/>
                    <a:gd name="T7" fmla="*/ 32 h 374"/>
                    <a:gd name="T8" fmla="*/ 32 w 353"/>
                    <a:gd name="T9" fmla="*/ 244 h 374"/>
                    <a:gd name="T10" fmla="*/ 244 w 353"/>
                    <a:gd name="T11" fmla="*/ 342 h 374"/>
                    <a:gd name="T12" fmla="*/ 283 w 353"/>
                    <a:gd name="T13" fmla="*/ 322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3" h="374">
                      <a:moveTo>
                        <a:pt x="353" y="181"/>
                      </a:moveTo>
                      <a:lnTo>
                        <a:pt x="353" y="181"/>
                      </a:lnTo>
                      <a:cubicBezTo>
                        <a:pt x="352" y="164"/>
                        <a:pt x="349" y="147"/>
                        <a:pt x="342" y="130"/>
                      </a:cubicBezTo>
                      <a:cubicBezTo>
                        <a:pt x="311" y="44"/>
                        <a:pt x="216" y="0"/>
                        <a:pt x="130" y="32"/>
                      </a:cubicBezTo>
                      <a:cubicBezTo>
                        <a:pt x="44" y="63"/>
                        <a:pt x="0" y="158"/>
                        <a:pt x="32" y="244"/>
                      </a:cubicBezTo>
                      <a:cubicBezTo>
                        <a:pt x="63" y="330"/>
                        <a:pt x="158" y="374"/>
                        <a:pt x="244" y="342"/>
                      </a:cubicBezTo>
                      <a:cubicBezTo>
                        <a:pt x="258" y="337"/>
                        <a:pt x="271" y="330"/>
                        <a:pt x="283" y="322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93">
                  <a:extLst>
                    <a:ext uri="{FF2B5EF4-FFF2-40B4-BE49-F238E27FC236}">
                      <a16:creationId xmlns:a16="http://schemas.microsoft.com/office/drawing/2014/main" id="{6136E737-B5A2-45A7-B99B-D837A5F58A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34868" y="3020427"/>
                  <a:ext cx="130112" cy="347848"/>
                </a:xfrm>
                <a:custGeom>
                  <a:avLst/>
                  <a:gdLst>
                    <a:gd name="T0" fmla="*/ 344 w 344"/>
                    <a:gd name="T1" fmla="*/ 24 h 915"/>
                    <a:gd name="T2" fmla="*/ 344 w 344"/>
                    <a:gd name="T3" fmla="*/ 24 h 915"/>
                    <a:gd name="T4" fmla="*/ 256 w 344"/>
                    <a:gd name="T5" fmla="*/ 0 h 915"/>
                    <a:gd name="T6" fmla="*/ 256 w 344"/>
                    <a:gd name="T7" fmla="*/ 0 h 915"/>
                    <a:gd name="T8" fmla="*/ 77 w 344"/>
                    <a:gd name="T9" fmla="*/ 178 h 915"/>
                    <a:gd name="T10" fmla="*/ 0 w 344"/>
                    <a:gd name="T11" fmla="*/ 915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4" h="915">
                      <a:moveTo>
                        <a:pt x="344" y="24"/>
                      </a:moveTo>
                      <a:lnTo>
                        <a:pt x="344" y="24"/>
                      </a:lnTo>
                      <a:cubicBezTo>
                        <a:pt x="318" y="9"/>
                        <a:pt x="288" y="0"/>
                        <a:pt x="256" y="0"/>
                      </a:cubicBezTo>
                      <a:lnTo>
                        <a:pt x="256" y="0"/>
                      </a:lnTo>
                      <a:cubicBezTo>
                        <a:pt x="158" y="0"/>
                        <a:pt x="77" y="80"/>
                        <a:pt x="77" y="178"/>
                      </a:cubicBezTo>
                      <a:lnTo>
                        <a:pt x="0" y="915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94">
                  <a:extLst>
                    <a:ext uri="{FF2B5EF4-FFF2-40B4-BE49-F238E27FC236}">
                      <a16:creationId xmlns:a16="http://schemas.microsoft.com/office/drawing/2014/main" id="{B3C2A711-6E13-4B48-8E2F-D3A39C547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34868" y="3020427"/>
                  <a:ext cx="130112" cy="347848"/>
                </a:xfrm>
                <a:custGeom>
                  <a:avLst/>
                  <a:gdLst>
                    <a:gd name="T0" fmla="*/ 344 w 344"/>
                    <a:gd name="T1" fmla="*/ 24 h 915"/>
                    <a:gd name="T2" fmla="*/ 344 w 344"/>
                    <a:gd name="T3" fmla="*/ 24 h 915"/>
                    <a:gd name="T4" fmla="*/ 256 w 344"/>
                    <a:gd name="T5" fmla="*/ 0 h 915"/>
                    <a:gd name="T6" fmla="*/ 256 w 344"/>
                    <a:gd name="T7" fmla="*/ 0 h 915"/>
                    <a:gd name="T8" fmla="*/ 77 w 344"/>
                    <a:gd name="T9" fmla="*/ 178 h 915"/>
                    <a:gd name="T10" fmla="*/ 0 w 344"/>
                    <a:gd name="T11" fmla="*/ 915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4" h="915">
                      <a:moveTo>
                        <a:pt x="344" y="24"/>
                      </a:moveTo>
                      <a:lnTo>
                        <a:pt x="344" y="24"/>
                      </a:lnTo>
                      <a:cubicBezTo>
                        <a:pt x="318" y="9"/>
                        <a:pt x="288" y="0"/>
                        <a:pt x="256" y="0"/>
                      </a:cubicBezTo>
                      <a:lnTo>
                        <a:pt x="256" y="0"/>
                      </a:lnTo>
                      <a:cubicBezTo>
                        <a:pt x="158" y="0"/>
                        <a:pt x="77" y="80"/>
                        <a:pt x="77" y="178"/>
                      </a:cubicBezTo>
                      <a:lnTo>
                        <a:pt x="0" y="915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95">
                  <a:extLst>
                    <a:ext uri="{FF2B5EF4-FFF2-40B4-BE49-F238E27FC236}">
                      <a16:creationId xmlns:a16="http://schemas.microsoft.com/office/drawing/2014/main" id="{B6DB559B-1F3C-49C6-8966-7D88F983D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30458" y="3054946"/>
                  <a:ext cx="69039" cy="379713"/>
                </a:xfrm>
                <a:custGeom>
                  <a:avLst/>
                  <a:gdLst>
                    <a:gd name="T0" fmla="*/ 0 w 178"/>
                    <a:gd name="T1" fmla="*/ 1004 h 1004"/>
                    <a:gd name="T2" fmla="*/ 0 w 178"/>
                    <a:gd name="T3" fmla="*/ 1004 h 1004"/>
                    <a:gd name="T4" fmla="*/ 178 w 178"/>
                    <a:gd name="T5" fmla="*/ 826 h 1004"/>
                    <a:gd name="T6" fmla="*/ 178 w 178"/>
                    <a:gd name="T7" fmla="*/ 89 h 1004"/>
                    <a:gd name="T8" fmla="*/ 154 w 178"/>
                    <a:gd name="T9" fmla="*/ 0 h 1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8" h="1004">
                      <a:moveTo>
                        <a:pt x="0" y="1004"/>
                      </a:moveTo>
                      <a:lnTo>
                        <a:pt x="0" y="1004"/>
                      </a:lnTo>
                      <a:cubicBezTo>
                        <a:pt x="98" y="1004"/>
                        <a:pt x="178" y="924"/>
                        <a:pt x="178" y="826"/>
                      </a:cubicBezTo>
                      <a:lnTo>
                        <a:pt x="178" y="89"/>
                      </a:lnTo>
                      <a:cubicBezTo>
                        <a:pt x="178" y="57"/>
                        <a:pt x="169" y="27"/>
                        <a:pt x="15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96">
                  <a:extLst>
                    <a:ext uri="{FF2B5EF4-FFF2-40B4-BE49-F238E27FC236}">
                      <a16:creationId xmlns:a16="http://schemas.microsoft.com/office/drawing/2014/main" id="{908583AB-531F-4BA8-BF02-46902351D9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30458" y="3054946"/>
                  <a:ext cx="69039" cy="379713"/>
                </a:xfrm>
                <a:custGeom>
                  <a:avLst/>
                  <a:gdLst>
                    <a:gd name="T0" fmla="*/ 0 w 178"/>
                    <a:gd name="T1" fmla="*/ 1004 h 1004"/>
                    <a:gd name="T2" fmla="*/ 0 w 178"/>
                    <a:gd name="T3" fmla="*/ 1004 h 1004"/>
                    <a:gd name="T4" fmla="*/ 178 w 178"/>
                    <a:gd name="T5" fmla="*/ 826 h 1004"/>
                    <a:gd name="T6" fmla="*/ 178 w 178"/>
                    <a:gd name="T7" fmla="*/ 89 h 1004"/>
                    <a:gd name="T8" fmla="*/ 154 w 178"/>
                    <a:gd name="T9" fmla="*/ 0 h 1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8" h="1004">
                      <a:moveTo>
                        <a:pt x="0" y="1004"/>
                      </a:moveTo>
                      <a:lnTo>
                        <a:pt x="0" y="1004"/>
                      </a:lnTo>
                      <a:cubicBezTo>
                        <a:pt x="98" y="1004"/>
                        <a:pt x="178" y="924"/>
                        <a:pt x="178" y="826"/>
                      </a:cubicBezTo>
                      <a:lnTo>
                        <a:pt x="178" y="89"/>
                      </a:lnTo>
                      <a:cubicBezTo>
                        <a:pt x="178" y="57"/>
                        <a:pt x="169" y="27"/>
                        <a:pt x="154" y="0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97">
                  <a:extLst>
                    <a:ext uri="{FF2B5EF4-FFF2-40B4-BE49-F238E27FC236}">
                      <a16:creationId xmlns:a16="http://schemas.microsoft.com/office/drawing/2014/main" id="{6E7CAC54-8A71-48AF-948C-866DA7FFC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5547" y="3304548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5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5" y="0"/>
                        <a:pt x="83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98">
                  <a:extLst>
                    <a:ext uri="{FF2B5EF4-FFF2-40B4-BE49-F238E27FC236}">
                      <a16:creationId xmlns:a16="http://schemas.microsoft.com/office/drawing/2014/main" id="{53A55661-BEA7-4558-AF8B-C53B050758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5547" y="3304548"/>
                  <a:ext cx="334572" cy="71695"/>
                </a:xfrm>
                <a:custGeom>
                  <a:avLst/>
                  <a:gdLst>
                    <a:gd name="T0" fmla="*/ 837 w 887"/>
                    <a:gd name="T1" fmla="*/ 0 h 190"/>
                    <a:gd name="T2" fmla="*/ 837 w 887"/>
                    <a:gd name="T3" fmla="*/ 0 h 190"/>
                    <a:gd name="T4" fmla="*/ 50 w 887"/>
                    <a:gd name="T5" fmla="*/ 0 h 190"/>
                    <a:gd name="T6" fmla="*/ 0 w 887"/>
                    <a:gd name="T7" fmla="*/ 50 h 190"/>
                    <a:gd name="T8" fmla="*/ 0 w 887"/>
                    <a:gd name="T9" fmla="*/ 141 h 190"/>
                    <a:gd name="T10" fmla="*/ 50 w 887"/>
                    <a:gd name="T11" fmla="*/ 190 h 190"/>
                    <a:gd name="T12" fmla="*/ 837 w 887"/>
                    <a:gd name="T13" fmla="*/ 190 h 190"/>
                    <a:gd name="T14" fmla="*/ 887 w 887"/>
                    <a:gd name="T15" fmla="*/ 141 h 190"/>
                    <a:gd name="T16" fmla="*/ 887 w 887"/>
                    <a:gd name="T17" fmla="*/ 50 h 190"/>
                    <a:gd name="T18" fmla="*/ 837 w 887"/>
                    <a:gd name="T19" fmla="*/ 0 h 190"/>
                    <a:gd name="T20" fmla="*/ 837 w 887"/>
                    <a:gd name="T21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7" h="190">
                      <a:moveTo>
                        <a:pt x="837" y="0"/>
                      </a:moveTo>
                      <a:lnTo>
                        <a:pt x="837" y="0"/>
                      </a:lnTo>
                      <a:lnTo>
                        <a:pt x="50" y="0"/>
                      </a:lnTo>
                      <a:cubicBezTo>
                        <a:pt x="23" y="0"/>
                        <a:pt x="0" y="22"/>
                        <a:pt x="0" y="50"/>
                      </a:cubicBezTo>
                      <a:lnTo>
                        <a:pt x="0" y="141"/>
                      </a:lnTo>
                      <a:cubicBezTo>
                        <a:pt x="0" y="168"/>
                        <a:pt x="23" y="190"/>
                        <a:pt x="50" y="190"/>
                      </a:cubicBezTo>
                      <a:lnTo>
                        <a:pt x="837" y="190"/>
                      </a:lnTo>
                      <a:cubicBezTo>
                        <a:pt x="865" y="190"/>
                        <a:pt x="887" y="168"/>
                        <a:pt x="887" y="141"/>
                      </a:cubicBezTo>
                      <a:lnTo>
                        <a:pt x="887" y="50"/>
                      </a:lnTo>
                      <a:cubicBezTo>
                        <a:pt x="887" y="22"/>
                        <a:pt x="865" y="0"/>
                        <a:pt x="837" y="0"/>
                      </a:cubicBezTo>
                      <a:lnTo>
                        <a:pt x="837" y="0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99">
                  <a:extLst>
                    <a:ext uri="{FF2B5EF4-FFF2-40B4-BE49-F238E27FC236}">
                      <a16:creationId xmlns:a16="http://schemas.microsoft.com/office/drawing/2014/main" id="{09500C4F-69E5-41BA-852B-A491F45ABE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5547" y="3373585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100">
                  <a:extLst>
                    <a:ext uri="{FF2B5EF4-FFF2-40B4-BE49-F238E27FC236}">
                      <a16:creationId xmlns:a16="http://schemas.microsoft.com/office/drawing/2014/main" id="{5663F649-05D5-4595-A4F8-77C04F6111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5547" y="3373585"/>
                  <a:ext cx="345193" cy="39830"/>
                </a:xfrm>
                <a:custGeom>
                  <a:avLst/>
                  <a:gdLst>
                    <a:gd name="T0" fmla="*/ 4 w 909"/>
                    <a:gd name="T1" fmla="*/ 0 h 103"/>
                    <a:gd name="T2" fmla="*/ 4 w 909"/>
                    <a:gd name="T3" fmla="*/ 0 h 103"/>
                    <a:gd name="T4" fmla="*/ 0 w 909"/>
                    <a:gd name="T5" fmla="*/ 16 h 103"/>
                    <a:gd name="T6" fmla="*/ 87 w 909"/>
                    <a:gd name="T7" fmla="*/ 103 h 103"/>
                    <a:gd name="T8" fmla="*/ 822 w 909"/>
                    <a:gd name="T9" fmla="*/ 103 h 103"/>
                    <a:gd name="T10" fmla="*/ 909 w 909"/>
                    <a:gd name="T11" fmla="*/ 16 h 103"/>
                    <a:gd name="T12" fmla="*/ 909 w 909"/>
                    <a:gd name="T13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9" h="10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6"/>
                      </a:lnTo>
                      <a:cubicBezTo>
                        <a:pt x="0" y="64"/>
                        <a:pt x="39" y="103"/>
                        <a:pt x="87" y="103"/>
                      </a:cubicBezTo>
                      <a:lnTo>
                        <a:pt x="822" y="103"/>
                      </a:lnTo>
                      <a:cubicBezTo>
                        <a:pt x="870" y="103"/>
                        <a:pt x="909" y="64"/>
                        <a:pt x="909" y="16"/>
                      </a:cubicBezTo>
                      <a:lnTo>
                        <a:pt x="909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01">
                  <a:extLst>
                    <a:ext uri="{FF2B5EF4-FFF2-40B4-BE49-F238E27FC236}">
                      <a16:creationId xmlns:a16="http://schemas.microsoft.com/office/drawing/2014/main" id="{D0469022-2F21-41C8-AC0F-BAA62FC3D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5547" y="3373585"/>
                  <a:ext cx="345193" cy="0"/>
                </a:xfrm>
                <a:custGeom>
                  <a:avLst/>
                  <a:gdLst>
                    <a:gd name="T0" fmla="*/ 0 w 910"/>
                    <a:gd name="T1" fmla="*/ 0 w 910"/>
                    <a:gd name="T2" fmla="*/ 910 w 91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91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1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02">
                  <a:extLst>
                    <a:ext uri="{FF2B5EF4-FFF2-40B4-BE49-F238E27FC236}">
                      <a16:creationId xmlns:a16="http://schemas.microsoft.com/office/drawing/2014/main" id="{B75699DA-E67B-4323-A546-0906DF30F3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5149" y="2890316"/>
                  <a:ext cx="146044" cy="419541"/>
                </a:xfrm>
                <a:custGeom>
                  <a:avLst/>
                  <a:gdLst>
                    <a:gd name="T0" fmla="*/ 383 w 386"/>
                    <a:gd name="T1" fmla="*/ 93 h 1105"/>
                    <a:gd name="T2" fmla="*/ 383 w 386"/>
                    <a:gd name="T3" fmla="*/ 93 h 1105"/>
                    <a:gd name="T4" fmla="*/ 289 w 386"/>
                    <a:gd name="T5" fmla="*/ 0 h 1105"/>
                    <a:gd name="T6" fmla="*/ 286 w 386"/>
                    <a:gd name="T7" fmla="*/ 0 h 1105"/>
                    <a:gd name="T8" fmla="*/ 181 w 386"/>
                    <a:gd name="T9" fmla="*/ 86 h 1105"/>
                    <a:gd name="T10" fmla="*/ 181 w 386"/>
                    <a:gd name="T11" fmla="*/ 293 h 1105"/>
                    <a:gd name="T12" fmla="*/ 14 w 386"/>
                    <a:gd name="T13" fmla="*/ 968 h 1105"/>
                    <a:gd name="T14" fmla="*/ 89 w 386"/>
                    <a:gd name="T15" fmla="*/ 1091 h 1105"/>
                    <a:gd name="T16" fmla="*/ 213 w 386"/>
                    <a:gd name="T17" fmla="*/ 1018 h 1105"/>
                    <a:gd name="T18" fmla="*/ 384 w 386"/>
                    <a:gd name="T19" fmla="*/ 333 h 1105"/>
                    <a:gd name="T20" fmla="*/ 383 w 386"/>
                    <a:gd name="T21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6" h="1105">
                      <a:moveTo>
                        <a:pt x="383" y="93"/>
                      </a:moveTo>
                      <a:lnTo>
                        <a:pt x="383" y="93"/>
                      </a:lnTo>
                      <a:cubicBezTo>
                        <a:pt x="383" y="37"/>
                        <a:pt x="345" y="0"/>
                        <a:pt x="289" y="0"/>
                      </a:cubicBezTo>
                      <a:lnTo>
                        <a:pt x="286" y="0"/>
                      </a:lnTo>
                      <a:cubicBezTo>
                        <a:pt x="230" y="0"/>
                        <a:pt x="181" y="31"/>
                        <a:pt x="181" y="86"/>
                      </a:cubicBezTo>
                      <a:lnTo>
                        <a:pt x="181" y="293"/>
                      </a:lnTo>
                      <a:lnTo>
                        <a:pt x="14" y="968"/>
                      </a:lnTo>
                      <a:cubicBezTo>
                        <a:pt x="0" y="1022"/>
                        <a:pt x="35" y="1077"/>
                        <a:pt x="89" y="1091"/>
                      </a:cubicBezTo>
                      <a:cubicBezTo>
                        <a:pt x="143" y="1105"/>
                        <a:pt x="200" y="1072"/>
                        <a:pt x="213" y="1018"/>
                      </a:cubicBezTo>
                      <a:cubicBezTo>
                        <a:pt x="213" y="1018"/>
                        <a:pt x="384" y="334"/>
                        <a:pt x="384" y="333"/>
                      </a:cubicBezTo>
                      <a:cubicBezTo>
                        <a:pt x="386" y="325"/>
                        <a:pt x="383" y="93"/>
                        <a:pt x="383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03">
                  <a:extLst>
                    <a:ext uri="{FF2B5EF4-FFF2-40B4-BE49-F238E27FC236}">
                      <a16:creationId xmlns:a16="http://schemas.microsoft.com/office/drawing/2014/main" id="{2CABCBEB-0FB7-4D69-AF93-DAB094E1DA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5149" y="2890316"/>
                  <a:ext cx="146044" cy="419541"/>
                </a:xfrm>
                <a:custGeom>
                  <a:avLst/>
                  <a:gdLst>
                    <a:gd name="T0" fmla="*/ 383 w 386"/>
                    <a:gd name="T1" fmla="*/ 93 h 1105"/>
                    <a:gd name="T2" fmla="*/ 383 w 386"/>
                    <a:gd name="T3" fmla="*/ 93 h 1105"/>
                    <a:gd name="T4" fmla="*/ 289 w 386"/>
                    <a:gd name="T5" fmla="*/ 0 h 1105"/>
                    <a:gd name="T6" fmla="*/ 286 w 386"/>
                    <a:gd name="T7" fmla="*/ 0 h 1105"/>
                    <a:gd name="T8" fmla="*/ 181 w 386"/>
                    <a:gd name="T9" fmla="*/ 86 h 1105"/>
                    <a:gd name="T10" fmla="*/ 181 w 386"/>
                    <a:gd name="T11" fmla="*/ 293 h 1105"/>
                    <a:gd name="T12" fmla="*/ 14 w 386"/>
                    <a:gd name="T13" fmla="*/ 968 h 1105"/>
                    <a:gd name="T14" fmla="*/ 89 w 386"/>
                    <a:gd name="T15" fmla="*/ 1091 h 1105"/>
                    <a:gd name="T16" fmla="*/ 213 w 386"/>
                    <a:gd name="T17" fmla="*/ 1018 h 1105"/>
                    <a:gd name="T18" fmla="*/ 384 w 386"/>
                    <a:gd name="T19" fmla="*/ 333 h 1105"/>
                    <a:gd name="T20" fmla="*/ 383 w 386"/>
                    <a:gd name="T21" fmla="*/ 93 h 1105"/>
                    <a:gd name="T22" fmla="*/ 383 w 386"/>
                    <a:gd name="T23" fmla="*/ 9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6" h="1105">
                      <a:moveTo>
                        <a:pt x="383" y="93"/>
                      </a:moveTo>
                      <a:lnTo>
                        <a:pt x="383" y="93"/>
                      </a:lnTo>
                      <a:cubicBezTo>
                        <a:pt x="383" y="37"/>
                        <a:pt x="345" y="0"/>
                        <a:pt x="289" y="0"/>
                      </a:cubicBezTo>
                      <a:lnTo>
                        <a:pt x="286" y="0"/>
                      </a:lnTo>
                      <a:cubicBezTo>
                        <a:pt x="230" y="0"/>
                        <a:pt x="181" y="31"/>
                        <a:pt x="181" y="86"/>
                      </a:cubicBezTo>
                      <a:lnTo>
                        <a:pt x="181" y="293"/>
                      </a:lnTo>
                      <a:lnTo>
                        <a:pt x="14" y="968"/>
                      </a:lnTo>
                      <a:cubicBezTo>
                        <a:pt x="0" y="1022"/>
                        <a:pt x="35" y="1077"/>
                        <a:pt x="89" y="1091"/>
                      </a:cubicBezTo>
                      <a:cubicBezTo>
                        <a:pt x="143" y="1105"/>
                        <a:pt x="200" y="1072"/>
                        <a:pt x="213" y="1018"/>
                      </a:cubicBezTo>
                      <a:cubicBezTo>
                        <a:pt x="213" y="1018"/>
                        <a:pt x="384" y="334"/>
                        <a:pt x="384" y="333"/>
                      </a:cubicBezTo>
                      <a:cubicBezTo>
                        <a:pt x="386" y="325"/>
                        <a:pt x="383" y="93"/>
                        <a:pt x="383" y="93"/>
                      </a:cubicBezTo>
                      <a:lnTo>
                        <a:pt x="383" y="93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04">
                  <a:extLst>
                    <a:ext uri="{FF2B5EF4-FFF2-40B4-BE49-F238E27FC236}">
                      <a16:creationId xmlns:a16="http://schemas.microsoft.com/office/drawing/2014/main" id="{8984FF5B-03F8-4BA5-B987-3D57208A7B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9956" y="3243476"/>
                  <a:ext cx="276154" cy="284121"/>
                </a:xfrm>
                <a:custGeom>
                  <a:avLst/>
                  <a:gdLst>
                    <a:gd name="T0" fmla="*/ 646 w 728"/>
                    <a:gd name="T1" fmla="*/ 4 h 751"/>
                    <a:gd name="T2" fmla="*/ 646 w 728"/>
                    <a:gd name="T3" fmla="*/ 4 h 751"/>
                    <a:gd name="T4" fmla="*/ 334 w 728"/>
                    <a:gd name="T5" fmla="*/ 4 h 751"/>
                    <a:gd name="T6" fmla="*/ 291 w 728"/>
                    <a:gd name="T7" fmla="*/ 7 h 751"/>
                    <a:gd name="T8" fmla="*/ 248 w 728"/>
                    <a:gd name="T9" fmla="*/ 60 h 751"/>
                    <a:gd name="T10" fmla="*/ 125 w 728"/>
                    <a:gd name="T11" fmla="*/ 644 h 751"/>
                    <a:gd name="T12" fmla="*/ 54 w 728"/>
                    <a:gd name="T13" fmla="*/ 644 h 751"/>
                    <a:gd name="T14" fmla="*/ 0 w 728"/>
                    <a:gd name="T15" fmla="*/ 697 h 751"/>
                    <a:gd name="T16" fmla="*/ 54 w 728"/>
                    <a:gd name="T17" fmla="*/ 751 h 751"/>
                    <a:gd name="T18" fmla="*/ 193 w 728"/>
                    <a:gd name="T19" fmla="*/ 751 h 751"/>
                    <a:gd name="T20" fmla="*/ 283 w 728"/>
                    <a:gd name="T21" fmla="*/ 686 h 751"/>
                    <a:gd name="T22" fmla="*/ 395 w 728"/>
                    <a:gd name="T23" fmla="*/ 151 h 751"/>
                    <a:gd name="T24" fmla="*/ 646 w 728"/>
                    <a:gd name="T25" fmla="*/ 151 h 751"/>
                    <a:gd name="T26" fmla="*/ 728 w 728"/>
                    <a:gd name="T27" fmla="*/ 77 h 751"/>
                    <a:gd name="T28" fmla="*/ 646 w 728"/>
                    <a:gd name="T29" fmla="*/ 4 h 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28" h="751">
                      <a:moveTo>
                        <a:pt x="646" y="4"/>
                      </a:moveTo>
                      <a:lnTo>
                        <a:pt x="646" y="4"/>
                      </a:lnTo>
                      <a:lnTo>
                        <a:pt x="334" y="4"/>
                      </a:lnTo>
                      <a:cubicBezTo>
                        <a:pt x="318" y="4"/>
                        <a:pt x="304" y="0"/>
                        <a:pt x="291" y="7"/>
                      </a:cubicBezTo>
                      <a:cubicBezTo>
                        <a:pt x="270" y="18"/>
                        <a:pt x="253" y="35"/>
                        <a:pt x="248" y="60"/>
                      </a:cubicBezTo>
                      <a:lnTo>
                        <a:pt x="125" y="644"/>
                      </a:lnTo>
                      <a:lnTo>
                        <a:pt x="54" y="644"/>
                      </a:lnTo>
                      <a:cubicBezTo>
                        <a:pt x="25" y="644"/>
                        <a:pt x="0" y="668"/>
                        <a:pt x="0" y="697"/>
                      </a:cubicBezTo>
                      <a:cubicBezTo>
                        <a:pt x="0" y="727"/>
                        <a:pt x="25" y="751"/>
                        <a:pt x="54" y="751"/>
                      </a:cubicBezTo>
                      <a:lnTo>
                        <a:pt x="193" y="751"/>
                      </a:lnTo>
                      <a:cubicBezTo>
                        <a:pt x="235" y="751"/>
                        <a:pt x="274" y="727"/>
                        <a:pt x="283" y="686"/>
                      </a:cubicBezTo>
                      <a:lnTo>
                        <a:pt x="395" y="151"/>
                      </a:lnTo>
                      <a:lnTo>
                        <a:pt x="646" y="151"/>
                      </a:lnTo>
                      <a:cubicBezTo>
                        <a:pt x="691" y="151"/>
                        <a:pt x="728" y="122"/>
                        <a:pt x="728" y="77"/>
                      </a:cubicBezTo>
                      <a:cubicBezTo>
                        <a:pt x="728" y="32"/>
                        <a:pt x="691" y="4"/>
                        <a:pt x="646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105">
                  <a:extLst>
                    <a:ext uri="{FF2B5EF4-FFF2-40B4-BE49-F238E27FC236}">
                      <a16:creationId xmlns:a16="http://schemas.microsoft.com/office/drawing/2014/main" id="{AE20220D-5A57-4F31-A2A1-E7FE79B267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9956" y="3243484"/>
                  <a:ext cx="276154" cy="284121"/>
                </a:xfrm>
                <a:custGeom>
                  <a:avLst/>
                  <a:gdLst>
                    <a:gd name="T0" fmla="*/ 646 w 728"/>
                    <a:gd name="T1" fmla="*/ 4 h 751"/>
                    <a:gd name="T2" fmla="*/ 646 w 728"/>
                    <a:gd name="T3" fmla="*/ 4 h 751"/>
                    <a:gd name="T4" fmla="*/ 334 w 728"/>
                    <a:gd name="T5" fmla="*/ 4 h 751"/>
                    <a:gd name="T6" fmla="*/ 291 w 728"/>
                    <a:gd name="T7" fmla="*/ 7 h 751"/>
                    <a:gd name="T8" fmla="*/ 248 w 728"/>
                    <a:gd name="T9" fmla="*/ 60 h 751"/>
                    <a:gd name="T10" fmla="*/ 125 w 728"/>
                    <a:gd name="T11" fmla="*/ 644 h 751"/>
                    <a:gd name="T12" fmla="*/ 54 w 728"/>
                    <a:gd name="T13" fmla="*/ 644 h 751"/>
                    <a:gd name="T14" fmla="*/ 0 w 728"/>
                    <a:gd name="T15" fmla="*/ 697 h 751"/>
                    <a:gd name="T16" fmla="*/ 54 w 728"/>
                    <a:gd name="T17" fmla="*/ 751 h 751"/>
                    <a:gd name="T18" fmla="*/ 193 w 728"/>
                    <a:gd name="T19" fmla="*/ 751 h 751"/>
                    <a:gd name="T20" fmla="*/ 283 w 728"/>
                    <a:gd name="T21" fmla="*/ 686 h 751"/>
                    <a:gd name="T22" fmla="*/ 395 w 728"/>
                    <a:gd name="T23" fmla="*/ 151 h 751"/>
                    <a:gd name="T24" fmla="*/ 646 w 728"/>
                    <a:gd name="T25" fmla="*/ 151 h 751"/>
                    <a:gd name="T26" fmla="*/ 728 w 728"/>
                    <a:gd name="T27" fmla="*/ 77 h 751"/>
                    <a:gd name="T28" fmla="*/ 646 w 728"/>
                    <a:gd name="T29" fmla="*/ 4 h 751"/>
                    <a:gd name="T30" fmla="*/ 646 w 728"/>
                    <a:gd name="T31" fmla="*/ 4 h 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28" h="751">
                      <a:moveTo>
                        <a:pt x="646" y="4"/>
                      </a:moveTo>
                      <a:lnTo>
                        <a:pt x="646" y="4"/>
                      </a:lnTo>
                      <a:lnTo>
                        <a:pt x="334" y="4"/>
                      </a:lnTo>
                      <a:cubicBezTo>
                        <a:pt x="318" y="4"/>
                        <a:pt x="304" y="0"/>
                        <a:pt x="291" y="7"/>
                      </a:cubicBezTo>
                      <a:cubicBezTo>
                        <a:pt x="270" y="18"/>
                        <a:pt x="253" y="35"/>
                        <a:pt x="248" y="60"/>
                      </a:cubicBezTo>
                      <a:lnTo>
                        <a:pt x="125" y="644"/>
                      </a:lnTo>
                      <a:lnTo>
                        <a:pt x="54" y="644"/>
                      </a:lnTo>
                      <a:cubicBezTo>
                        <a:pt x="25" y="644"/>
                        <a:pt x="0" y="668"/>
                        <a:pt x="0" y="697"/>
                      </a:cubicBezTo>
                      <a:cubicBezTo>
                        <a:pt x="0" y="727"/>
                        <a:pt x="25" y="751"/>
                        <a:pt x="54" y="751"/>
                      </a:cubicBezTo>
                      <a:lnTo>
                        <a:pt x="193" y="751"/>
                      </a:lnTo>
                      <a:cubicBezTo>
                        <a:pt x="235" y="751"/>
                        <a:pt x="274" y="727"/>
                        <a:pt x="283" y="686"/>
                      </a:cubicBezTo>
                      <a:lnTo>
                        <a:pt x="395" y="151"/>
                      </a:lnTo>
                      <a:lnTo>
                        <a:pt x="646" y="151"/>
                      </a:lnTo>
                      <a:cubicBezTo>
                        <a:pt x="691" y="151"/>
                        <a:pt x="728" y="122"/>
                        <a:pt x="728" y="77"/>
                      </a:cubicBezTo>
                      <a:cubicBezTo>
                        <a:pt x="728" y="32"/>
                        <a:pt x="691" y="4"/>
                        <a:pt x="646" y="4"/>
                      </a:cubicBezTo>
                      <a:lnTo>
                        <a:pt x="646" y="4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106">
                  <a:extLst>
                    <a:ext uri="{FF2B5EF4-FFF2-40B4-BE49-F238E27FC236}">
                      <a16:creationId xmlns:a16="http://schemas.microsoft.com/office/drawing/2014/main" id="{94AC43DC-059E-41F6-810D-80ACA5630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8033" y="3270038"/>
                  <a:ext cx="305363" cy="143388"/>
                </a:xfrm>
                <a:custGeom>
                  <a:avLst/>
                  <a:gdLst>
                    <a:gd name="T0" fmla="*/ 805 w 805"/>
                    <a:gd name="T1" fmla="*/ 0 h 382"/>
                    <a:gd name="T2" fmla="*/ 805 w 805"/>
                    <a:gd name="T3" fmla="*/ 0 h 382"/>
                    <a:gd name="T4" fmla="*/ 805 w 805"/>
                    <a:gd name="T5" fmla="*/ 298 h 382"/>
                    <a:gd name="T6" fmla="*/ 721 w 805"/>
                    <a:gd name="T7" fmla="*/ 382 h 382"/>
                    <a:gd name="T8" fmla="*/ 168 w 805"/>
                    <a:gd name="T9" fmla="*/ 382 h 382"/>
                    <a:gd name="T10" fmla="*/ 84 w 805"/>
                    <a:gd name="T11" fmla="*/ 298 h 382"/>
                    <a:gd name="T12" fmla="*/ 0 w 805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5" h="382">
                      <a:moveTo>
                        <a:pt x="805" y="0"/>
                      </a:moveTo>
                      <a:lnTo>
                        <a:pt x="805" y="0"/>
                      </a:lnTo>
                      <a:lnTo>
                        <a:pt x="805" y="298"/>
                      </a:lnTo>
                      <a:cubicBezTo>
                        <a:pt x="805" y="344"/>
                        <a:pt x="768" y="382"/>
                        <a:pt x="721" y="382"/>
                      </a:cubicBezTo>
                      <a:lnTo>
                        <a:pt x="168" y="382"/>
                      </a:lnTo>
                      <a:cubicBezTo>
                        <a:pt x="122" y="382"/>
                        <a:pt x="97" y="344"/>
                        <a:pt x="84" y="298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107">
                  <a:extLst>
                    <a:ext uri="{FF2B5EF4-FFF2-40B4-BE49-F238E27FC236}">
                      <a16:creationId xmlns:a16="http://schemas.microsoft.com/office/drawing/2014/main" id="{8B6A6091-E6EB-45CC-BF88-6E669F7861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8033" y="3270038"/>
                  <a:ext cx="305363" cy="143388"/>
                </a:xfrm>
                <a:custGeom>
                  <a:avLst/>
                  <a:gdLst>
                    <a:gd name="T0" fmla="*/ 805 w 805"/>
                    <a:gd name="T1" fmla="*/ 0 h 382"/>
                    <a:gd name="T2" fmla="*/ 805 w 805"/>
                    <a:gd name="T3" fmla="*/ 0 h 382"/>
                    <a:gd name="T4" fmla="*/ 805 w 805"/>
                    <a:gd name="T5" fmla="*/ 298 h 382"/>
                    <a:gd name="T6" fmla="*/ 721 w 805"/>
                    <a:gd name="T7" fmla="*/ 382 h 382"/>
                    <a:gd name="T8" fmla="*/ 168 w 805"/>
                    <a:gd name="T9" fmla="*/ 382 h 382"/>
                    <a:gd name="T10" fmla="*/ 84 w 805"/>
                    <a:gd name="T11" fmla="*/ 298 h 382"/>
                    <a:gd name="T12" fmla="*/ 0 w 805"/>
                    <a:gd name="T13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5" h="382">
                      <a:moveTo>
                        <a:pt x="805" y="0"/>
                      </a:moveTo>
                      <a:lnTo>
                        <a:pt x="805" y="0"/>
                      </a:lnTo>
                      <a:lnTo>
                        <a:pt x="805" y="298"/>
                      </a:lnTo>
                      <a:cubicBezTo>
                        <a:pt x="805" y="344"/>
                        <a:pt x="768" y="382"/>
                        <a:pt x="721" y="382"/>
                      </a:cubicBezTo>
                      <a:lnTo>
                        <a:pt x="168" y="382"/>
                      </a:lnTo>
                      <a:cubicBezTo>
                        <a:pt x="122" y="382"/>
                        <a:pt x="97" y="344"/>
                        <a:pt x="84" y="29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08">
                  <a:extLst>
                    <a:ext uri="{FF2B5EF4-FFF2-40B4-BE49-F238E27FC236}">
                      <a16:creationId xmlns:a16="http://schemas.microsoft.com/office/drawing/2014/main" id="{94F6613E-6F78-4C4D-9B87-CE0D7186DE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4758" y="3230208"/>
                  <a:ext cx="318639" cy="39830"/>
                </a:xfrm>
                <a:custGeom>
                  <a:avLst/>
                  <a:gdLst>
                    <a:gd name="T0" fmla="*/ 5 w 839"/>
                    <a:gd name="T1" fmla="*/ 103 h 103"/>
                    <a:gd name="T2" fmla="*/ 5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5" y="103"/>
                      </a:moveTo>
                      <a:lnTo>
                        <a:pt x="5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09">
                  <a:extLst>
                    <a:ext uri="{FF2B5EF4-FFF2-40B4-BE49-F238E27FC236}">
                      <a16:creationId xmlns:a16="http://schemas.microsoft.com/office/drawing/2014/main" id="{6E683C41-D225-4CC3-AFCD-EA22768B41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4758" y="3230208"/>
                  <a:ext cx="318639" cy="39830"/>
                </a:xfrm>
                <a:custGeom>
                  <a:avLst/>
                  <a:gdLst>
                    <a:gd name="T0" fmla="*/ 5 w 839"/>
                    <a:gd name="T1" fmla="*/ 103 h 103"/>
                    <a:gd name="T2" fmla="*/ 5 w 839"/>
                    <a:gd name="T3" fmla="*/ 103 h 103"/>
                    <a:gd name="T4" fmla="*/ 0 w 839"/>
                    <a:gd name="T5" fmla="*/ 87 h 103"/>
                    <a:gd name="T6" fmla="*/ 87 w 839"/>
                    <a:gd name="T7" fmla="*/ 0 h 103"/>
                    <a:gd name="T8" fmla="*/ 752 w 839"/>
                    <a:gd name="T9" fmla="*/ 0 h 103"/>
                    <a:gd name="T10" fmla="*/ 839 w 839"/>
                    <a:gd name="T11" fmla="*/ 87 h 103"/>
                    <a:gd name="T12" fmla="*/ 839 w 839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9" h="103">
                      <a:moveTo>
                        <a:pt x="5" y="103"/>
                      </a:moveTo>
                      <a:lnTo>
                        <a:pt x="5" y="103"/>
                      </a:ln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752" y="0"/>
                      </a:lnTo>
                      <a:cubicBezTo>
                        <a:pt x="800" y="0"/>
                        <a:pt x="839" y="39"/>
                        <a:pt x="839" y="87"/>
                      </a:cubicBezTo>
                      <a:lnTo>
                        <a:pt x="839" y="103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110">
                  <a:extLst>
                    <a:ext uri="{FF2B5EF4-FFF2-40B4-BE49-F238E27FC236}">
                      <a16:creationId xmlns:a16="http://schemas.microsoft.com/office/drawing/2014/main" id="{4DA912A1-670E-4550-8DDD-A3D0A87023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4758" y="3270038"/>
                  <a:ext cx="318639" cy="0"/>
                </a:xfrm>
                <a:custGeom>
                  <a:avLst/>
                  <a:gdLst>
                    <a:gd name="T0" fmla="*/ 0 w 840"/>
                    <a:gd name="T1" fmla="*/ 0 w 840"/>
                    <a:gd name="T2" fmla="*/ 840 w 84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84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40" y="0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111">
                  <a:extLst>
                    <a:ext uri="{FF2B5EF4-FFF2-40B4-BE49-F238E27FC236}">
                      <a16:creationId xmlns:a16="http://schemas.microsoft.com/office/drawing/2014/main" id="{C6523F44-96FE-42C9-BFFB-DA5BB15066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5039" y="3413422"/>
                  <a:ext cx="172598" cy="114179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4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112">
                  <a:extLst>
                    <a:ext uri="{FF2B5EF4-FFF2-40B4-BE49-F238E27FC236}">
                      <a16:creationId xmlns:a16="http://schemas.microsoft.com/office/drawing/2014/main" id="{26760120-1560-4324-8CBB-D0DEDEDF1C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5039" y="3413415"/>
                  <a:ext cx="172598" cy="114179"/>
                </a:xfrm>
                <a:custGeom>
                  <a:avLst/>
                  <a:gdLst>
                    <a:gd name="T0" fmla="*/ 451 w 451"/>
                    <a:gd name="T1" fmla="*/ 296 h 296"/>
                    <a:gd name="T2" fmla="*/ 451 w 451"/>
                    <a:gd name="T3" fmla="*/ 296 h 296"/>
                    <a:gd name="T4" fmla="*/ 94 w 451"/>
                    <a:gd name="T5" fmla="*/ 296 h 296"/>
                    <a:gd name="T6" fmla="*/ 0 w 451"/>
                    <a:gd name="T7" fmla="*/ 0 h 296"/>
                    <a:gd name="T8" fmla="*/ 451 w 451"/>
                    <a:gd name="T9" fmla="*/ 0 h 296"/>
                    <a:gd name="T10" fmla="*/ 451 w 451"/>
                    <a:gd name="T11" fmla="*/ 296 h 296"/>
                    <a:gd name="T12" fmla="*/ 451 w 451"/>
                    <a:gd name="T13" fmla="*/ 296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1" h="296">
                      <a:moveTo>
                        <a:pt x="451" y="296"/>
                      </a:moveTo>
                      <a:lnTo>
                        <a:pt x="451" y="296"/>
                      </a:lnTo>
                      <a:lnTo>
                        <a:pt x="94" y="296"/>
                      </a:lnTo>
                      <a:lnTo>
                        <a:pt x="0" y="0"/>
                      </a:lnTo>
                      <a:lnTo>
                        <a:pt x="451" y="0"/>
                      </a:lnTo>
                      <a:lnTo>
                        <a:pt x="451" y="296"/>
                      </a:lnTo>
                      <a:lnTo>
                        <a:pt x="451" y="296"/>
                      </a:lnTo>
                      <a:close/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13">
                  <a:extLst>
                    <a:ext uri="{FF2B5EF4-FFF2-40B4-BE49-F238E27FC236}">
                      <a16:creationId xmlns:a16="http://schemas.microsoft.com/office/drawing/2014/main" id="{41B8D0D6-F0B5-4DB5-AA37-3CF7957E0D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8654" y="3086809"/>
                  <a:ext cx="220393" cy="161976"/>
                </a:xfrm>
                <a:custGeom>
                  <a:avLst/>
                  <a:gdLst>
                    <a:gd name="T0" fmla="*/ 442 w 579"/>
                    <a:gd name="T1" fmla="*/ 0 h 430"/>
                    <a:gd name="T2" fmla="*/ 442 w 579"/>
                    <a:gd name="T3" fmla="*/ 0 h 430"/>
                    <a:gd name="T4" fmla="*/ 380 w 579"/>
                    <a:gd name="T5" fmla="*/ 310 h 430"/>
                    <a:gd name="T6" fmla="*/ 70 w 579"/>
                    <a:gd name="T7" fmla="*/ 310 h 430"/>
                    <a:gd name="T8" fmla="*/ 0 w 579"/>
                    <a:gd name="T9" fmla="*/ 370 h 430"/>
                    <a:gd name="T10" fmla="*/ 70 w 579"/>
                    <a:gd name="T11" fmla="*/ 430 h 430"/>
                    <a:gd name="T12" fmla="*/ 434 w 579"/>
                    <a:gd name="T13" fmla="*/ 430 h 430"/>
                    <a:gd name="T14" fmla="*/ 485 w 579"/>
                    <a:gd name="T15" fmla="*/ 413 h 430"/>
                    <a:gd name="T16" fmla="*/ 507 w 579"/>
                    <a:gd name="T17" fmla="*/ 377 h 430"/>
                    <a:gd name="T18" fmla="*/ 579 w 579"/>
                    <a:gd name="T19" fmla="*/ 24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9" h="430">
                      <a:moveTo>
                        <a:pt x="442" y="0"/>
                      </a:moveTo>
                      <a:lnTo>
                        <a:pt x="442" y="0"/>
                      </a:lnTo>
                      <a:lnTo>
                        <a:pt x="380" y="310"/>
                      </a:lnTo>
                      <a:lnTo>
                        <a:pt x="70" y="310"/>
                      </a:lnTo>
                      <a:cubicBezTo>
                        <a:pt x="32" y="310"/>
                        <a:pt x="0" y="332"/>
                        <a:pt x="0" y="370"/>
                      </a:cubicBezTo>
                      <a:cubicBezTo>
                        <a:pt x="0" y="409"/>
                        <a:pt x="32" y="430"/>
                        <a:pt x="70" y="430"/>
                      </a:cubicBezTo>
                      <a:lnTo>
                        <a:pt x="434" y="430"/>
                      </a:lnTo>
                      <a:cubicBezTo>
                        <a:pt x="454" y="430"/>
                        <a:pt x="472" y="426"/>
                        <a:pt x="485" y="413"/>
                      </a:cubicBezTo>
                      <a:cubicBezTo>
                        <a:pt x="496" y="403"/>
                        <a:pt x="504" y="392"/>
                        <a:pt x="507" y="377"/>
                      </a:cubicBezTo>
                      <a:lnTo>
                        <a:pt x="579" y="24"/>
                      </a:ln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114">
                  <a:extLst>
                    <a:ext uri="{FF2B5EF4-FFF2-40B4-BE49-F238E27FC236}">
                      <a16:creationId xmlns:a16="http://schemas.microsoft.com/office/drawing/2014/main" id="{DE5EC808-2E72-4B6B-9C25-38BB1DDC6C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8654" y="3086809"/>
                  <a:ext cx="220393" cy="161976"/>
                </a:xfrm>
                <a:custGeom>
                  <a:avLst/>
                  <a:gdLst>
                    <a:gd name="T0" fmla="*/ 442 w 579"/>
                    <a:gd name="T1" fmla="*/ 0 h 430"/>
                    <a:gd name="T2" fmla="*/ 442 w 579"/>
                    <a:gd name="T3" fmla="*/ 0 h 430"/>
                    <a:gd name="T4" fmla="*/ 380 w 579"/>
                    <a:gd name="T5" fmla="*/ 310 h 430"/>
                    <a:gd name="T6" fmla="*/ 70 w 579"/>
                    <a:gd name="T7" fmla="*/ 310 h 430"/>
                    <a:gd name="T8" fmla="*/ 0 w 579"/>
                    <a:gd name="T9" fmla="*/ 370 h 430"/>
                    <a:gd name="T10" fmla="*/ 70 w 579"/>
                    <a:gd name="T11" fmla="*/ 430 h 430"/>
                    <a:gd name="T12" fmla="*/ 434 w 579"/>
                    <a:gd name="T13" fmla="*/ 430 h 430"/>
                    <a:gd name="T14" fmla="*/ 485 w 579"/>
                    <a:gd name="T15" fmla="*/ 413 h 430"/>
                    <a:gd name="T16" fmla="*/ 507 w 579"/>
                    <a:gd name="T17" fmla="*/ 377 h 430"/>
                    <a:gd name="T18" fmla="*/ 579 w 579"/>
                    <a:gd name="T19" fmla="*/ 24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9" h="430">
                      <a:moveTo>
                        <a:pt x="442" y="0"/>
                      </a:moveTo>
                      <a:lnTo>
                        <a:pt x="442" y="0"/>
                      </a:lnTo>
                      <a:lnTo>
                        <a:pt x="380" y="310"/>
                      </a:lnTo>
                      <a:lnTo>
                        <a:pt x="70" y="310"/>
                      </a:lnTo>
                      <a:cubicBezTo>
                        <a:pt x="32" y="310"/>
                        <a:pt x="0" y="332"/>
                        <a:pt x="0" y="370"/>
                      </a:cubicBezTo>
                      <a:cubicBezTo>
                        <a:pt x="0" y="409"/>
                        <a:pt x="32" y="430"/>
                        <a:pt x="70" y="430"/>
                      </a:cubicBezTo>
                      <a:lnTo>
                        <a:pt x="434" y="430"/>
                      </a:lnTo>
                      <a:cubicBezTo>
                        <a:pt x="454" y="430"/>
                        <a:pt x="472" y="426"/>
                        <a:pt x="485" y="413"/>
                      </a:cubicBezTo>
                      <a:cubicBezTo>
                        <a:pt x="496" y="403"/>
                        <a:pt x="504" y="392"/>
                        <a:pt x="507" y="377"/>
                      </a:cubicBezTo>
                      <a:lnTo>
                        <a:pt x="579" y="24"/>
                      </a:ln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115">
                  <a:extLst>
                    <a:ext uri="{FF2B5EF4-FFF2-40B4-BE49-F238E27FC236}">
                      <a16:creationId xmlns:a16="http://schemas.microsoft.com/office/drawing/2014/main" id="{9FCBD399-4B9F-446B-866F-4812F9F1F8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2042" y="2924835"/>
                  <a:ext cx="114179" cy="161976"/>
                </a:xfrm>
                <a:custGeom>
                  <a:avLst/>
                  <a:gdLst>
                    <a:gd name="T0" fmla="*/ 0 w 302"/>
                    <a:gd name="T1" fmla="*/ 0 h 427"/>
                    <a:gd name="T2" fmla="*/ 0 w 302"/>
                    <a:gd name="T3" fmla="*/ 0 h 427"/>
                    <a:gd name="T4" fmla="*/ 183 w 302"/>
                    <a:gd name="T5" fmla="*/ 91 h 427"/>
                    <a:gd name="T6" fmla="*/ 227 w 302"/>
                    <a:gd name="T7" fmla="*/ 367 h 427"/>
                    <a:gd name="T8" fmla="*/ 274 w 302"/>
                    <a:gd name="T9" fmla="*/ 381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2" h="42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0"/>
                        <a:pt x="65" y="70"/>
                        <a:pt x="183" y="91"/>
                      </a:cubicBezTo>
                      <a:cubicBezTo>
                        <a:pt x="302" y="111"/>
                        <a:pt x="227" y="367"/>
                        <a:pt x="227" y="367"/>
                      </a:cubicBezTo>
                      <a:cubicBezTo>
                        <a:pt x="215" y="402"/>
                        <a:pt x="251" y="427"/>
                        <a:pt x="274" y="381"/>
                      </a:cubicBezTo>
                    </a:path>
                  </a:pathLst>
                </a:custGeom>
                <a:noFill/>
                <a:ln w="9525" cap="flat">
                  <a:solidFill>
                    <a:srgbClr val="00113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B656667-0B30-4A58-99BD-29B9D304C507}"/>
              </a:ext>
            </a:extLst>
          </p:cNvPr>
          <p:cNvSpPr/>
          <p:nvPr/>
        </p:nvSpPr>
        <p:spPr>
          <a:xfrm>
            <a:off x="475672" y="3061725"/>
            <a:ext cx="5398655" cy="253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Professional services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9CA20F-509D-DF4C-A1C0-AD4128FB486F}"/>
              </a:ext>
            </a:extLst>
          </p:cNvPr>
          <p:cNvSpPr/>
          <p:nvPr/>
        </p:nvSpPr>
        <p:spPr>
          <a:xfrm>
            <a:off x="6840154" y="547822"/>
            <a:ext cx="2064329" cy="4119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Pct val="120000"/>
              <a:buFontTx/>
              <a:buNone/>
              <a:tabLst>
                <a:tab pos="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C9FF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Nokia Pure Text" charset="0"/>
                <a:cs typeface="Nokia Pure Text" charset="0"/>
              </a:rPr>
              <a:t>Mission-critical performanc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C9FF"/>
              </a:solidFill>
              <a:effectLst/>
              <a:uLnTx/>
              <a:uFillTx/>
              <a:latin typeface="Nokia Pure Headline Ultra Light" panose="020B0204040602060303" pitchFamily="34" charset="0"/>
              <a:ea typeface="+mn-ea"/>
              <a:cs typeface="+mn-cs"/>
            </a:endParaRPr>
          </a:p>
          <a:p>
            <a:pPr marL="133350" marR="0" lvl="0" indent="-13335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Multi-path connectivity</a:t>
            </a: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 Light" charset="0"/>
              <a:cs typeface="Nokia Pure Text Light" charset="0"/>
            </a:endParaRP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Pct val="120000"/>
              <a:buFontTx/>
              <a:buNone/>
              <a:tabLst>
                <a:tab pos="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C9FF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Nokia Pure Text" charset="0"/>
                <a:cs typeface="Nokia Pure Text" charset="0"/>
              </a:rPr>
              <a:t>Flexibility of solution</a:t>
            </a:r>
          </a:p>
          <a:p>
            <a:pPr marL="133350" marR="0" lvl="0" indent="-13335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Modular/supplier/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integration flexibility</a:t>
            </a: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Tx/>
              <a:buNone/>
              <a:tabLst>
                <a:tab pos="0" algn="l"/>
              </a:tabLst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 Light" charset="0"/>
              <a:cs typeface="Nokia Pure Text Light" charset="0"/>
            </a:endParaRP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Pct val="120000"/>
              <a:buFontTx/>
              <a:buNone/>
              <a:tabLst>
                <a:tab pos="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C9FF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Nokia Pure Text" charset="0"/>
                <a:cs typeface="Nokia Pure Text" charset="0"/>
              </a:rPr>
              <a:t>Optimized TCO</a:t>
            </a:r>
          </a:p>
          <a:p>
            <a:pPr marL="133350" marR="0" lvl="0" indent="-13335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Service convergenc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on a single network</a:t>
            </a: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Tx/>
              <a:buNone/>
              <a:tabLst>
                <a:tab pos="0" algn="l"/>
              </a:tabLst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 Light" charset="0"/>
              <a:cs typeface="Nokia Pure Text Light" charset="0"/>
            </a:endParaRPr>
          </a:p>
          <a:p>
            <a:pPr marL="0" marR="0" lvl="0" indent="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Pct val="120000"/>
              <a:buFontTx/>
              <a:buNone/>
              <a:tabLst>
                <a:tab pos="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C9FF"/>
                </a:solidFill>
                <a:effectLst/>
                <a:uLnTx/>
                <a:uFillTx/>
                <a:latin typeface="Nokia Pure Headline Ultra Light" panose="020B0204040602060303" pitchFamily="34" charset="0"/>
                <a:ea typeface="Nokia Pure Text" charset="0"/>
                <a:cs typeface="Nokia Pure Text" charset="0"/>
              </a:rPr>
              <a:t>Future proof</a:t>
            </a:r>
          </a:p>
          <a:p>
            <a:pPr marL="133350" marR="0" lvl="0" indent="-133350" algn="l" defTabSz="7620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 Light" charset="0"/>
                <a:cs typeface="Nokia Pure Text Light" charset="0"/>
              </a:rPr>
              <a:t>5G ready evolution strate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 Light" charset="0"/>
              <a:cs typeface="Nokia Pure Text Light" charset="0"/>
            </a:endParaRPr>
          </a:p>
        </p:txBody>
      </p:sp>
      <p:pic>
        <p:nvPicPr>
          <p:cNvPr id="374" name="Picture 373">
            <a:extLst>
              <a:ext uri="{FF2B5EF4-FFF2-40B4-BE49-F238E27FC236}">
                <a16:creationId xmlns:a16="http://schemas.microsoft.com/office/drawing/2014/main" id="{0D7D2054-35A4-8343-B911-797380E4B4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C90DD0-44CA-A74C-B843-F8485C3E700D}"/>
              </a:ext>
            </a:extLst>
          </p:cNvPr>
          <p:cNvSpPr/>
          <p:nvPr/>
        </p:nvSpPr>
        <p:spPr>
          <a:xfrm>
            <a:off x="1574800" y="1159165"/>
            <a:ext cx="1029855" cy="475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CTV/safety applications</a:t>
            </a: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9B36A089-6B06-E44B-A739-93C551214A6B}"/>
              </a:ext>
            </a:extLst>
          </p:cNvPr>
          <p:cNvSpPr/>
          <p:nvPr/>
        </p:nvSpPr>
        <p:spPr>
          <a:xfrm>
            <a:off x="477277" y="1159165"/>
            <a:ext cx="1029855" cy="475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BTC</a:t>
            </a:r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9C90D46C-3B01-0944-9376-A8B05297AA6A}"/>
              </a:ext>
            </a:extLst>
          </p:cNvPr>
          <p:cNvSpPr/>
          <p:nvPr/>
        </p:nvSpPr>
        <p:spPr>
          <a:xfrm>
            <a:off x="2657058" y="1159165"/>
            <a:ext cx="1029855" cy="475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MC-PTT/PTV applications</a:t>
            </a: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CCF58E09-2F67-9D4E-875D-3B1659C03DB2}"/>
              </a:ext>
            </a:extLst>
          </p:cNvPr>
          <p:cNvSpPr/>
          <p:nvPr/>
        </p:nvSpPr>
        <p:spPr>
          <a:xfrm>
            <a:off x="3750103" y="1159165"/>
            <a:ext cx="1029855" cy="475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Passenger entertainment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4600552E-150D-5B4F-A286-7E37F97A73FD}"/>
              </a:ext>
            </a:extLst>
          </p:cNvPr>
          <p:cNvSpPr/>
          <p:nvPr/>
        </p:nvSpPr>
        <p:spPr>
          <a:xfrm>
            <a:off x="4844612" y="1159165"/>
            <a:ext cx="1029855" cy="475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Maintenance data</a:t>
            </a: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9DEFE0F2-C5B3-164B-8CF9-E2C5E1A7E6E7}"/>
              </a:ext>
            </a:extLst>
          </p:cNvPr>
          <p:cNvSpPr/>
          <p:nvPr/>
        </p:nvSpPr>
        <p:spPr>
          <a:xfrm>
            <a:off x="765843" y="1775222"/>
            <a:ext cx="4854484" cy="34914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rain to Ground solution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D461A4C-0DFC-7444-BBDF-7FAAC23EC2A2}"/>
              </a:ext>
            </a:extLst>
          </p:cNvPr>
          <p:cNvSpPr/>
          <p:nvPr/>
        </p:nvSpPr>
        <p:spPr>
          <a:xfrm>
            <a:off x="5703455" y="1778000"/>
            <a:ext cx="184727" cy="1136073"/>
          </a:xfrm>
          <a:custGeom>
            <a:avLst/>
            <a:gdLst>
              <a:gd name="connsiteX0" fmla="*/ 4618 w 184727"/>
              <a:gd name="connsiteY0" fmla="*/ 0 h 1168400"/>
              <a:gd name="connsiteX1" fmla="*/ 184727 w 184727"/>
              <a:gd name="connsiteY1" fmla="*/ 591127 h 1168400"/>
              <a:gd name="connsiteX2" fmla="*/ 0 w 184727"/>
              <a:gd name="connsiteY2" fmla="*/ 1168400 h 11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4727" h="1168400">
                <a:moveTo>
                  <a:pt x="4618" y="0"/>
                </a:moveTo>
                <a:lnTo>
                  <a:pt x="184727" y="591127"/>
                </a:lnTo>
                <a:lnTo>
                  <a:pt x="0" y="116840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80" name="Freeform 379">
            <a:extLst>
              <a:ext uri="{FF2B5EF4-FFF2-40B4-BE49-F238E27FC236}">
                <a16:creationId xmlns:a16="http://schemas.microsoft.com/office/drawing/2014/main" id="{229C1E46-93B4-A345-AC9E-3BBA549A2C9B}"/>
              </a:ext>
            </a:extLst>
          </p:cNvPr>
          <p:cNvSpPr/>
          <p:nvPr/>
        </p:nvSpPr>
        <p:spPr>
          <a:xfrm flipH="1">
            <a:off x="480430" y="1778000"/>
            <a:ext cx="184727" cy="1136073"/>
          </a:xfrm>
          <a:custGeom>
            <a:avLst/>
            <a:gdLst>
              <a:gd name="connsiteX0" fmla="*/ 4618 w 184727"/>
              <a:gd name="connsiteY0" fmla="*/ 0 h 1168400"/>
              <a:gd name="connsiteX1" fmla="*/ 184727 w 184727"/>
              <a:gd name="connsiteY1" fmla="*/ 591127 h 1168400"/>
              <a:gd name="connsiteX2" fmla="*/ 0 w 184727"/>
              <a:gd name="connsiteY2" fmla="*/ 1168400 h 11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4727" h="1168400">
                <a:moveTo>
                  <a:pt x="4618" y="0"/>
                </a:moveTo>
                <a:lnTo>
                  <a:pt x="184727" y="591127"/>
                </a:lnTo>
                <a:lnTo>
                  <a:pt x="0" y="116840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02505C00-C50B-5444-84D0-35AB51D6C253}"/>
              </a:ext>
            </a:extLst>
          </p:cNvPr>
          <p:cNvSpPr/>
          <p:nvPr/>
        </p:nvSpPr>
        <p:spPr>
          <a:xfrm>
            <a:off x="4451927" y="2278424"/>
            <a:ext cx="1168400" cy="635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Fleet Network manager</a:t>
            </a:r>
          </a:p>
        </p:txBody>
      </p: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A85A20FE-801B-C049-9B64-A1F8705C9952}"/>
              </a:ext>
            </a:extLst>
          </p:cNvPr>
          <p:cNvGrpSpPr/>
          <p:nvPr/>
        </p:nvGrpSpPr>
        <p:grpSpPr>
          <a:xfrm>
            <a:off x="4531115" y="2569356"/>
            <a:ext cx="271793" cy="271789"/>
            <a:chOff x="7055471" y="268363"/>
            <a:chExt cx="513835" cy="513827"/>
          </a:xfrm>
        </p:grpSpPr>
        <p:sp>
          <p:nvSpPr>
            <p:cNvPr id="383" name="Rectangle 3">
              <a:extLst>
                <a:ext uri="{FF2B5EF4-FFF2-40B4-BE49-F238E27FC236}">
                  <a16:creationId xmlns:a16="http://schemas.microsoft.com/office/drawing/2014/main" id="{86124B67-602C-A14A-8F4E-C6508A64ABED}"/>
                </a:ext>
              </a:extLst>
            </p:cNvPr>
            <p:cNvSpPr/>
            <p:nvPr/>
          </p:nvSpPr>
          <p:spPr>
            <a:xfrm>
              <a:off x="7055471" y="268363"/>
              <a:ext cx="513835" cy="51382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4" name="Free Form 4">
              <a:extLst>
                <a:ext uri="{FF2B5EF4-FFF2-40B4-BE49-F238E27FC236}">
                  <a16:creationId xmlns:a16="http://schemas.microsoft.com/office/drawing/2014/main" id="{CF7E655F-C28A-3947-83E7-A213B8CA7AE7}"/>
                </a:ext>
              </a:extLst>
            </p:cNvPr>
            <p:cNvSpPr/>
            <p:nvPr/>
          </p:nvSpPr>
          <p:spPr>
            <a:xfrm>
              <a:off x="7321396" y="510767"/>
              <a:ext cx="19592" cy="19592"/>
            </a:xfrm>
            <a:custGeom>
              <a:avLst/>
              <a:gdLst/>
              <a:ahLst/>
              <a:cxnLst/>
              <a:rect l="0" t="0" r="0" b="0"/>
              <a:pathLst>
                <a:path w="200059" h="200059">
                  <a:moveTo>
                    <a:pt x="200059" y="100029"/>
                  </a:moveTo>
                  <a:cubicBezTo>
                    <a:pt x="200059" y="155355"/>
                    <a:pt x="155278" y="200059"/>
                    <a:pt x="100014" y="200059"/>
                  </a:cubicBezTo>
                  <a:cubicBezTo>
                    <a:pt x="44796" y="200059"/>
                    <a:pt x="0" y="155355"/>
                    <a:pt x="0" y="100029"/>
                  </a:cubicBezTo>
                  <a:cubicBezTo>
                    <a:pt x="0" y="44780"/>
                    <a:pt x="44796" y="0"/>
                    <a:pt x="100014" y="0"/>
                  </a:cubicBezTo>
                  <a:cubicBezTo>
                    <a:pt x="155278" y="0"/>
                    <a:pt x="200059" y="44780"/>
                    <a:pt x="200059" y="10002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5" name="Free Form 5">
              <a:extLst>
                <a:ext uri="{FF2B5EF4-FFF2-40B4-BE49-F238E27FC236}">
                  <a16:creationId xmlns:a16="http://schemas.microsoft.com/office/drawing/2014/main" id="{319AEAAB-725D-E14D-BB39-382CFD0F65D1}"/>
                </a:ext>
              </a:extLst>
            </p:cNvPr>
            <p:cNvSpPr/>
            <p:nvPr/>
          </p:nvSpPr>
          <p:spPr>
            <a:xfrm>
              <a:off x="7331193" y="411683"/>
              <a:ext cx="108880" cy="108880"/>
            </a:xfrm>
            <a:custGeom>
              <a:avLst/>
              <a:gdLst/>
              <a:ahLst/>
              <a:cxnLst/>
              <a:rect l="0" t="0" r="0" b="0"/>
              <a:pathLst>
                <a:path w="1111796" h="1111796">
                  <a:moveTo>
                    <a:pt x="1111796" y="1111796"/>
                  </a:moveTo>
                  <a:cubicBezTo>
                    <a:pt x="1111796" y="497716"/>
                    <a:pt x="613987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6" name="Free Form 6">
              <a:extLst>
                <a:ext uri="{FF2B5EF4-FFF2-40B4-BE49-F238E27FC236}">
                  <a16:creationId xmlns:a16="http://schemas.microsoft.com/office/drawing/2014/main" id="{CDAA3F5D-0ADF-424F-9AA7-D5D46EDE1BDF}"/>
                </a:ext>
              </a:extLst>
            </p:cNvPr>
            <p:cNvSpPr/>
            <p:nvPr/>
          </p:nvSpPr>
          <p:spPr>
            <a:xfrm>
              <a:off x="7331191" y="466125"/>
              <a:ext cx="54447" cy="54439"/>
            </a:xfrm>
            <a:custGeom>
              <a:avLst/>
              <a:gdLst/>
              <a:ahLst/>
              <a:cxnLst/>
              <a:rect l="0" t="0" r="0" b="0"/>
              <a:pathLst>
                <a:path w="555967" h="555890">
                  <a:moveTo>
                    <a:pt x="0" y="0"/>
                  </a:moveTo>
                  <a:cubicBezTo>
                    <a:pt x="307062" y="0"/>
                    <a:pt x="555967" y="248904"/>
                    <a:pt x="555967" y="55589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7" name="Free Form 7">
              <a:extLst>
                <a:ext uri="{FF2B5EF4-FFF2-40B4-BE49-F238E27FC236}">
                  <a16:creationId xmlns:a16="http://schemas.microsoft.com/office/drawing/2014/main" id="{42999BA3-99D5-0844-9980-9D19990D8BBC}"/>
                </a:ext>
              </a:extLst>
            </p:cNvPr>
            <p:cNvSpPr/>
            <p:nvPr/>
          </p:nvSpPr>
          <p:spPr>
            <a:xfrm>
              <a:off x="7331191" y="357234"/>
              <a:ext cx="163329" cy="163329"/>
            </a:xfrm>
            <a:custGeom>
              <a:avLst/>
              <a:gdLst/>
              <a:ahLst/>
              <a:cxnLst/>
              <a:rect l="0" t="0" r="0" b="0"/>
              <a:pathLst>
                <a:path w="1667779" h="1667779">
                  <a:moveTo>
                    <a:pt x="1667779" y="1667779"/>
                  </a:moveTo>
                  <a:cubicBezTo>
                    <a:pt x="1667779" y="746713"/>
                    <a:pt x="921065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8" name="Rectangle 8">
              <a:extLst>
                <a:ext uri="{FF2B5EF4-FFF2-40B4-BE49-F238E27FC236}">
                  <a16:creationId xmlns:a16="http://schemas.microsoft.com/office/drawing/2014/main" id="{606F3D7D-1084-9A4D-AA48-9DFE26933D64}"/>
                </a:ext>
              </a:extLst>
            </p:cNvPr>
            <p:cNvSpPr/>
            <p:nvPr/>
          </p:nvSpPr>
          <p:spPr>
            <a:xfrm>
              <a:off x="7164104" y="560010"/>
              <a:ext cx="133467" cy="13346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2ADE60C0-55C8-E748-AA5B-B90691F6F529}"/>
              </a:ext>
            </a:extLst>
          </p:cNvPr>
          <p:cNvGrpSpPr/>
          <p:nvPr/>
        </p:nvGrpSpPr>
        <p:grpSpPr>
          <a:xfrm>
            <a:off x="4971257" y="2572327"/>
            <a:ext cx="299270" cy="264360"/>
            <a:chOff x="2135874" y="1740662"/>
            <a:chExt cx="825019" cy="728779"/>
          </a:xfrm>
          <a:noFill/>
        </p:grpSpPr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F3364F9E-0E41-2844-BF70-C39535414461}"/>
                </a:ext>
              </a:extLst>
            </p:cNvPr>
            <p:cNvGrpSpPr/>
            <p:nvPr/>
          </p:nvGrpSpPr>
          <p:grpSpPr>
            <a:xfrm>
              <a:off x="2135874" y="1740662"/>
              <a:ext cx="825019" cy="728779"/>
              <a:chOff x="281676" y="3839554"/>
              <a:chExt cx="854915" cy="755187"/>
            </a:xfrm>
            <a:grpFill/>
          </p:grpSpPr>
          <p:sp>
            <p:nvSpPr>
              <p:cNvPr id="395" name="Rounded Rectangle 394">
                <a:extLst>
                  <a:ext uri="{FF2B5EF4-FFF2-40B4-BE49-F238E27FC236}">
                    <a16:creationId xmlns:a16="http://schemas.microsoft.com/office/drawing/2014/main" id="{1DF1FEF8-9169-3241-B155-003D897E3649}"/>
                  </a:ext>
                </a:extLst>
              </p:cNvPr>
              <p:cNvSpPr/>
              <p:nvPr/>
            </p:nvSpPr>
            <p:spPr>
              <a:xfrm>
                <a:off x="281676" y="3839554"/>
                <a:ext cx="854915" cy="645200"/>
              </a:xfrm>
              <a:prstGeom prst="roundRect">
                <a:avLst>
                  <a:gd name="adj" fmla="val 8333"/>
                </a:avLst>
              </a:prstGeom>
              <a:grpFill/>
              <a:ln w="9525" cmpd="sng">
                <a:solidFill>
                  <a:schemeClr val="bg1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130DBA34-8A3D-9442-8F2D-87FFD9F1E1BE}"/>
                  </a:ext>
                </a:extLst>
              </p:cNvPr>
              <p:cNvSpPr/>
              <p:nvPr/>
            </p:nvSpPr>
            <p:spPr>
              <a:xfrm>
                <a:off x="686274" y="3893914"/>
                <a:ext cx="45719" cy="45719"/>
              </a:xfrm>
              <a:prstGeom prst="ellipse">
                <a:avLst/>
              </a:prstGeom>
              <a:grpFill/>
              <a:ln w="9525" cmpd="sng">
                <a:solidFill>
                  <a:schemeClr val="bg1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cxnSp>
            <p:nvCxnSpPr>
              <p:cNvPr id="397" name="Straight Connector 396">
                <a:extLst>
                  <a:ext uri="{FF2B5EF4-FFF2-40B4-BE49-F238E27FC236}">
                    <a16:creationId xmlns:a16="http://schemas.microsoft.com/office/drawing/2014/main" id="{DDD31D97-F196-F449-87C9-925EF7477BCA}"/>
                  </a:ext>
                </a:extLst>
              </p:cNvPr>
              <p:cNvCxnSpPr/>
              <p:nvPr/>
            </p:nvCxnSpPr>
            <p:spPr>
              <a:xfrm>
                <a:off x="709133" y="4490969"/>
                <a:ext cx="0" cy="103771"/>
              </a:xfrm>
              <a:prstGeom prst="line">
                <a:avLst/>
              </a:prstGeom>
              <a:grpFill/>
              <a:ln w="9525" cmpd="sng">
                <a:solidFill>
                  <a:schemeClr val="bg1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8" name="Straight Connector 397">
                <a:extLst>
                  <a:ext uri="{FF2B5EF4-FFF2-40B4-BE49-F238E27FC236}">
                    <a16:creationId xmlns:a16="http://schemas.microsoft.com/office/drawing/2014/main" id="{1572CD7B-0CB3-6842-A357-6968DEF1E665}"/>
                  </a:ext>
                </a:extLst>
              </p:cNvPr>
              <p:cNvCxnSpPr/>
              <p:nvPr/>
            </p:nvCxnSpPr>
            <p:spPr>
              <a:xfrm flipV="1">
                <a:off x="506523" y="4594740"/>
                <a:ext cx="405221" cy="1"/>
              </a:xfrm>
              <a:prstGeom prst="line">
                <a:avLst/>
              </a:prstGeom>
              <a:grpFill/>
              <a:ln w="9525" cmpd="sng">
                <a:solidFill>
                  <a:schemeClr val="bg1"/>
                </a:solidFill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chemeClr val="accent1">
                    <a:shade val="70000"/>
                    <a:satMod val="105000"/>
                  </a:schemeClr>
                </a:contour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6F8BB17A-559F-C247-9297-BEAA8539514A}"/>
                </a:ext>
              </a:extLst>
            </p:cNvPr>
            <p:cNvCxnSpPr/>
            <p:nvPr/>
          </p:nvCxnSpPr>
          <p:spPr>
            <a:xfrm flipV="1">
              <a:off x="2323830" y="1956340"/>
              <a:ext cx="443149" cy="210767"/>
            </a:xfrm>
            <a:prstGeom prst="line">
              <a:avLst/>
            </a:prstGeom>
            <a:grpFill/>
            <a:ln w="9525" cmpd="sng">
              <a:solidFill>
                <a:schemeClr val="bg1"/>
              </a:solidFill>
            </a:ln>
            <a:effectLst/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  <a:sp3d prstMaterial="matte">
              <a:contourClr>
                <a:schemeClr val="accent1">
                  <a:shade val="70000"/>
                  <a:satMod val="105000"/>
                </a:schemeClr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392" name="Oval 391">
              <a:extLst>
                <a:ext uri="{FF2B5EF4-FFF2-40B4-BE49-F238E27FC236}">
                  <a16:creationId xmlns:a16="http://schemas.microsoft.com/office/drawing/2014/main" id="{4281A7D5-D163-AA45-877B-F3958862E6BE}"/>
                </a:ext>
              </a:extLst>
            </p:cNvPr>
            <p:cNvSpPr/>
            <p:nvPr/>
          </p:nvSpPr>
          <p:spPr>
            <a:xfrm>
              <a:off x="2269788" y="2091447"/>
              <a:ext cx="129702" cy="129702"/>
            </a:xfrm>
            <a:prstGeom prst="ellipse">
              <a:avLst/>
            </a:prstGeom>
            <a:solidFill>
              <a:schemeClr val="tx1"/>
            </a:solidFill>
            <a:ln w="9525" cmpd="sng">
              <a:solidFill>
                <a:schemeClr val="bg1"/>
              </a:solidFill>
            </a:ln>
            <a:effectLst/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  <a:sp3d prstMaterial="matte">
              <a:contourClr>
                <a:schemeClr val="accent1">
                  <a:shade val="70000"/>
                  <a:satMod val="105000"/>
                </a:schemeClr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3" name="Oval 392">
              <a:extLst>
                <a:ext uri="{FF2B5EF4-FFF2-40B4-BE49-F238E27FC236}">
                  <a16:creationId xmlns:a16="http://schemas.microsoft.com/office/drawing/2014/main" id="{073AE7E7-DE90-2946-8172-3B4D03D9F769}"/>
                </a:ext>
              </a:extLst>
            </p:cNvPr>
            <p:cNvSpPr/>
            <p:nvPr/>
          </p:nvSpPr>
          <p:spPr>
            <a:xfrm>
              <a:off x="2485958" y="1994170"/>
              <a:ext cx="129702" cy="129702"/>
            </a:xfrm>
            <a:prstGeom prst="ellipse">
              <a:avLst/>
            </a:prstGeom>
            <a:solidFill>
              <a:schemeClr val="tx1"/>
            </a:solidFill>
            <a:ln w="9525" cmpd="sng">
              <a:solidFill>
                <a:schemeClr val="bg1"/>
              </a:solidFill>
            </a:ln>
            <a:effectLst/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  <a:sp3d prstMaterial="matte">
              <a:contourClr>
                <a:schemeClr val="accent1">
                  <a:shade val="70000"/>
                  <a:satMod val="105000"/>
                </a:schemeClr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BFDAF6AD-9C9B-5345-9BEA-735994DC3E87}"/>
                </a:ext>
              </a:extLst>
            </p:cNvPr>
            <p:cNvSpPr/>
            <p:nvPr/>
          </p:nvSpPr>
          <p:spPr>
            <a:xfrm>
              <a:off x="2702128" y="1891489"/>
              <a:ext cx="129702" cy="129702"/>
            </a:xfrm>
            <a:prstGeom prst="ellipse">
              <a:avLst/>
            </a:prstGeom>
            <a:solidFill>
              <a:schemeClr val="tx1"/>
            </a:solidFill>
            <a:ln w="9525" cmpd="sng">
              <a:solidFill>
                <a:schemeClr val="bg1"/>
              </a:solidFill>
            </a:ln>
            <a:effectLst/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  <a:sp3d prstMaterial="matte">
              <a:contourClr>
                <a:schemeClr val="accent1">
                  <a:shade val="70000"/>
                  <a:satMod val="105000"/>
                </a:schemeClr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50CDBDDD-AFF6-B84F-94A4-F802B3B3DA72}"/>
              </a:ext>
            </a:extLst>
          </p:cNvPr>
          <p:cNvGrpSpPr/>
          <p:nvPr/>
        </p:nvGrpSpPr>
        <p:grpSpPr>
          <a:xfrm>
            <a:off x="3778494" y="2516410"/>
            <a:ext cx="447136" cy="340634"/>
            <a:chOff x="4355976" y="2116579"/>
            <a:chExt cx="914236" cy="696474"/>
          </a:xfrm>
          <a:solidFill>
            <a:schemeClr val="tx1"/>
          </a:solidFill>
        </p:grpSpPr>
        <p:grpSp>
          <p:nvGrpSpPr>
            <p:cNvPr id="400" name="Group 399">
              <a:extLst>
                <a:ext uri="{FF2B5EF4-FFF2-40B4-BE49-F238E27FC236}">
                  <a16:creationId xmlns:a16="http://schemas.microsoft.com/office/drawing/2014/main" id="{076855DD-18EA-6842-9FC6-39AEC0A8962C}"/>
                </a:ext>
              </a:extLst>
            </p:cNvPr>
            <p:cNvGrpSpPr/>
            <p:nvPr/>
          </p:nvGrpSpPr>
          <p:grpSpPr>
            <a:xfrm>
              <a:off x="4676876" y="2116579"/>
              <a:ext cx="593336" cy="426582"/>
              <a:chOff x="1212503" y="1346803"/>
              <a:chExt cx="593336" cy="426582"/>
            </a:xfrm>
            <a:grpFill/>
          </p:grpSpPr>
          <p:sp>
            <p:nvSpPr>
              <p:cNvPr id="409" name="Rounded Rectangle 408">
                <a:extLst>
                  <a:ext uri="{FF2B5EF4-FFF2-40B4-BE49-F238E27FC236}">
                    <a16:creationId xmlns:a16="http://schemas.microsoft.com/office/drawing/2014/main" id="{7B5D8AC3-CD44-0644-B69B-7D9ABA6386BC}"/>
                  </a:ext>
                </a:extLst>
              </p:cNvPr>
              <p:cNvSpPr/>
              <p:nvPr/>
            </p:nvSpPr>
            <p:spPr>
              <a:xfrm>
                <a:off x="1212503" y="1346803"/>
                <a:ext cx="593336" cy="426582"/>
              </a:xfrm>
              <a:prstGeom prst="roundRect">
                <a:avLst/>
              </a:prstGeom>
              <a:grp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10" name="Rectangle 409">
                <a:extLst>
                  <a:ext uri="{FF2B5EF4-FFF2-40B4-BE49-F238E27FC236}">
                    <a16:creationId xmlns:a16="http://schemas.microsoft.com/office/drawing/2014/main" id="{EBB444BD-4833-B24D-B99C-F9F30B5A8586}"/>
                  </a:ext>
                </a:extLst>
              </p:cNvPr>
              <p:cNvSpPr/>
              <p:nvPr/>
            </p:nvSpPr>
            <p:spPr>
              <a:xfrm>
                <a:off x="1256635" y="1400739"/>
                <a:ext cx="500168" cy="284388"/>
              </a:xfrm>
              <a:prstGeom prst="rect">
                <a:avLst/>
              </a:prstGeom>
              <a:grp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sp>
          <p:nvSpPr>
            <p:cNvPr id="401" name="Freeform 10">
              <a:extLst>
                <a:ext uri="{FF2B5EF4-FFF2-40B4-BE49-F238E27FC236}">
                  <a16:creationId xmlns:a16="http://schemas.microsoft.com/office/drawing/2014/main" id="{4D659513-CB19-E842-875F-4FB9C3425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5976" y="2281240"/>
              <a:ext cx="528638" cy="531813"/>
            </a:xfrm>
            <a:custGeom>
              <a:avLst/>
              <a:gdLst>
                <a:gd name="T0" fmla="*/ 68 w 68"/>
                <a:gd name="T1" fmla="*/ 68 h 68"/>
                <a:gd name="T2" fmla="*/ 48 w 68"/>
                <a:gd name="T3" fmla="*/ 37 h 68"/>
                <a:gd name="T4" fmla="*/ 56 w 68"/>
                <a:gd name="T5" fmla="*/ 21 h 68"/>
                <a:gd name="T6" fmla="*/ 34 w 68"/>
                <a:gd name="T7" fmla="*/ 0 h 68"/>
                <a:gd name="T8" fmla="*/ 13 w 68"/>
                <a:gd name="T9" fmla="*/ 21 h 68"/>
                <a:gd name="T10" fmla="*/ 20 w 68"/>
                <a:gd name="T11" fmla="*/ 37 h 68"/>
                <a:gd name="T12" fmla="*/ 0 w 68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8">
                  <a:moveTo>
                    <a:pt x="68" y="68"/>
                  </a:moveTo>
                  <a:cubicBezTo>
                    <a:pt x="68" y="54"/>
                    <a:pt x="60" y="43"/>
                    <a:pt x="48" y="37"/>
                  </a:cubicBezTo>
                  <a:cubicBezTo>
                    <a:pt x="53" y="33"/>
                    <a:pt x="56" y="28"/>
                    <a:pt x="56" y="21"/>
                  </a:cubicBezTo>
                  <a:cubicBezTo>
                    <a:pt x="56" y="10"/>
                    <a:pt x="46" y="0"/>
                    <a:pt x="34" y="0"/>
                  </a:cubicBezTo>
                  <a:cubicBezTo>
                    <a:pt x="22" y="0"/>
                    <a:pt x="13" y="10"/>
                    <a:pt x="13" y="21"/>
                  </a:cubicBezTo>
                  <a:cubicBezTo>
                    <a:pt x="13" y="28"/>
                    <a:pt x="16" y="33"/>
                    <a:pt x="20" y="37"/>
                  </a:cubicBezTo>
                  <a:cubicBezTo>
                    <a:pt x="8" y="43"/>
                    <a:pt x="0" y="54"/>
                    <a:pt x="0" y="68"/>
                  </a:cubicBez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2" name="Freeform 11">
              <a:extLst>
                <a:ext uri="{FF2B5EF4-FFF2-40B4-BE49-F238E27FC236}">
                  <a16:creationId xmlns:a16="http://schemas.microsoft.com/office/drawing/2014/main" id="{3A2728D4-E2E2-964F-91E0-411FFB1B7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5663" y="2227265"/>
              <a:ext cx="449263" cy="227013"/>
            </a:xfrm>
            <a:custGeom>
              <a:avLst/>
              <a:gdLst>
                <a:gd name="T0" fmla="*/ 0 w 58"/>
                <a:gd name="T1" fmla="*/ 29 h 29"/>
                <a:gd name="T2" fmla="*/ 29 w 58"/>
                <a:gd name="T3" fmla="*/ 0 h 29"/>
                <a:gd name="T4" fmla="*/ 58 w 58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29">
                  <a:moveTo>
                    <a:pt x="0" y="29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3" name="Rectangle 12">
              <a:extLst>
                <a:ext uri="{FF2B5EF4-FFF2-40B4-BE49-F238E27FC236}">
                  <a16:creationId xmlns:a16="http://schemas.microsoft.com/office/drawing/2014/main" id="{BCDA8274-9707-DF41-BF5D-2F7CBA0F8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7726" y="2398715"/>
              <a:ext cx="38100" cy="936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4" name="Rectangle 13">
              <a:extLst>
                <a:ext uri="{FF2B5EF4-FFF2-40B4-BE49-F238E27FC236}">
                  <a16:creationId xmlns:a16="http://schemas.microsoft.com/office/drawing/2014/main" id="{AD5E3579-5CCC-5344-BB67-8EC2C17D4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701" y="2398715"/>
              <a:ext cx="38100" cy="936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5" name="Freeform 15">
              <a:extLst>
                <a:ext uri="{FF2B5EF4-FFF2-40B4-BE49-F238E27FC236}">
                  <a16:creationId xmlns:a16="http://schemas.microsoft.com/office/drawing/2014/main" id="{05056694-EE93-B24D-95E0-93906E75B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488" y="2663827"/>
              <a:ext cx="239713" cy="117475"/>
            </a:xfrm>
            <a:custGeom>
              <a:avLst/>
              <a:gdLst>
                <a:gd name="T0" fmla="*/ 0 w 151"/>
                <a:gd name="T1" fmla="*/ 0 h 74"/>
                <a:gd name="T2" fmla="*/ 151 w 151"/>
                <a:gd name="T3" fmla="*/ 0 h 74"/>
                <a:gd name="T4" fmla="*/ 151 w 151"/>
                <a:gd name="T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1" h="74">
                  <a:moveTo>
                    <a:pt x="0" y="0"/>
                  </a:moveTo>
                  <a:lnTo>
                    <a:pt x="151" y="0"/>
                  </a:lnTo>
                  <a:lnTo>
                    <a:pt x="151" y="74"/>
                  </a:ln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6" name="Freeform 16">
              <a:extLst>
                <a:ext uri="{FF2B5EF4-FFF2-40B4-BE49-F238E27FC236}">
                  <a16:creationId xmlns:a16="http://schemas.microsoft.com/office/drawing/2014/main" id="{3DD857B7-290B-3F4F-B102-817BF2AF9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588" y="2711452"/>
              <a:ext cx="31750" cy="39688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7" name="Freeform 17">
              <a:extLst>
                <a:ext uri="{FF2B5EF4-FFF2-40B4-BE49-F238E27FC236}">
                  <a16:creationId xmlns:a16="http://schemas.microsoft.com/office/drawing/2014/main" id="{1AEECAEC-49D7-3B4B-BA0F-FC7CCE668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563" y="2711452"/>
              <a:ext cx="31750" cy="39688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8" name="Freeform 18">
              <a:extLst>
                <a:ext uri="{FF2B5EF4-FFF2-40B4-BE49-F238E27FC236}">
                  <a16:creationId xmlns:a16="http://schemas.microsoft.com/office/drawing/2014/main" id="{5C7C7E7C-1F9E-374D-8F58-A3D7EC73C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538" y="2711452"/>
              <a:ext cx="31750" cy="39688"/>
            </a:xfrm>
            <a:custGeom>
              <a:avLst/>
              <a:gdLst>
                <a:gd name="T0" fmla="*/ 0 w 20"/>
                <a:gd name="T1" fmla="*/ 0 h 25"/>
                <a:gd name="T2" fmla="*/ 20 w 20"/>
                <a:gd name="T3" fmla="*/ 0 h 25"/>
                <a:gd name="T4" fmla="*/ 20 w 20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5">
                  <a:moveTo>
                    <a:pt x="0" y="0"/>
                  </a:moveTo>
                  <a:lnTo>
                    <a:pt x="20" y="0"/>
                  </a:lnTo>
                  <a:lnTo>
                    <a:pt x="20" y="25"/>
                  </a:ln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411" name="Rectangle 410">
            <a:extLst>
              <a:ext uri="{FF2B5EF4-FFF2-40B4-BE49-F238E27FC236}">
                <a16:creationId xmlns:a16="http://schemas.microsoft.com/office/drawing/2014/main" id="{91748138-B48E-9E4B-B4DB-88A1D06CC5AF}"/>
              </a:ext>
            </a:extLst>
          </p:cNvPr>
          <p:cNvSpPr/>
          <p:nvPr/>
        </p:nvSpPr>
        <p:spPr>
          <a:xfrm>
            <a:off x="3222320" y="2278424"/>
            <a:ext cx="1168400" cy="635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ore</a:t>
            </a:r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4BCEA4CD-0027-D448-B672-8A48BD2FC779}"/>
              </a:ext>
            </a:extLst>
          </p:cNvPr>
          <p:cNvGrpSpPr/>
          <p:nvPr/>
        </p:nvGrpSpPr>
        <p:grpSpPr>
          <a:xfrm>
            <a:off x="3301508" y="2569356"/>
            <a:ext cx="271793" cy="271789"/>
            <a:chOff x="7055471" y="268363"/>
            <a:chExt cx="513835" cy="513827"/>
          </a:xfrm>
        </p:grpSpPr>
        <p:sp>
          <p:nvSpPr>
            <p:cNvPr id="413" name="Rectangle 3">
              <a:extLst>
                <a:ext uri="{FF2B5EF4-FFF2-40B4-BE49-F238E27FC236}">
                  <a16:creationId xmlns:a16="http://schemas.microsoft.com/office/drawing/2014/main" id="{AFC5BF4B-82AB-4541-9A28-B7C1E7067418}"/>
                </a:ext>
              </a:extLst>
            </p:cNvPr>
            <p:cNvSpPr/>
            <p:nvPr/>
          </p:nvSpPr>
          <p:spPr>
            <a:xfrm>
              <a:off x="7055471" y="268363"/>
              <a:ext cx="513835" cy="51382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4" name="Free Form 4">
              <a:extLst>
                <a:ext uri="{FF2B5EF4-FFF2-40B4-BE49-F238E27FC236}">
                  <a16:creationId xmlns:a16="http://schemas.microsoft.com/office/drawing/2014/main" id="{D8567964-9E26-404D-9BBA-83200CA09100}"/>
                </a:ext>
              </a:extLst>
            </p:cNvPr>
            <p:cNvSpPr/>
            <p:nvPr/>
          </p:nvSpPr>
          <p:spPr>
            <a:xfrm>
              <a:off x="7321396" y="510767"/>
              <a:ext cx="19592" cy="19592"/>
            </a:xfrm>
            <a:custGeom>
              <a:avLst/>
              <a:gdLst/>
              <a:ahLst/>
              <a:cxnLst/>
              <a:rect l="0" t="0" r="0" b="0"/>
              <a:pathLst>
                <a:path w="200059" h="200059">
                  <a:moveTo>
                    <a:pt x="200059" y="100029"/>
                  </a:moveTo>
                  <a:cubicBezTo>
                    <a:pt x="200059" y="155355"/>
                    <a:pt x="155278" y="200059"/>
                    <a:pt x="100014" y="200059"/>
                  </a:cubicBezTo>
                  <a:cubicBezTo>
                    <a:pt x="44796" y="200059"/>
                    <a:pt x="0" y="155355"/>
                    <a:pt x="0" y="100029"/>
                  </a:cubicBezTo>
                  <a:cubicBezTo>
                    <a:pt x="0" y="44780"/>
                    <a:pt x="44796" y="0"/>
                    <a:pt x="100014" y="0"/>
                  </a:cubicBezTo>
                  <a:cubicBezTo>
                    <a:pt x="155278" y="0"/>
                    <a:pt x="200059" y="44780"/>
                    <a:pt x="200059" y="10002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5" name="Free Form 5">
              <a:extLst>
                <a:ext uri="{FF2B5EF4-FFF2-40B4-BE49-F238E27FC236}">
                  <a16:creationId xmlns:a16="http://schemas.microsoft.com/office/drawing/2014/main" id="{5A2976F9-6724-364B-9257-62C07A6D3A15}"/>
                </a:ext>
              </a:extLst>
            </p:cNvPr>
            <p:cNvSpPr/>
            <p:nvPr/>
          </p:nvSpPr>
          <p:spPr>
            <a:xfrm>
              <a:off x="7331193" y="411683"/>
              <a:ext cx="108880" cy="108880"/>
            </a:xfrm>
            <a:custGeom>
              <a:avLst/>
              <a:gdLst/>
              <a:ahLst/>
              <a:cxnLst/>
              <a:rect l="0" t="0" r="0" b="0"/>
              <a:pathLst>
                <a:path w="1111796" h="1111796">
                  <a:moveTo>
                    <a:pt x="1111796" y="1111796"/>
                  </a:moveTo>
                  <a:cubicBezTo>
                    <a:pt x="1111796" y="497716"/>
                    <a:pt x="613987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6" name="Free Form 6">
              <a:extLst>
                <a:ext uri="{FF2B5EF4-FFF2-40B4-BE49-F238E27FC236}">
                  <a16:creationId xmlns:a16="http://schemas.microsoft.com/office/drawing/2014/main" id="{39471743-DC6F-3447-814B-076CD9E89BCD}"/>
                </a:ext>
              </a:extLst>
            </p:cNvPr>
            <p:cNvSpPr/>
            <p:nvPr/>
          </p:nvSpPr>
          <p:spPr>
            <a:xfrm>
              <a:off x="7331191" y="466125"/>
              <a:ext cx="54447" cy="54439"/>
            </a:xfrm>
            <a:custGeom>
              <a:avLst/>
              <a:gdLst/>
              <a:ahLst/>
              <a:cxnLst/>
              <a:rect l="0" t="0" r="0" b="0"/>
              <a:pathLst>
                <a:path w="555967" h="555890">
                  <a:moveTo>
                    <a:pt x="0" y="0"/>
                  </a:moveTo>
                  <a:cubicBezTo>
                    <a:pt x="307062" y="0"/>
                    <a:pt x="555967" y="248904"/>
                    <a:pt x="555967" y="55589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7" name="Free Form 7">
              <a:extLst>
                <a:ext uri="{FF2B5EF4-FFF2-40B4-BE49-F238E27FC236}">
                  <a16:creationId xmlns:a16="http://schemas.microsoft.com/office/drawing/2014/main" id="{4BB4F244-3981-6B4A-993A-5BBD0AD3975F}"/>
                </a:ext>
              </a:extLst>
            </p:cNvPr>
            <p:cNvSpPr/>
            <p:nvPr/>
          </p:nvSpPr>
          <p:spPr>
            <a:xfrm>
              <a:off x="7331191" y="357234"/>
              <a:ext cx="163329" cy="163329"/>
            </a:xfrm>
            <a:custGeom>
              <a:avLst/>
              <a:gdLst/>
              <a:ahLst/>
              <a:cxnLst/>
              <a:rect l="0" t="0" r="0" b="0"/>
              <a:pathLst>
                <a:path w="1667779" h="1667779">
                  <a:moveTo>
                    <a:pt x="1667779" y="1667779"/>
                  </a:moveTo>
                  <a:cubicBezTo>
                    <a:pt x="1667779" y="746713"/>
                    <a:pt x="921065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18" name="Rectangle 8">
              <a:extLst>
                <a:ext uri="{FF2B5EF4-FFF2-40B4-BE49-F238E27FC236}">
                  <a16:creationId xmlns:a16="http://schemas.microsoft.com/office/drawing/2014/main" id="{AABBFB02-F9CE-1145-B95B-4A7A2A61D458}"/>
                </a:ext>
              </a:extLst>
            </p:cNvPr>
            <p:cNvSpPr/>
            <p:nvPr/>
          </p:nvSpPr>
          <p:spPr>
            <a:xfrm>
              <a:off x="7164104" y="560010"/>
              <a:ext cx="133467" cy="13346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419" name="Rectangle 418">
            <a:extLst>
              <a:ext uri="{FF2B5EF4-FFF2-40B4-BE49-F238E27FC236}">
                <a16:creationId xmlns:a16="http://schemas.microsoft.com/office/drawing/2014/main" id="{462E5834-5D9D-1347-9206-23514810EE04}"/>
              </a:ext>
            </a:extLst>
          </p:cNvPr>
          <p:cNvSpPr/>
          <p:nvPr/>
        </p:nvSpPr>
        <p:spPr>
          <a:xfrm>
            <a:off x="1979712" y="2278424"/>
            <a:ext cx="1168400" cy="635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rackside equipment</a:t>
            </a:r>
          </a:p>
        </p:txBody>
      </p: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72CF3A21-A618-2F4A-B3C1-DB713790A648}"/>
              </a:ext>
            </a:extLst>
          </p:cNvPr>
          <p:cNvGrpSpPr/>
          <p:nvPr/>
        </p:nvGrpSpPr>
        <p:grpSpPr>
          <a:xfrm>
            <a:off x="2058900" y="2569356"/>
            <a:ext cx="271793" cy="271789"/>
            <a:chOff x="7055471" y="268363"/>
            <a:chExt cx="513835" cy="513827"/>
          </a:xfrm>
        </p:grpSpPr>
        <p:sp>
          <p:nvSpPr>
            <p:cNvPr id="421" name="Rectangle 3">
              <a:extLst>
                <a:ext uri="{FF2B5EF4-FFF2-40B4-BE49-F238E27FC236}">
                  <a16:creationId xmlns:a16="http://schemas.microsoft.com/office/drawing/2014/main" id="{E497F3F2-297B-D241-872E-1547E013598B}"/>
                </a:ext>
              </a:extLst>
            </p:cNvPr>
            <p:cNvSpPr/>
            <p:nvPr/>
          </p:nvSpPr>
          <p:spPr>
            <a:xfrm>
              <a:off x="7055471" y="268363"/>
              <a:ext cx="513835" cy="51382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2" name="Free Form 4">
              <a:extLst>
                <a:ext uri="{FF2B5EF4-FFF2-40B4-BE49-F238E27FC236}">
                  <a16:creationId xmlns:a16="http://schemas.microsoft.com/office/drawing/2014/main" id="{D04C63D7-6365-054D-86FB-D78D033E6EE1}"/>
                </a:ext>
              </a:extLst>
            </p:cNvPr>
            <p:cNvSpPr/>
            <p:nvPr/>
          </p:nvSpPr>
          <p:spPr>
            <a:xfrm>
              <a:off x="7321396" y="510767"/>
              <a:ext cx="19592" cy="19592"/>
            </a:xfrm>
            <a:custGeom>
              <a:avLst/>
              <a:gdLst/>
              <a:ahLst/>
              <a:cxnLst/>
              <a:rect l="0" t="0" r="0" b="0"/>
              <a:pathLst>
                <a:path w="200059" h="200059">
                  <a:moveTo>
                    <a:pt x="200059" y="100029"/>
                  </a:moveTo>
                  <a:cubicBezTo>
                    <a:pt x="200059" y="155355"/>
                    <a:pt x="155278" y="200059"/>
                    <a:pt x="100014" y="200059"/>
                  </a:cubicBezTo>
                  <a:cubicBezTo>
                    <a:pt x="44796" y="200059"/>
                    <a:pt x="0" y="155355"/>
                    <a:pt x="0" y="100029"/>
                  </a:cubicBezTo>
                  <a:cubicBezTo>
                    <a:pt x="0" y="44780"/>
                    <a:pt x="44796" y="0"/>
                    <a:pt x="100014" y="0"/>
                  </a:cubicBezTo>
                  <a:cubicBezTo>
                    <a:pt x="155278" y="0"/>
                    <a:pt x="200059" y="44780"/>
                    <a:pt x="200059" y="10002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3" name="Free Form 5">
              <a:extLst>
                <a:ext uri="{FF2B5EF4-FFF2-40B4-BE49-F238E27FC236}">
                  <a16:creationId xmlns:a16="http://schemas.microsoft.com/office/drawing/2014/main" id="{2DC1A682-D25E-2B42-9953-044BFC62FC8B}"/>
                </a:ext>
              </a:extLst>
            </p:cNvPr>
            <p:cNvSpPr/>
            <p:nvPr/>
          </p:nvSpPr>
          <p:spPr>
            <a:xfrm>
              <a:off x="7331193" y="411683"/>
              <a:ext cx="108880" cy="108880"/>
            </a:xfrm>
            <a:custGeom>
              <a:avLst/>
              <a:gdLst/>
              <a:ahLst/>
              <a:cxnLst/>
              <a:rect l="0" t="0" r="0" b="0"/>
              <a:pathLst>
                <a:path w="1111796" h="1111796">
                  <a:moveTo>
                    <a:pt x="1111796" y="1111796"/>
                  </a:moveTo>
                  <a:cubicBezTo>
                    <a:pt x="1111796" y="497716"/>
                    <a:pt x="613987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4" name="Free Form 6">
              <a:extLst>
                <a:ext uri="{FF2B5EF4-FFF2-40B4-BE49-F238E27FC236}">
                  <a16:creationId xmlns:a16="http://schemas.microsoft.com/office/drawing/2014/main" id="{DBEE8AE0-098A-394C-8CEA-25E04913187C}"/>
                </a:ext>
              </a:extLst>
            </p:cNvPr>
            <p:cNvSpPr/>
            <p:nvPr/>
          </p:nvSpPr>
          <p:spPr>
            <a:xfrm>
              <a:off x="7331191" y="466125"/>
              <a:ext cx="54447" cy="54439"/>
            </a:xfrm>
            <a:custGeom>
              <a:avLst/>
              <a:gdLst/>
              <a:ahLst/>
              <a:cxnLst/>
              <a:rect l="0" t="0" r="0" b="0"/>
              <a:pathLst>
                <a:path w="555967" h="555890">
                  <a:moveTo>
                    <a:pt x="0" y="0"/>
                  </a:moveTo>
                  <a:cubicBezTo>
                    <a:pt x="307062" y="0"/>
                    <a:pt x="555967" y="248904"/>
                    <a:pt x="555967" y="55589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5" name="Free Form 7">
              <a:extLst>
                <a:ext uri="{FF2B5EF4-FFF2-40B4-BE49-F238E27FC236}">
                  <a16:creationId xmlns:a16="http://schemas.microsoft.com/office/drawing/2014/main" id="{C4F58DC8-3335-174B-BBEB-A010D333CB13}"/>
                </a:ext>
              </a:extLst>
            </p:cNvPr>
            <p:cNvSpPr/>
            <p:nvPr/>
          </p:nvSpPr>
          <p:spPr>
            <a:xfrm>
              <a:off x="7331191" y="357234"/>
              <a:ext cx="163329" cy="163329"/>
            </a:xfrm>
            <a:custGeom>
              <a:avLst/>
              <a:gdLst/>
              <a:ahLst/>
              <a:cxnLst/>
              <a:rect l="0" t="0" r="0" b="0"/>
              <a:pathLst>
                <a:path w="1667779" h="1667779">
                  <a:moveTo>
                    <a:pt x="1667779" y="1667779"/>
                  </a:moveTo>
                  <a:cubicBezTo>
                    <a:pt x="1667779" y="746713"/>
                    <a:pt x="921065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6" name="Rectangle 8">
              <a:extLst>
                <a:ext uri="{FF2B5EF4-FFF2-40B4-BE49-F238E27FC236}">
                  <a16:creationId xmlns:a16="http://schemas.microsoft.com/office/drawing/2014/main" id="{A56B4BE1-D49E-0D47-B42A-D29B833D857A}"/>
                </a:ext>
              </a:extLst>
            </p:cNvPr>
            <p:cNvSpPr/>
            <p:nvPr/>
          </p:nvSpPr>
          <p:spPr>
            <a:xfrm>
              <a:off x="7164104" y="560010"/>
              <a:ext cx="133467" cy="13346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427" name="Rectangle 426">
            <a:extLst>
              <a:ext uri="{FF2B5EF4-FFF2-40B4-BE49-F238E27FC236}">
                <a16:creationId xmlns:a16="http://schemas.microsoft.com/office/drawing/2014/main" id="{7C7F98DC-FC2C-A54C-A6F0-A102DD77A555}"/>
              </a:ext>
            </a:extLst>
          </p:cNvPr>
          <p:cNvSpPr/>
          <p:nvPr/>
        </p:nvSpPr>
        <p:spPr>
          <a:xfrm>
            <a:off x="776786" y="2278424"/>
            <a:ext cx="1168400" cy="635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Onboard equipment</a:t>
            </a:r>
          </a:p>
        </p:txBody>
      </p: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A8DD1904-B1C7-854F-BDD4-42E9EAFA4231}"/>
              </a:ext>
            </a:extLst>
          </p:cNvPr>
          <p:cNvGrpSpPr/>
          <p:nvPr/>
        </p:nvGrpSpPr>
        <p:grpSpPr>
          <a:xfrm>
            <a:off x="855974" y="2569356"/>
            <a:ext cx="271793" cy="271789"/>
            <a:chOff x="7055471" y="268363"/>
            <a:chExt cx="513835" cy="513827"/>
          </a:xfrm>
        </p:grpSpPr>
        <p:sp>
          <p:nvSpPr>
            <p:cNvPr id="429" name="Rectangle 3">
              <a:extLst>
                <a:ext uri="{FF2B5EF4-FFF2-40B4-BE49-F238E27FC236}">
                  <a16:creationId xmlns:a16="http://schemas.microsoft.com/office/drawing/2014/main" id="{60850A08-FAC9-6145-BB62-BBD039058CDF}"/>
                </a:ext>
              </a:extLst>
            </p:cNvPr>
            <p:cNvSpPr/>
            <p:nvPr/>
          </p:nvSpPr>
          <p:spPr>
            <a:xfrm>
              <a:off x="7055471" y="268363"/>
              <a:ext cx="513835" cy="51382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0" name="Free Form 4">
              <a:extLst>
                <a:ext uri="{FF2B5EF4-FFF2-40B4-BE49-F238E27FC236}">
                  <a16:creationId xmlns:a16="http://schemas.microsoft.com/office/drawing/2014/main" id="{471FEE5D-5FA8-694E-B90E-D53A3EB6BD07}"/>
                </a:ext>
              </a:extLst>
            </p:cNvPr>
            <p:cNvSpPr/>
            <p:nvPr/>
          </p:nvSpPr>
          <p:spPr>
            <a:xfrm>
              <a:off x="7321396" y="510767"/>
              <a:ext cx="19592" cy="19592"/>
            </a:xfrm>
            <a:custGeom>
              <a:avLst/>
              <a:gdLst/>
              <a:ahLst/>
              <a:cxnLst/>
              <a:rect l="0" t="0" r="0" b="0"/>
              <a:pathLst>
                <a:path w="200059" h="200059">
                  <a:moveTo>
                    <a:pt x="200059" y="100029"/>
                  </a:moveTo>
                  <a:cubicBezTo>
                    <a:pt x="200059" y="155355"/>
                    <a:pt x="155278" y="200059"/>
                    <a:pt x="100014" y="200059"/>
                  </a:cubicBezTo>
                  <a:cubicBezTo>
                    <a:pt x="44796" y="200059"/>
                    <a:pt x="0" y="155355"/>
                    <a:pt x="0" y="100029"/>
                  </a:cubicBezTo>
                  <a:cubicBezTo>
                    <a:pt x="0" y="44780"/>
                    <a:pt x="44796" y="0"/>
                    <a:pt x="100014" y="0"/>
                  </a:cubicBezTo>
                  <a:cubicBezTo>
                    <a:pt x="155278" y="0"/>
                    <a:pt x="200059" y="44780"/>
                    <a:pt x="200059" y="10002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1" name="Free Form 5">
              <a:extLst>
                <a:ext uri="{FF2B5EF4-FFF2-40B4-BE49-F238E27FC236}">
                  <a16:creationId xmlns:a16="http://schemas.microsoft.com/office/drawing/2014/main" id="{B2CFA55C-676F-4745-9F86-8D86927A0734}"/>
                </a:ext>
              </a:extLst>
            </p:cNvPr>
            <p:cNvSpPr/>
            <p:nvPr/>
          </p:nvSpPr>
          <p:spPr>
            <a:xfrm>
              <a:off x="7331193" y="411683"/>
              <a:ext cx="108880" cy="108880"/>
            </a:xfrm>
            <a:custGeom>
              <a:avLst/>
              <a:gdLst/>
              <a:ahLst/>
              <a:cxnLst/>
              <a:rect l="0" t="0" r="0" b="0"/>
              <a:pathLst>
                <a:path w="1111796" h="1111796">
                  <a:moveTo>
                    <a:pt x="1111796" y="1111796"/>
                  </a:moveTo>
                  <a:cubicBezTo>
                    <a:pt x="1111796" y="497716"/>
                    <a:pt x="613987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2" name="Free Form 6">
              <a:extLst>
                <a:ext uri="{FF2B5EF4-FFF2-40B4-BE49-F238E27FC236}">
                  <a16:creationId xmlns:a16="http://schemas.microsoft.com/office/drawing/2014/main" id="{567E9FA6-3895-AC48-83B0-07B15A8990C5}"/>
                </a:ext>
              </a:extLst>
            </p:cNvPr>
            <p:cNvSpPr/>
            <p:nvPr/>
          </p:nvSpPr>
          <p:spPr>
            <a:xfrm>
              <a:off x="7331191" y="466125"/>
              <a:ext cx="54447" cy="54439"/>
            </a:xfrm>
            <a:custGeom>
              <a:avLst/>
              <a:gdLst/>
              <a:ahLst/>
              <a:cxnLst/>
              <a:rect l="0" t="0" r="0" b="0"/>
              <a:pathLst>
                <a:path w="555967" h="555890">
                  <a:moveTo>
                    <a:pt x="0" y="0"/>
                  </a:moveTo>
                  <a:cubicBezTo>
                    <a:pt x="307062" y="0"/>
                    <a:pt x="555967" y="248904"/>
                    <a:pt x="555967" y="55589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3" name="Free Form 7">
              <a:extLst>
                <a:ext uri="{FF2B5EF4-FFF2-40B4-BE49-F238E27FC236}">
                  <a16:creationId xmlns:a16="http://schemas.microsoft.com/office/drawing/2014/main" id="{2BE16E69-BBB9-A74D-B7A4-9027B05F83C1}"/>
                </a:ext>
              </a:extLst>
            </p:cNvPr>
            <p:cNvSpPr/>
            <p:nvPr/>
          </p:nvSpPr>
          <p:spPr>
            <a:xfrm>
              <a:off x="7331191" y="357234"/>
              <a:ext cx="163329" cy="163329"/>
            </a:xfrm>
            <a:custGeom>
              <a:avLst/>
              <a:gdLst/>
              <a:ahLst/>
              <a:cxnLst/>
              <a:rect l="0" t="0" r="0" b="0"/>
              <a:pathLst>
                <a:path w="1667779" h="1667779">
                  <a:moveTo>
                    <a:pt x="1667779" y="1667779"/>
                  </a:moveTo>
                  <a:cubicBezTo>
                    <a:pt x="1667779" y="746713"/>
                    <a:pt x="921065" y="0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34" name="Rectangle 8">
              <a:extLst>
                <a:ext uri="{FF2B5EF4-FFF2-40B4-BE49-F238E27FC236}">
                  <a16:creationId xmlns:a16="http://schemas.microsoft.com/office/drawing/2014/main" id="{4C0B813C-8B6A-E640-A386-1E15C28D69DC}"/>
                </a:ext>
              </a:extLst>
            </p:cNvPr>
            <p:cNvSpPr/>
            <p:nvPr/>
          </p:nvSpPr>
          <p:spPr>
            <a:xfrm>
              <a:off x="7164104" y="560010"/>
              <a:ext cx="133467" cy="133467"/>
            </a:xfrm>
            <a:prstGeom prst="rect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9454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platform, floor, indoor, station&#10;&#10;Description automatically generated">
            <a:extLst>
              <a:ext uri="{FF2B5EF4-FFF2-40B4-BE49-F238E27FC236}">
                <a16:creationId xmlns:a16="http://schemas.microsoft.com/office/drawing/2014/main" id="{D1CD3278-C1A4-42A8-9A4E-2AC6466139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935" y="0"/>
            <a:ext cx="4613065" cy="5143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36F71BF-9601-4CD9-8896-B282B16C69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7412822-7565-4684-B941-403EFDF8CBE2}"/>
              </a:ext>
            </a:extLst>
          </p:cNvPr>
          <p:cNvSpPr/>
          <p:nvPr/>
        </p:nvSpPr>
        <p:spPr>
          <a:xfrm>
            <a:off x="417599" y="465744"/>
            <a:ext cx="4154401" cy="13144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tx1"/>
                </a:solidFill>
                <a:latin typeface="Nokia Pure Headline Ultra Light" panose="020B0204020202020204" pitchFamily="34" charset="0"/>
              </a:rPr>
              <a:t>Ultra high 4G bandwidth for fully Automatic Rail Oper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B682E9-7D94-4D61-BFBA-83CB704A0694}"/>
              </a:ext>
            </a:extLst>
          </p:cNvPr>
          <p:cNvSpPr/>
          <p:nvPr/>
        </p:nvSpPr>
        <p:spPr>
          <a:xfrm>
            <a:off x="4150581" y="0"/>
            <a:ext cx="1598211" cy="5143500"/>
          </a:xfrm>
          <a:prstGeom prst="rect">
            <a:avLst/>
          </a:prstGeom>
          <a:gradFill flip="none" rotWithShape="1">
            <a:gsLst>
              <a:gs pos="72000">
                <a:schemeClr val="bg1"/>
              </a:gs>
              <a:gs pos="0">
                <a:schemeClr val="accent1">
                  <a:lumMod val="30000"/>
                  <a:lumOff val="7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5A6082-7293-4E33-8040-D50547CF3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ublic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3797872-03D8-478F-86BF-B5215481BC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599" y="1408560"/>
            <a:ext cx="866114" cy="503818"/>
          </a:xfrm>
          <a:prstGeom prst="rect">
            <a:avLst/>
          </a:prstGeom>
        </p:spPr>
      </p:pic>
      <p:graphicFrame>
        <p:nvGraphicFramePr>
          <p:cNvPr id="20" name="Object 3">
            <a:extLst>
              <a:ext uri="{FF2B5EF4-FFF2-40B4-BE49-F238E27FC236}">
                <a16:creationId xmlns:a16="http://schemas.microsoft.com/office/drawing/2014/main" id="{66359B67-0EE8-4ED7-9392-DADE462B8A3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01134596"/>
              </p:ext>
            </p:extLst>
          </p:nvPr>
        </p:nvGraphicFramePr>
        <p:xfrm>
          <a:off x="1531054" y="1320001"/>
          <a:ext cx="565349" cy="680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1495634" imgH="1800476" progId="">
                  <p:embed/>
                </p:oleObj>
              </mc:Choice>
              <mc:Fallback>
                <p:oleObj r:id="rId5" imgW="1495634" imgH="1800476" progId="">
                  <p:embed/>
                  <p:pic>
                    <p:nvPicPr>
                      <p:cNvPr id="20" name="Object 3">
                        <a:extLst>
                          <a:ext uri="{FF2B5EF4-FFF2-40B4-BE49-F238E27FC236}">
                            <a16:creationId xmlns:a16="http://schemas.microsoft.com/office/drawing/2014/main" id="{66359B67-0EE8-4ED7-9392-DADE462B8A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1054" y="1320001"/>
                        <a:ext cx="565349" cy="68093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FD56851-82C6-4C16-8282-6FEF22587BF3}"/>
              </a:ext>
            </a:extLst>
          </p:cNvPr>
          <p:cNvSpPr/>
          <p:nvPr/>
        </p:nvSpPr>
        <p:spPr>
          <a:xfrm>
            <a:off x="417599" y="2134253"/>
            <a:ext cx="4241865" cy="16616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 fontAlgn="base">
              <a:spcBef>
                <a:spcPct val="0"/>
              </a:spcBef>
              <a:defRPr/>
            </a:pPr>
            <a:r>
              <a:rPr lang="en-US" dirty="0">
                <a:solidFill>
                  <a:srgbClr val="001135"/>
                </a:solidFill>
              </a:rPr>
              <a:t>Société du Grand Paris is deploying a Nokia ultra high bandwidth LTE network to support fully automatic rail operations on new metro lines 15,16, and 17</a:t>
            </a:r>
          </a:p>
          <a:p>
            <a:pPr lvl="0" fontAlgn="base">
              <a:spcBef>
                <a:spcPct val="0"/>
              </a:spcBef>
              <a:defRPr/>
            </a:pPr>
            <a:r>
              <a:rPr lang="en-US" dirty="0">
                <a:solidFill>
                  <a:srgbClr val="001135"/>
                </a:solidFill>
              </a:rPr>
              <a:t>(64 stations and 200 km rails)</a:t>
            </a:r>
          </a:p>
        </p:txBody>
      </p:sp>
    </p:spTree>
    <p:extLst>
      <p:ext uri="{BB962C8B-B14F-4D97-AF65-F5344CB8AC3E}">
        <p14:creationId xmlns:p14="http://schemas.microsoft.com/office/powerpoint/2010/main" val="1092196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80276B2-76B8-4E75-ADBC-5DE7C94CEB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511" r="26492"/>
          <a:stretch/>
        </p:blipFill>
        <p:spPr>
          <a:xfrm>
            <a:off x="6350795" y="-1"/>
            <a:ext cx="2793206" cy="51435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3BA72AA-CFB4-4469-9FD4-0589994819AA}"/>
              </a:ext>
            </a:extLst>
          </p:cNvPr>
          <p:cNvSpPr/>
          <p:nvPr/>
        </p:nvSpPr>
        <p:spPr>
          <a:xfrm>
            <a:off x="6350794" y="0"/>
            <a:ext cx="1657350" cy="5143500"/>
          </a:xfrm>
          <a:prstGeom prst="rect">
            <a:avLst/>
          </a:prstGeom>
          <a:gradFill flip="none" rotWithShape="1">
            <a:gsLst>
              <a:gs pos="72000">
                <a:schemeClr val="bg1"/>
              </a:gs>
              <a:gs pos="0">
                <a:schemeClr val="accent1">
                  <a:lumMod val="30000"/>
                  <a:lumOff val="7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36F71BF-9601-4CD9-8896-B282B16C69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  <p:pic>
        <p:nvPicPr>
          <p:cNvPr id="16" name="Picture 15" descr="A red train at a train station&#10;&#10;Description automatically generated with medium confidence">
            <a:extLst>
              <a:ext uri="{FF2B5EF4-FFF2-40B4-BE49-F238E27FC236}">
                <a16:creationId xmlns:a16="http://schemas.microsoft.com/office/drawing/2014/main" id="{C4157F89-8A2F-4B94-8EA8-E24DBD8A83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935" y="-1"/>
            <a:ext cx="5001370" cy="514350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DC1047D-1F49-4DFA-8C55-3B3CA210B02A}"/>
              </a:ext>
            </a:extLst>
          </p:cNvPr>
          <p:cNvSpPr/>
          <p:nvPr/>
        </p:nvSpPr>
        <p:spPr>
          <a:xfrm>
            <a:off x="4150581" y="0"/>
            <a:ext cx="1598211" cy="5143500"/>
          </a:xfrm>
          <a:prstGeom prst="rect">
            <a:avLst/>
          </a:prstGeom>
          <a:gradFill flip="none" rotWithShape="1">
            <a:gsLst>
              <a:gs pos="72000">
                <a:schemeClr val="bg1"/>
              </a:gs>
              <a:gs pos="0">
                <a:schemeClr val="accent1">
                  <a:lumMod val="30000"/>
                  <a:lumOff val="7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82DE41-1B85-443D-B8CB-91BE39F1A32D}"/>
              </a:ext>
            </a:extLst>
          </p:cNvPr>
          <p:cNvSpPr/>
          <p:nvPr/>
        </p:nvSpPr>
        <p:spPr>
          <a:xfrm>
            <a:off x="417599" y="2038841"/>
            <a:ext cx="4225963" cy="16616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dirty="0">
                <a:solidFill>
                  <a:srgbClr val="001135"/>
                </a:solidFill>
              </a:rPr>
              <a:t>“W</a:t>
            </a:r>
            <a:r>
              <a:rPr lang="en-US" sz="1800" dirty="0">
                <a:solidFill>
                  <a:srgbClr val="001135"/>
                </a:solidFill>
              </a:rPr>
              <a:t>ith the digital S-Bahn we have an intelligent solution for at least 20 percent more capacity without having </a:t>
            </a:r>
            <a:br>
              <a:rPr lang="en-US" sz="1800" dirty="0">
                <a:solidFill>
                  <a:srgbClr val="001135"/>
                </a:solidFill>
              </a:rPr>
            </a:br>
            <a:r>
              <a:rPr lang="en-US" sz="1800" dirty="0">
                <a:solidFill>
                  <a:srgbClr val="001135"/>
                </a:solidFill>
              </a:rPr>
              <a:t>to build a new meter of track. That means additional trains, even more climate-friendly travel and more operational stability for our passengers.”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200" b="1" dirty="0">
                <a:solidFill>
                  <a:schemeClr val="tx2"/>
                </a:solidFill>
              </a:rPr>
              <a:t>Kay Uwe </a:t>
            </a:r>
            <a:r>
              <a:rPr lang="en-CA" sz="1200" b="1" dirty="0" err="1">
                <a:solidFill>
                  <a:schemeClr val="tx2"/>
                </a:solidFill>
              </a:rPr>
              <a:t>Arnecke</a:t>
            </a:r>
            <a:br>
              <a:rPr lang="en-CA" sz="1200" dirty="0">
                <a:solidFill>
                  <a:schemeClr val="tx2"/>
                </a:solidFill>
              </a:rPr>
            </a:br>
            <a:r>
              <a:rPr lang="en-CA" sz="1200" dirty="0">
                <a:solidFill>
                  <a:schemeClr val="tx2"/>
                </a:solidFill>
              </a:rPr>
              <a:t>Managing Director of the Hamburg S-Bahn</a:t>
            </a:r>
            <a:endParaRPr lang="en-US" sz="1200" dirty="0">
              <a:solidFill>
                <a:schemeClr val="tx2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1135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5A6082-7293-4E33-8040-D50547CF3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ublic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F280775-49AB-45BD-A5F0-8D7CAB7689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6409" y="4650264"/>
            <a:ext cx="1009152" cy="4248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7C8A6A4-C67A-4C03-A42B-382E7FCB7F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696" y="1427000"/>
            <a:ext cx="678180" cy="48037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7412822-7565-4684-B941-403EFDF8CBE2}"/>
              </a:ext>
            </a:extLst>
          </p:cNvPr>
          <p:cNvSpPr/>
          <p:nvPr/>
        </p:nvSpPr>
        <p:spPr>
          <a:xfrm>
            <a:off x="417598" y="465744"/>
            <a:ext cx="4225963" cy="13144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chemeClr val="tx1"/>
                </a:solidFill>
                <a:latin typeface="Nokia Pure Headline Ultra Light" panose="020B0204020202020204" pitchFamily="34" charset="0"/>
              </a:rPr>
              <a:t>Automatic Train Operations for S-Bahn Hamburg based on 5G</a:t>
            </a:r>
          </a:p>
        </p:txBody>
      </p:sp>
    </p:spTree>
    <p:extLst>
      <p:ext uri="{BB962C8B-B14F-4D97-AF65-F5344CB8AC3E}">
        <p14:creationId xmlns:p14="http://schemas.microsoft.com/office/powerpoint/2010/main" val="1104933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rack, sky, train, outdoor&#10;&#10;Description generated with very high confidence">
            <a:extLst>
              <a:ext uri="{FF2B5EF4-FFF2-40B4-BE49-F238E27FC236}">
                <a16:creationId xmlns:a16="http://schemas.microsoft.com/office/drawing/2014/main" id="{8556EC83-2693-4145-AB5F-ECBAF0842D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19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AE92C8-9AD7-44C9-B73C-580D0F968DDE}"/>
              </a:ext>
            </a:extLst>
          </p:cNvPr>
          <p:cNvSpPr txBox="1"/>
          <p:nvPr/>
        </p:nvSpPr>
        <p:spPr>
          <a:xfrm>
            <a:off x="0" y="3768691"/>
            <a:ext cx="9144000" cy="1373221"/>
          </a:xfrm>
          <a:prstGeom prst="rect">
            <a:avLst/>
          </a:prstGeom>
          <a:solidFill>
            <a:schemeClr val="tx2">
              <a:alpha val="36863"/>
            </a:schemeClr>
          </a:solidFill>
        </p:spPr>
        <p:txBody>
          <a:bodyPr wrap="none" lIns="72000" tIns="72000" rIns="72000" bIns="72000" rtlCol="0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Imagine a world with #NoBoundaries</a:t>
            </a:r>
          </a:p>
          <a:p>
            <a:pPr algn="ctr">
              <a:spcAft>
                <a:spcPts val="300"/>
              </a:spcAft>
              <a:buSzPct val="100000"/>
            </a:pPr>
            <a:r>
              <a:rPr lang="en-US" dirty="0">
                <a:solidFill>
                  <a:schemeClr val="bg1"/>
                </a:solidFill>
              </a:rPr>
              <a:t>alfredo.gonzalez_herrero@nokia.com</a:t>
            </a:r>
            <a:endParaRPr lang="en-US" sz="1800" dirty="0">
              <a:solidFill>
                <a:schemeClr val="bg1"/>
              </a:solidFill>
            </a:endParaRPr>
          </a:p>
          <a:p>
            <a:pPr algn="ctr">
              <a:spcAft>
                <a:spcPts val="300"/>
              </a:spcAft>
              <a:buSzPct val="100000"/>
            </a:pPr>
            <a:r>
              <a:rPr lang="en-US" sz="1800" dirty="0">
                <a:solidFill>
                  <a:schemeClr val="bg1"/>
                </a:solidFill>
              </a:rPr>
              <a:t>Transportation Latin America Head of Sales</a:t>
            </a:r>
          </a:p>
          <a:p>
            <a:pPr algn="ctr">
              <a:spcAft>
                <a:spcPts val="300"/>
              </a:spcAft>
              <a:buSzPct val="100000"/>
            </a:pP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22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aTfb4yQMGV8hloElrZ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ci1WvRdqLXP7IXCaV0w"/>
</p:tagLst>
</file>

<file path=ppt/theme/theme1.xml><?xml version="1.0" encoding="utf-8"?>
<a:theme xmlns:a="http://schemas.openxmlformats.org/drawingml/2006/main" name="1.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B1A42757-A18C-4C6C-9F92-263C02514E64}"/>
    </a:ext>
  </a:extLst>
</a:theme>
</file>

<file path=ppt/theme/theme2.xml><?xml version="1.0" encoding="utf-8"?>
<a:theme xmlns:a="http://schemas.openxmlformats.org/drawingml/2006/main" name="2. White titl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B3D0A933-3387-4DDA-89AE-49C1132B6B22}"/>
    </a:ext>
  </a:extLst>
</a:theme>
</file>

<file path=ppt/theme/theme3.xml><?xml version="1.0" encoding="utf-8"?>
<a:theme xmlns:a="http://schemas.openxmlformats.org/drawingml/2006/main" name="3. Blue titl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D9046569-04E0-4AD0-93F3-4983DD61A5B3}"/>
    </a:ext>
  </a:extLst>
</a:theme>
</file>

<file path=ppt/theme/theme4.xml><?xml version="1.0" encoding="utf-8"?>
<a:theme xmlns:a="http://schemas.openxmlformats.org/drawingml/2006/main" name="4. Blu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AC8F2C6A-7121-4714-9D78-C97F81BE23CE}"/>
    </a:ext>
  </a:extLst>
</a:theme>
</file>

<file path=ppt/theme/theme5.xml><?xml version="1.0" encoding="utf-8"?>
<a:theme xmlns:a="http://schemas.openxmlformats.org/drawingml/2006/main" name="5. Whit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D9E348E6-59A0-4820-8873-B18A7987D8D3}"/>
    </a:ext>
  </a:extLst>
</a:theme>
</file>

<file path=ppt/theme/theme6.xml><?xml version="1.0" encoding="utf-8"?>
<a:theme xmlns:a="http://schemas.openxmlformats.org/drawingml/2006/main" name="6. Gray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/>
      <a:lstStyle>
        <a:defPPr algn="l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F0EB36CE-BFD7-4B46-9FF2-D53703DBC019}"/>
    </a:ext>
  </a:extLst>
</a:theme>
</file>

<file path=ppt/theme/theme7.xml><?xml version="1.0" encoding="utf-8"?>
<a:theme xmlns:a="http://schemas.openxmlformats.org/drawingml/2006/main" name="7. Image 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/>
      <a:lstStyle>
        <a:defPPr algn="l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396F0FCA-2214-4A4B-A268-583768AF1E0B}"/>
    </a:ext>
  </a:extLst>
</a:theme>
</file>

<file path=ppt/theme/theme8.xml><?xml version="1.0" encoding="utf-8"?>
<a:theme xmlns:a="http://schemas.openxmlformats.org/drawingml/2006/main" name="8. Blu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ure PowerPoint template 2021 v1.3" id="{83E57FD3-4D1E-4396-8750-91CCF5D75450}" vid="{7AB338AE-11FC-4D3B-BA58-AC38A89503F9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srcID21015_Nokia - Pure PowerPoint template 2021 v1.3 (1)</Template>
  <TotalTime>793</TotalTime>
  <Words>319</Words>
  <Application>Microsoft Office PowerPoint</Application>
  <PresentationFormat>On-screen Show (16:9)</PresentationFormat>
  <Paragraphs>71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rial</vt:lpstr>
      <vt:lpstr>Calibri</vt:lpstr>
      <vt:lpstr>Nokia Pure Headline Light</vt:lpstr>
      <vt:lpstr>Nokia Pure Headline Ultra Light</vt:lpstr>
      <vt:lpstr>Nokia Pure Text</vt:lpstr>
      <vt:lpstr>Nokia Pure Text Light</vt:lpstr>
      <vt:lpstr>1. White master</vt:lpstr>
      <vt:lpstr>2. White title master</vt:lpstr>
      <vt:lpstr>3. Blue title master</vt:lpstr>
      <vt:lpstr>4. Blue end slide</vt:lpstr>
      <vt:lpstr>5. White end slide</vt:lpstr>
      <vt:lpstr>6. Gray master</vt:lpstr>
      <vt:lpstr>7. Image </vt:lpstr>
      <vt:lpstr>8. Blue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the key  message or takeaway?</dc:title>
  <dc:creator>Lam, Fai (Nokia - CA/Ottawa)</dc:creator>
  <cp:lastModifiedBy>Gonzalez Herrero, Alfredo (Nokia - MX/Naucalpan de Juarez)</cp:lastModifiedBy>
  <cp:revision>23</cp:revision>
  <dcterms:created xsi:type="dcterms:W3CDTF">2021-11-30T19:50:53Z</dcterms:created>
  <dcterms:modified xsi:type="dcterms:W3CDTF">2021-12-08T03:31:22Z</dcterms:modified>
</cp:coreProperties>
</file>